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3.xml" ContentType="application/vnd.openxmlformats-officedocument.them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4.xml" ContentType="application/vnd.openxmlformats-officedocument.them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heme/theme5.xml" ContentType="application/vnd.openxmlformats-officedocument.them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6.xml" ContentType="application/vnd.openxmlformats-officedocument.them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theme/theme7.xml" ContentType="application/vnd.openxmlformats-officedocument.theme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notesSlides/notesSlide1.xml" ContentType="application/vnd.openxmlformats-officedocument.presentationml.notesSlide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notesSlides/notesSlide2.xml" ContentType="application/vnd.openxmlformats-officedocument.presentationml.notesSlide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notesSlides/notesSlide3.xml" ContentType="application/vnd.openxmlformats-officedocument.presentationml.notesSlide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notesSlides/notesSlide4.xml" ContentType="application/vnd.openxmlformats-officedocument.presentationml.notesSlide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1" r:id="rId5"/>
    <p:sldMasterId id="2147484702" r:id="rId6"/>
    <p:sldMasterId id="2147484292" r:id="rId7"/>
    <p:sldMasterId id="2147484701" r:id="rId8"/>
    <p:sldMasterId id="2147484537" r:id="rId9"/>
    <p:sldMasterId id="2147484393" r:id="rId10"/>
    <p:sldMasterId id="2147484765" r:id="rId11"/>
  </p:sldMasterIdLst>
  <p:notesMasterIdLst>
    <p:notesMasterId r:id="rId36"/>
  </p:notesMasterIdLst>
  <p:handoutMasterIdLst>
    <p:handoutMasterId r:id="rId37"/>
  </p:handoutMasterIdLst>
  <p:sldIdLst>
    <p:sldId id="405" r:id="rId12"/>
    <p:sldId id="406" r:id="rId13"/>
    <p:sldId id="408" r:id="rId14"/>
    <p:sldId id="412" r:id="rId15"/>
    <p:sldId id="413" r:id="rId16"/>
    <p:sldId id="411" r:id="rId17"/>
    <p:sldId id="419" r:id="rId18"/>
    <p:sldId id="414" r:id="rId19"/>
    <p:sldId id="389" r:id="rId20"/>
    <p:sldId id="388" r:id="rId21"/>
    <p:sldId id="385" r:id="rId22"/>
    <p:sldId id="387" r:id="rId23"/>
    <p:sldId id="415" r:id="rId24"/>
    <p:sldId id="417" r:id="rId25"/>
    <p:sldId id="380" r:id="rId26"/>
    <p:sldId id="420" r:id="rId27"/>
    <p:sldId id="296" r:id="rId28"/>
    <p:sldId id="391" r:id="rId29"/>
    <p:sldId id="298" r:id="rId30"/>
    <p:sldId id="297" r:id="rId31"/>
    <p:sldId id="393" r:id="rId32"/>
    <p:sldId id="394" r:id="rId33"/>
    <p:sldId id="395" r:id="rId34"/>
    <p:sldId id="416" r:id="rId35"/>
  </p:sldIdLst>
  <p:sldSz cx="9144000" cy="5143500" type="screen16x9"/>
  <p:notesSz cx="6858000" cy="9144000"/>
  <p:custDataLst>
    <p:tags r:id="rId38"/>
  </p:custDataLst>
  <p:defaultTextStyle>
    <a:defPPr>
      <a:defRPr lang="ru-RU"/>
    </a:defPPr>
    <a:lvl1pPr marL="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49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8986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479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7972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746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6957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645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5943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Николай Самойленко" initials="НС" lastIdx="1" clrIdx="0">
    <p:extLst>
      <p:ext uri="{19B8F6BF-5375-455C-9EA6-DF929625EA0E}">
        <p15:presenceInfo xmlns:p15="http://schemas.microsoft.com/office/powerpoint/2012/main" userId="fcfc93b243611c08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9F3E7"/>
    <a:srgbClr val="F7F7F7"/>
    <a:srgbClr val="E5E5E5"/>
    <a:srgbClr val="ADEEDB"/>
    <a:srgbClr val="F0F0F0"/>
    <a:srgbClr val="F2F2F2"/>
    <a:srgbClr val="E4F9F3"/>
    <a:srgbClr val="77E2C3"/>
    <a:srgbClr val="754A3C"/>
    <a:srgbClr val="003D4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839" autoAdjust="0"/>
    <p:restoredTop sz="95332" autoAdjust="0"/>
  </p:normalViewPr>
  <p:slideViewPr>
    <p:cSldViewPr snapToGrid="0">
      <p:cViewPr varScale="1">
        <p:scale>
          <a:sx n="73" d="100"/>
          <a:sy n="73" d="100"/>
        </p:scale>
        <p:origin x="77" y="67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" d="100"/>
        <a:sy n="2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0" d="100"/>
          <a:sy n="60" d="100"/>
        </p:scale>
        <p:origin x="3187" y="62"/>
      </p:cViewPr>
      <p:guideLst>
        <p:guide orient="horz" pos="2880"/>
        <p:guide pos="2160"/>
      </p:guideLst>
    </p:cSldViewPr>
  </p:notesViewPr>
  <p:gridSpacing cx="45005" cy="450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Master" Target="slideMasters/slideMaster7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handoutMaster" Target="handoutMasters/handoutMaster1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notesMaster" Target="notesMasters/notesMaster1.xml"/><Relationship Id="rId10" Type="http://schemas.openxmlformats.org/officeDocument/2006/relationships/slideMaster" Target="slideMasters/slideMaster6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E5B-4F83-A142-899554F7939B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E5B-4F83-A142-899554F7939B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E5B-4F83-A142-899554F7939B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ПЭТ
бутылка</c:v>
                </c:pt>
                <c:pt idx="1">
                  <c:v>Алюминиевая
банка</c:v>
                </c:pt>
                <c:pt idx="2">
                  <c:v>Стеклянная
бутылка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3224</c:v>
                </c:pt>
                <c:pt idx="1">
                  <c:v>4689</c:v>
                </c:pt>
                <c:pt idx="2">
                  <c:v>77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E5B-4F83-A142-899554F793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97575512"/>
        <c:axId val="597570920"/>
      </c:barChart>
      <c:catAx>
        <c:axId val="5975755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97570920"/>
        <c:crosses val="autoZero"/>
        <c:auto val="1"/>
        <c:lblAlgn val="ctr"/>
        <c:lblOffset val="100"/>
        <c:noMultiLvlLbl val="0"/>
      </c:catAx>
      <c:valAx>
        <c:axId val="59757092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975755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38E-48D4-B71C-F2CCA11014C8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38E-48D4-B71C-F2CCA11014C8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38E-48D4-B71C-F2CCA11014C8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ПЭТ
бутылка</c:v>
                </c:pt>
                <c:pt idx="1">
                  <c:v>Алюминиевая
банка</c:v>
                </c:pt>
                <c:pt idx="2">
                  <c:v>Стеклянная
бутылка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37</c:v>
                </c:pt>
                <c:pt idx="1">
                  <c:v>348</c:v>
                </c:pt>
                <c:pt idx="2">
                  <c:v>20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38E-48D4-B71C-F2CCA11014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97575512"/>
        <c:axId val="597570920"/>
      </c:barChart>
      <c:catAx>
        <c:axId val="5975755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97570920"/>
        <c:crosses val="autoZero"/>
        <c:auto val="1"/>
        <c:lblAlgn val="ctr"/>
        <c:lblOffset val="100"/>
        <c:noMultiLvlLbl val="0"/>
      </c:catAx>
      <c:valAx>
        <c:axId val="59757092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975755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52A-4F0E-B2BB-3FB17540202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52A-4F0E-B2BB-3FB17540202F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52A-4F0E-B2BB-3FB17540202F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ПЭТ
бутылка</c:v>
                </c:pt>
                <c:pt idx="1">
                  <c:v>Алюминиевая
банка</c:v>
                </c:pt>
                <c:pt idx="2">
                  <c:v>Стеклянная
бутылка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0.5</c:v>
                </c:pt>
                <c:pt idx="1">
                  <c:v>0.7</c:v>
                </c:pt>
                <c:pt idx="2">
                  <c:v>1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52A-4F0E-B2BB-3FB1754020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97575512"/>
        <c:axId val="597570920"/>
      </c:barChart>
      <c:catAx>
        <c:axId val="5975755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97570920"/>
        <c:crosses val="autoZero"/>
        <c:auto val="1"/>
        <c:lblAlgn val="ctr"/>
        <c:lblOffset val="100"/>
        <c:noMultiLvlLbl val="0"/>
      </c:catAx>
      <c:valAx>
        <c:axId val="59757092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975755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5B9-4FA9-83A2-9BC6FF8DEA3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5B9-4FA9-83A2-9BC6FF8DEA3F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5B9-4FA9-83A2-9BC6FF8DEA3F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ПЭТ
бутылка</c:v>
                </c:pt>
                <c:pt idx="1">
                  <c:v>Алюминиевая
банка</c:v>
                </c:pt>
                <c:pt idx="2">
                  <c:v>Стеклянная
бутылка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0.5</c:v>
                </c:pt>
                <c:pt idx="1">
                  <c:v>1.3</c:v>
                </c:pt>
                <c:pt idx="2">
                  <c:v>2.20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5B9-4FA9-83A2-9BC6FF8DEA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97575512"/>
        <c:axId val="597570920"/>
      </c:barChart>
      <c:catAx>
        <c:axId val="5975755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97570920"/>
        <c:crosses val="autoZero"/>
        <c:auto val="1"/>
        <c:lblAlgn val="ctr"/>
        <c:lblOffset val="100"/>
        <c:noMultiLvlLbl val="0"/>
      </c:catAx>
      <c:valAx>
        <c:axId val="59757092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975755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ru-RU"/>
              <a:t>123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1BCA33-4896-489E-B720-8EEC15C087D1}" type="datetime4">
              <a:rPr lang="ru-RU" smtClean="0"/>
              <a:t>7 апреля 2022 г.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EB5374-BFD1-4068-ABE3-5F919E1EE36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482774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ru-RU"/>
              <a:t>123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CAABC8-349B-486B-ACAA-62C7BB60CF4E}" type="datetime4">
              <a:rPr lang="ru-RU" smtClean="0"/>
              <a:t>7 апреля 2022 г.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DC9E7D-DF78-4283-97F9-86BECCE66E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7162811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494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8986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479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7972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7464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6957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6450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5943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3AA62B5C-95CC-44C9-8862-9BD2869FFBE7}" type="datetime4">
              <a:rPr lang="ru-RU" smtClean="0"/>
              <a:t>7 апреля 2022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30152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5DABEF76-36F3-4E65-BC70-8F6C91EB4465}" type="datetime4">
              <a:rPr lang="ru-RU" smtClean="0"/>
              <a:t>7 апреля 2022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171313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45973CC5-31B9-4234-9FBC-D0833B7387BB}" type="datetime4">
              <a:rPr lang="ru-RU" smtClean="0"/>
              <a:t>7 апреля 2022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40950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6CBFD023-0CAA-46D7-9715-E102CC734BC1}" type="datetime4">
              <a:rPr lang="ru-RU" smtClean="0"/>
              <a:t>7 апреля 2022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61412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CCCF7B6F-E51C-4BCB-8FEF-E494554C81CF}" type="datetime4">
              <a:rPr lang="ru-RU" smtClean="0"/>
              <a:t>7 апреля 2022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47214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9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8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9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0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1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2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3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0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4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5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6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0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8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9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0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1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1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2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3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1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4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5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1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6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1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7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1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8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1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9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12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0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2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1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2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2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3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2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4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2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5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2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6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2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7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2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8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2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9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13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0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3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1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3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3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13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4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13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5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3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6.bin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13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8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13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9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14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0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14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1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14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2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1.xml"/><Relationship Id="rId1" Type="http://schemas.openxmlformats.org/officeDocument/2006/relationships/vmlDrawing" Target="../drawings/vmlDrawing14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3.bin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14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4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14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5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14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6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14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7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14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8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14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9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15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0.bin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15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1.bin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15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2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61.xml"/><Relationship Id="rId1" Type="http://schemas.openxmlformats.org/officeDocument/2006/relationships/vmlDrawing" Target="../drawings/vmlDrawing15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3.bin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15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4.bin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15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5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15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6.bin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15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66.xml"/><Relationship Id="rId1" Type="http://schemas.openxmlformats.org/officeDocument/2006/relationships/vmlDrawing" Target="../drawings/vmlDrawing15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8.bin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15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9.bin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16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0.bin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6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1.bin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16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2.bin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1.xml"/><Relationship Id="rId1" Type="http://schemas.openxmlformats.org/officeDocument/2006/relationships/vmlDrawing" Target="../drawings/vmlDrawing16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3.bin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16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4.bin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6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5.bin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16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6.bin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16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6.xml"/><Relationship Id="rId1" Type="http://schemas.openxmlformats.org/officeDocument/2006/relationships/vmlDrawing" Target="../drawings/vmlDrawing16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8.bin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16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9.bin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17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0.bin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17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1.bin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17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2.bin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81.xml"/><Relationship Id="rId1" Type="http://schemas.openxmlformats.org/officeDocument/2006/relationships/vmlDrawing" Target="../drawings/vmlDrawing17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3.bin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82.xml"/><Relationship Id="rId1" Type="http://schemas.openxmlformats.org/officeDocument/2006/relationships/vmlDrawing" Target="../drawings/vmlDrawing17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4.bin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17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5.bin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17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6.bin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17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86.xml"/><Relationship Id="rId1" Type="http://schemas.openxmlformats.org/officeDocument/2006/relationships/vmlDrawing" Target="../drawings/vmlDrawing17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8.bin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87.xml"/><Relationship Id="rId1" Type="http://schemas.openxmlformats.org/officeDocument/2006/relationships/vmlDrawing" Target="../drawings/vmlDrawing17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9.bin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8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0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6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7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8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9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0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1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2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3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4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5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6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7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8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9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0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1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2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3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5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6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7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8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9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0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1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1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3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1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2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3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2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7.bin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5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9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6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0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1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8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2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3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9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4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9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5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6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26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207289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="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29" name="Текст 7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3" name="Группа 2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2" name="Прямоугольник 31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4" name="Прямая соединительная линия 33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0" name="Группа 7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1" name="Прямоугольник 8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85" name="Прямоугольник 8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86" name="Прямоугольник 8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87" name="Прямоугольник 8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Прямоугольник 8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TextBox 9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TextBox 9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6289517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414818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7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75770"/>
            <a:ext cx="6768592" cy="1393373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40102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6" name="Полилиния 55"/>
          <p:cNvSpPr>
            <a:spLocks/>
          </p:cNvSpPr>
          <p:nvPr userDrawn="1"/>
        </p:nvSpPr>
        <p:spPr bwMode="auto">
          <a:xfrm>
            <a:off x="7430400" y="3429900"/>
            <a:ext cx="1713600" cy="17136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6" name="Группа 85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7" name="Прямоугольник 8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8" name="Прямая соединительная линия 8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Группа 88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7790796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79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089583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825155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5560727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7296299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089583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2515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5560727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7296299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7407351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581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1766654" y="1528614"/>
            <a:ext cx="1260000" cy="13388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179297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591940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6004583" y="1528614"/>
            <a:ext cx="1260000" cy="13388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7525225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1766654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179297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5919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6004583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752522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2821203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69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9359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233171" y="1527175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0" y="3417713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3293591" y="3417713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6233171" y="3417713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9359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23317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29359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623317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904457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72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40416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2682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913225" y="1520917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358775" y="3417713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2540416" y="3417713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4041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2682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913226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877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254041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4726821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472682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6913225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691322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8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8818993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86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089583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825155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5549911" y="1520917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7296299" y="1520917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354012" y="3417713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089583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2515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5549911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7296299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2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2089583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2089583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3825155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382515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8</a:t>
            </a:r>
            <a:endParaRPr lang="ru-RU" dirty="0"/>
          </a:p>
        </p:txBody>
      </p:sp>
      <p:sp>
        <p:nvSpPr>
          <p:cNvPr id="45" name="Текст 8"/>
          <p:cNvSpPr>
            <a:spLocks noGrp="1"/>
          </p:cNvSpPr>
          <p:nvPr>
            <p:ph type="body" sz="quarter" idx="72"/>
          </p:nvPr>
        </p:nvSpPr>
        <p:spPr>
          <a:xfrm>
            <a:off x="5549911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55499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9</a:t>
            </a:r>
            <a:endParaRPr lang="ru-RU" dirty="0"/>
          </a:p>
        </p:txBody>
      </p:sp>
      <p:sp>
        <p:nvSpPr>
          <p:cNvPr id="47" name="Текст 8"/>
          <p:cNvSpPr>
            <a:spLocks noGrp="1"/>
          </p:cNvSpPr>
          <p:nvPr>
            <p:ph type="body" sz="quarter" idx="74"/>
          </p:nvPr>
        </p:nvSpPr>
        <p:spPr>
          <a:xfrm>
            <a:off x="7296299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8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7296299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1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7685269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5241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17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1131888"/>
            <a:ext cx="4572000" cy="3419476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4572000" y="1131888"/>
            <a:ext cx="4572000" cy="3419475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5329456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271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88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72000" cy="455136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6323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16" name="Заголовок 1"/>
          <p:cNvSpPr txBox="1">
            <a:spLocks/>
          </p:cNvSpPr>
          <p:nvPr userDrawn="1"/>
        </p:nvSpPr>
        <p:spPr>
          <a:xfrm>
            <a:off x="4721989" y="339724"/>
            <a:ext cx="406323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/>
              <a:t>Образец заголовка</a:t>
            </a:r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val="367748237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8580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12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1131888"/>
            <a:ext cx="3048000" cy="341947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1131889"/>
            <a:ext cx="3048000" cy="341947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6096000" y="1131888"/>
            <a:ext cx="3048000" cy="3419476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920173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7081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90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48000" cy="455136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0"/>
            <a:ext cx="3048000" cy="4551363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6096000" y="-1"/>
            <a:ext cx="3048000" cy="4551365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250634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17" name="Заголовок 1"/>
          <p:cNvSpPr txBox="1">
            <a:spLocks/>
          </p:cNvSpPr>
          <p:nvPr userDrawn="1"/>
        </p:nvSpPr>
        <p:spPr>
          <a:xfrm>
            <a:off x="3273618" y="339724"/>
            <a:ext cx="250634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smtClean="0"/>
              <a:t>Образец заголовка</a:t>
            </a:r>
            <a:endParaRPr lang="ru-RU" kern="0" dirty="0"/>
          </a:p>
        </p:txBody>
      </p:sp>
      <p:sp>
        <p:nvSpPr>
          <p:cNvPr id="18" name="Заголовок 1"/>
          <p:cNvSpPr txBox="1">
            <a:spLocks/>
          </p:cNvSpPr>
          <p:nvPr userDrawn="1"/>
        </p:nvSpPr>
        <p:spPr>
          <a:xfrm>
            <a:off x="6193225" y="339724"/>
            <a:ext cx="2592000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>
                <a:solidFill>
                  <a:schemeClr val="bg1"/>
                </a:solidFill>
              </a:rPr>
              <a:t>Образец заголовка</a:t>
            </a:r>
            <a:endParaRPr lang="ru-RU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494391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9519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605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3048000" y="0"/>
            <a:ext cx="6096000" cy="152717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1527173"/>
            <a:ext cx="6096000" cy="1512889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3048000" y="3040063"/>
            <a:ext cx="6096000" cy="1511301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2496186" cy="684889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234370" y="439586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34371" y="1959617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234372" y="3471713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4068741" y="201894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4068741" y="1721925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068741" y="3234021"/>
            <a:ext cx="4716483" cy="1123384"/>
          </a:xfrm>
        </p:spPr>
        <p:txBody>
          <a:bodyPr wrap="square" lIns="0" tIns="0" rIns="0" bIns="0"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3456437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767827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0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1381344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8426450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8426450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8426449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4503247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8709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91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1144341"/>
            <a:ext cx="4572000" cy="3396756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58775" y="3417713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3644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8778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364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7449819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7676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92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0"/>
            <a:ext cx="4572000" cy="4541097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18" name="Рисунок 9"/>
          <p:cNvSpPr>
            <a:spLocks noGrp="1"/>
          </p:cNvSpPr>
          <p:nvPr>
            <p:ph type="pic" sz="quarter" idx="60"/>
          </p:nvPr>
        </p:nvSpPr>
        <p:spPr>
          <a:xfrm>
            <a:off x="0" y="0"/>
            <a:ext cx="4572000" cy="4541097"/>
          </a:xfrm>
        </p:spPr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6323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58775" y="3417713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3644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8778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364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19" name="Заголовок 1"/>
          <p:cNvSpPr txBox="1">
            <a:spLocks/>
          </p:cNvSpPr>
          <p:nvPr userDrawn="1"/>
        </p:nvSpPr>
        <p:spPr>
          <a:xfrm>
            <a:off x="4736440" y="339724"/>
            <a:ext cx="406323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/>
              <a:t>Образец заголовка</a:t>
            </a:r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val="2063929445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5951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95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0"/>
            <a:ext cx="4572000" cy="4541097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27" name="Рисунок 9"/>
          <p:cNvSpPr>
            <a:spLocks noGrp="1"/>
          </p:cNvSpPr>
          <p:nvPr>
            <p:ph type="pic" sz="quarter" idx="67"/>
          </p:nvPr>
        </p:nvSpPr>
        <p:spPr>
          <a:xfrm>
            <a:off x="0" y="0"/>
            <a:ext cx="4572000" cy="4541097"/>
          </a:xfrm>
        </p:spPr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53642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40416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56394" y="3427146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2542798" y="3420888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4731584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6913225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4041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6394" y="3044312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2542799" y="3043238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4731584" y="114952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6913225" y="114952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4726821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472682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6913225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691322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8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68"/>
          </p:nvPr>
        </p:nvSpPr>
        <p:spPr>
          <a:xfrm>
            <a:off x="4727575" y="339725"/>
            <a:ext cx="4057650" cy="684213"/>
          </a:xfrm>
        </p:spPr>
        <p:txBody>
          <a:bodyPr/>
          <a:lstStyle>
            <a:lvl1pPr>
              <a:defRPr sz="2000">
                <a:latin typeface="+mj-lt"/>
              </a:defRPr>
            </a:lvl1pPr>
            <a:lvl2pPr>
              <a:defRPr sz="1800" b="1">
                <a:solidFill>
                  <a:schemeClr val="tx2"/>
                </a:solidFill>
                <a:latin typeface="+mj-lt"/>
              </a:defRPr>
            </a:lvl2pPr>
            <a:lvl3pPr>
              <a:defRPr sz="1200" b="1">
                <a:solidFill>
                  <a:schemeClr val="tx2"/>
                </a:solidFill>
                <a:latin typeface="+mj-lt"/>
              </a:defRPr>
            </a:lvl3pPr>
            <a:lvl4pPr>
              <a:defRPr sz="1100" b="1">
                <a:solidFill>
                  <a:schemeClr val="tx2"/>
                </a:solidFill>
                <a:latin typeface="+mj-lt"/>
              </a:defRPr>
            </a:lvl4pPr>
            <a:lvl5pPr>
              <a:defRPr sz="1050" b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2159445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5039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25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FB58CCCB-FC9E-47FF-AE1A-2B8103C4EC8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0987" y="120560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Рисунок 14">
            <a:extLst>
              <a:ext uri="{FF2B5EF4-FFF2-40B4-BE49-F238E27FC236}">
                <a16:creationId xmlns:a16="http://schemas.microsoft.com/office/drawing/2014/main" id="{AF7E94E8-5A2E-4B85-8346-35E006E4E6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0987" y="16878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7" name="Рисунок 14">
            <a:extLst>
              <a:ext uri="{FF2B5EF4-FFF2-40B4-BE49-F238E27FC236}">
                <a16:creationId xmlns:a16="http://schemas.microsoft.com/office/drawing/2014/main" id="{CAD2D448-B9A8-498E-BEC3-88F1259C47E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0987" y="217003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9" name="Рисунок 14">
            <a:extLst>
              <a:ext uri="{FF2B5EF4-FFF2-40B4-BE49-F238E27FC236}">
                <a16:creationId xmlns:a16="http://schemas.microsoft.com/office/drawing/2014/main" id="{DD146D87-19E3-4A72-9020-4C781871DC9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0987" y="265224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1" name="Рисунок 14">
            <a:extLst>
              <a:ext uri="{FF2B5EF4-FFF2-40B4-BE49-F238E27FC236}">
                <a16:creationId xmlns:a16="http://schemas.microsoft.com/office/drawing/2014/main" id="{F8E680ED-3238-4F87-B236-95D34EE91BFD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0987" y="313445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3" name="Рисунок 14">
            <a:extLst>
              <a:ext uri="{FF2B5EF4-FFF2-40B4-BE49-F238E27FC236}">
                <a16:creationId xmlns:a16="http://schemas.microsoft.com/office/drawing/2014/main" id="{80370F26-8302-4977-AEFC-CB03B7EF8574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0987" y="361666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5" name="Рисунок 14">
            <a:extLst>
              <a:ext uri="{FF2B5EF4-FFF2-40B4-BE49-F238E27FC236}">
                <a16:creationId xmlns:a16="http://schemas.microsoft.com/office/drawing/2014/main" id="{9820ABA4-917D-44CA-8A15-933CDF460744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0987" y="40988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7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528339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65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6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8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9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653129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93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0948917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96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845632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1936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00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4027137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2477911" y="1527175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2477911" y="3420994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47791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24779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072777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9204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503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4060208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1774497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194982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8"/>
          </p:nvPr>
        </p:nvSpPr>
        <p:spPr>
          <a:xfrm>
            <a:off x="1774497" y="3420994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50"/>
          </p:nvPr>
        </p:nvSpPr>
        <p:spPr>
          <a:xfrm>
            <a:off x="3194982" y="3417713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1774497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19498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1774497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194982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8535715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30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906626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03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314974"/>
            <a:ext cx="6768592" cy="1380754"/>
          </a:xfrm>
          <a:effectLst/>
        </p:spPr>
        <p:txBody>
          <a:bodyPr vert="horz" lIns="0" tIns="0" rIns="0" bIns="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</a:t>
            </a:r>
            <a:br>
              <a:rPr lang="ru-RU" dirty="0" smtClean="0"/>
            </a:br>
            <a:r>
              <a:rPr lang="ru-RU" dirty="0" smtClean="0"/>
              <a:t>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7412103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4975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28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937719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32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940706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93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117284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95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4450732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98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0540622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00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4813241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03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6185240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05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0900011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н + преамбула + 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8362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39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1" y="0"/>
            <a:ext cx="3047999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8500" y="339724"/>
            <a:ext cx="5546725" cy="684214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8" name="Рисунок 14">
            <a:extLst>
              <a:ext uri="{FF2B5EF4-FFF2-40B4-BE49-F238E27FC236}">
                <a16:creationId xmlns:a16="http://schemas.microsoft.com/office/drawing/2014/main" id="{4B7DA86D-EE14-4915-A8B5-722C9CBBE67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38500" y="1185888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0" name="Рисунок 14">
            <a:extLst>
              <a:ext uri="{FF2B5EF4-FFF2-40B4-BE49-F238E27FC236}">
                <a16:creationId xmlns:a16="http://schemas.microsoft.com/office/drawing/2014/main" id="{8880097B-8F31-4EE5-BC21-B835E5694478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38500" y="167611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2" name="Рисунок 14">
            <a:extLst>
              <a:ext uri="{FF2B5EF4-FFF2-40B4-BE49-F238E27FC236}">
                <a16:creationId xmlns:a16="http://schemas.microsoft.com/office/drawing/2014/main" id="{E16E0BFD-89AD-4030-B243-57B7C43695D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38500" y="216634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4" name="Рисунок 14">
            <a:extLst>
              <a:ext uri="{FF2B5EF4-FFF2-40B4-BE49-F238E27FC236}">
                <a16:creationId xmlns:a16="http://schemas.microsoft.com/office/drawing/2014/main" id="{A4DAF9EC-0161-47E9-86C7-7216F4250C5B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38500" y="265657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6" name="Рисунок 14">
            <a:extLst>
              <a:ext uri="{FF2B5EF4-FFF2-40B4-BE49-F238E27FC236}">
                <a16:creationId xmlns:a16="http://schemas.microsoft.com/office/drawing/2014/main" id="{E2CA454F-F786-4F65-B99A-43B767CC4BF3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38500" y="314680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8" name="Рисунок 14">
            <a:extLst>
              <a:ext uri="{FF2B5EF4-FFF2-40B4-BE49-F238E27FC236}">
                <a16:creationId xmlns:a16="http://schemas.microsoft.com/office/drawing/2014/main" id="{D166CBFF-D38C-4D25-8578-052855591538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38500" y="363703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0" name="Рисунок 14">
            <a:extLst>
              <a:ext uri="{FF2B5EF4-FFF2-40B4-BE49-F238E27FC236}">
                <a16:creationId xmlns:a16="http://schemas.microsoft.com/office/drawing/2014/main" id="{1C5D21D0-A654-4F33-BE00-4AAAD3146301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38500" y="4127262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4"/>
          </p:nvPr>
        </p:nvSpPr>
        <p:spPr>
          <a:xfrm>
            <a:off x="3717925" y="1131888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6"/>
          <p:cNvSpPr>
            <a:spLocks noGrp="1"/>
          </p:cNvSpPr>
          <p:nvPr>
            <p:ph type="body" sz="quarter" idx="45"/>
          </p:nvPr>
        </p:nvSpPr>
        <p:spPr>
          <a:xfrm>
            <a:off x="3717925" y="1622117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6"/>
          <p:cNvSpPr>
            <a:spLocks noGrp="1"/>
          </p:cNvSpPr>
          <p:nvPr>
            <p:ph type="body" sz="quarter" idx="46"/>
          </p:nvPr>
        </p:nvSpPr>
        <p:spPr>
          <a:xfrm>
            <a:off x="3717925" y="2112346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6"/>
          <p:cNvSpPr>
            <a:spLocks noGrp="1"/>
          </p:cNvSpPr>
          <p:nvPr>
            <p:ph type="body" sz="quarter" idx="47"/>
          </p:nvPr>
        </p:nvSpPr>
        <p:spPr>
          <a:xfrm>
            <a:off x="3717925" y="2602575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6"/>
          <p:cNvSpPr>
            <a:spLocks noGrp="1"/>
          </p:cNvSpPr>
          <p:nvPr>
            <p:ph type="body" sz="quarter" idx="48"/>
          </p:nvPr>
        </p:nvSpPr>
        <p:spPr>
          <a:xfrm>
            <a:off x="3717925" y="3092804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6"/>
          <p:cNvSpPr>
            <a:spLocks noGrp="1"/>
          </p:cNvSpPr>
          <p:nvPr>
            <p:ph type="body" sz="quarter" idx="49"/>
          </p:nvPr>
        </p:nvSpPr>
        <p:spPr>
          <a:xfrm>
            <a:off x="3717925" y="3583033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6"/>
          <p:cNvSpPr>
            <a:spLocks noGrp="1"/>
          </p:cNvSpPr>
          <p:nvPr>
            <p:ph type="body" sz="quarter" idx="50"/>
          </p:nvPr>
        </p:nvSpPr>
        <p:spPr>
          <a:xfrm>
            <a:off x="3717925" y="4073262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51"/>
          </p:nvPr>
        </p:nvSpPr>
        <p:spPr>
          <a:xfrm>
            <a:off x="358775" y="339725"/>
            <a:ext cx="2513965" cy="4211638"/>
          </a:xfrm>
        </p:spPr>
        <p:txBody>
          <a:bodyPr vert="horz" lIns="0" tIns="0" rIns="0" bIns="0" rtlCol="0">
            <a:no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5046090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9833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35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84220" y="339724"/>
            <a:ext cx="5501005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1" y="0"/>
            <a:ext cx="3047999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0F330F95-7EBC-4271-9C49-F0553ABB45B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84220" y="121461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17C8AFFB-91D7-48BE-BA4C-A402F77F8535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84220" y="169558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9417A9CF-5B7D-40E0-890E-E0C892B0DBA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84220" y="217654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5C52364B-C15A-4133-B102-541B5C18DD4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84220" y="265751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85866053-C0C3-4840-A70B-ADE6462FD4E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84220" y="31384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BB1F9AA0-0565-4D7A-ADAF-E349DF55D060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84220" y="361944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7C98835F-EA09-4ED1-B396-8DC0E5340E8F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84220" y="410041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3"/>
          </p:nvPr>
        </p:nvSpPr>
        <p:spPr>
          <a:xfrm>
            <a:off x="3843338" y="1131888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4"/>
          </p:nvPr>
        </p:nvSpPr>
        <p:spPr>
          <a:xfrm>
            <a:off x="3843338" y="1612107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5"/>
          </p:nvPr>
        </p:nvSpPr>
        <p:spPr>
          <a:xfrm>
            <a:off x="3843338" y="2092326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6"/>
          </p:nvPr>
        </p:nvSpPr>
        <p:spPr>
          <a:xfrm>
            <a:off x="3843338" y="2572545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7"/>
          </p:nvPr>
        </p:nvSpPr>
        <p:spPr>
          <a:xfrm>
            <a:off x="3843338" y="3052764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8"/>
          </p:nvPr>
        </p:nvSpPr>
        <p:spPr>
          <a:xfrm>
            <a:off x="3843338" y="3532983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49"/>
          </p:nvPr>
        </p:nvSpPr>
        <p:spPr>
          <a:xfrm>
            <a:off x="3843338" y="4017679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681648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046924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29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26800" y="3425398"/>
            <a:ext cx="1717200" cy="171810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304800"/>
            <a:ext cx="6768592" cy="1349829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63899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rgbClr val="FFFFFF"/>
                </a:solidFill>
              </a:rPr>
              <a:t>Партнеры</a:t>
            </a:r>
            <a:r>
              <a:rPr lang="ru-RU" sz="1100" baseline="0" dirty="0" smtClean="0">
                <a:solidFill>
                  <a:srgbClr val="FFFFFF"/>
                </a:solidFill>
              </a:rPr>
              <a:t> для роста</a:t>
            </a:r>
            <a:endParaRPr lang="ru-RU" sz="1100" dirty="0">
              <a:solidFill>
                <a:srgbClr val="FFFFFF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5398"/>
            <a:ext cx="7422299" cy="171810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grpSp>
        <p:nvGrpSpPr>
          <p:cNvPr id="7" name="Группа 6"/>
          <p:cNvGrpSpPr>
            <a:grpSpLocks noChangeAspect="1"/>
          </p:cNvGrpSpPr>
          <p:nvPr userDrawn="1"/>
        </p:nvGrpSpPr>
        <p:grpSpPr>
          <a:xfrm>
            <a:off x="7426800" y="1712699"/>
            <a:ext cx="1717200" cy="1718102"/>
            <a:chOff x="7431300" y="1712699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104" name="Полилиния 103"/>
          <p:cNvSpPr>
            <a:spLocks noChangeAspect="1"/>
          </p:cNvSpPr>
          <p:nvPr userDrawn="1"/>
        </p:nvSpPr>
        <p:spPr bwMode="auto">
          <a:xfrm>
            <a:off x="7426804" y="0"/>
            <a:ext cx="1717196" cy="1718102"/>
          </a:xfrm>
          <a:custGeom>
            <a:avLst/>
            <a:gdLst>
              <a:gd name="connsiteX0" fmla="*/ 1712696 w 1712696"/>
              <a:gd name="connsiteY0" fmla="*/ 1664380 h 1713600"/>
              <a:gd name="connsiteX1" fmla="*/ 1712696 w 1712696"/>
              <a:gd name="connsiteY1" fmla="*/ 1713600 h 1713600"/>
              <a:gd name="connsiteX2" fmla="*/ 1666083 w 1712696"/>
              <a:gd name="connsiteY2" fmla="*/ 1713600 h 1713600"/>
              <a:gd name="connsiteX3" fmla="*/ 1712696 w 1712696"/>
              <a:gd name="connsiteY3" fmla="*/ 1277272 h 1713600"/>
              <a:gd name="connsiteX4" fmla="*/ 1712696 w 1712696"/>
              <a:gd name="connsiteY4" fmla="*/ 1476393 h 1713600"/>
              <a:gd name="connsiteX5" fmla="*/ 1488054 w 1712696"/>
              <a:gd name="connsiteY5" fmla="*/ 1713600 h 1713600"/>
              <a:gd name="connsiteX6" fmla="*/ 1299480 w 1712696"/>
              <a:gd name="connsiteY6" fmla="*/ 1713600 h 1713600"/>
              <a:gd name="connsiteX7" fmla="*/ 1712696 w 1712696"/>
              <a:gd name="connsiteY7" fmla="*/ 890163 h 1713600"/>
              <a:gd name="connsiteX8" fmla="*/ 1712696 w 1712696"/>
              <a:gd name="connsiteY8" fmla="*/ 1089285 h 1713600"/>
              <a:gd name="connsiteX9" fmla="*/ 1121451 w 1712696"/>
              <a:gd name="connsiteY9" fmla="*/ 1713600 h 1713600"/>
              <a:gd name="connsiteX10" fmla="*/ 932877 w 1712696"/>
              <a:gd name="connsiteY10" fmla="*/ 1713600 h 1713600"/>
              <a:gd name="connsiteX11" fmla="*/ 1712696 w 1712696"/>
              <a:gd name="connsiteY11" fmla="*/ 503055 h 1713600"/>
              <a:gd name="connsiteX12" fmla="*/ 1712696 w 1712696"/>
              <a:gd name="connsiteY12" fmla="*/ 702177 h 1713600"/>
              <a:gd name="connsiteX13" fmla="*/ 754848 w 1712696"/>
              <a:gd name="connsiteY13" fmla="*/ 1713600 h 1713600"/>
              <a:gd name="connsiteX14" fmla="*/ 566274 w 1712696"/>
              <a:gd name="connsiteY14" fmla="*/ 1713600 h 1713600"/>
              <a:gd name="connsiteX15" fmla="*/ 1712696 w 1712696"/>
              <a:gd name="connsiteY15" fmla="*/ 115947 h 1713600"/>
              <a:gd name="connsiteX16" fmla="*/ 1712696 w 1712696"/>
              <a:gd name="connsiteY16" fmla="*/ 315069 h 1713600"/>
              <a:gd name="connsiteX17" fmla="*/ 388245 w 1712696"/>
              <a:gd name="connsiteY17" fmla="*/ 1713600 h 1713600"/>
              <a:gd name="connsiteX18" fmla="*/ 199671 w 1712696"/>
              <a:gd name="connsiteY18" fmla="*/ 1713600 h 1713600"/>
              <a:gd name="connsiteX19" fmla="*/ 0 w 1712696"/>
              <a:gd name="connsiteY19" fmla="*/ 0 h 1713600"/>
              <a:gd name="connsiteX20" fmla="*/ 1712696 w 1712696"/>
              <a:gd name="connsiteY20" fmla="*/ 0 h 1713600"/>
              <a:gd name="connsiteX21" fmla="*/ 1712696 w 1712696"/>
              <a:gd name="connsiteY21" fmla="*/ 1801 h 1713600"/>
              <a:gd name="connsiteX22" fmla="*/ 1642767 w 1712696"/>
              <a:gd name="connsiteY22" fmla="*/ 1801 h 1713600"/>
              <a:gd name="connsiteX23" fmla="*/ 21642 w 1712696"/>
              <a:gd name="connsiteY23" fmla="*/ 1713600 h 1713600"/>
              <a:gd name="connsiteX24" fmla="*/ 0 w 1712696"/>
              <a:gd name="connsiteY24" fmla="*/ 1713600 h 1713600"/>
              <a:gd name="connsiteX25" fmla="*/ 0 w 1712696"/>
              <a:gd name="connsiteY25" fmla="*/ 1537331 h 1713600"/>
              <a:gd name="connsiteX26" fmla="*/ 1454193 w 1712696"/>
              <a:gd name="connsiteY26" fmla="*/ 1801 h 1713600"/>
              <a:gd name="connsiteX27" fmla="*/ 1276164 w 1712696"/>
              <a:gd name="connsiteY27" fmla="*/ 1801 h 1713600"/>
              <a:gd name="connsiteX28" fmla="*/ 0 w 1712696"/>
              <a:gd name="connsiteY28" fmla="*/ 1349344 h 1713600"/>
              <a:gd name="connsiteX29" fmla="*/ 0 w 1712696"/>
              <a:gd name="connsiteY29" fmla="*/ 1150223 h 1713600"/>
              <a:gd name="connsiteX30" fmla="*/ 1087590 w 1712696"/>
              <a:gd name="connsiteY30" fmla="*/ 1801 h 1713600"/>
              <a:gd name="connsiteX31" fmla="*/ 909561 w 1712696"/>
              <a:gd name="connsiteY31" fmla="*/ 1801 h 1713600"/>
              <a:gd name="connsiteX32" fmla="*/ 0 w 1712696"/>
              <a:gd name="connsiteY32" fmla="*/ 962236 h 1713600"/>
              <a:gd name="connsiteX33" fmla="*/ 0 w 1712696"/>
              <a:gd name="connsiteY33" fmla="*/ 763115 h 1713600"/>
              <a:gd name="connsiteX34" fmla="*/ 720987 w 1712696"/>
              <a:gd name="connsiteY34" fmla="*/ 1801 h 1713600"/>
              <a:gd name="connsiteX35" fmla="*/ 542958 w 1712696"/>
              <a:gd name="connsiteY35" fmla="*/ 1801 h 1713600"/>
              <a:gd name="connsiteX36" fmla="*/ 0 w 1712696"/>
              <a:gd name="connsiteY36" fmla="*/ 575128 h 1713600"/>
              <a:gd name="connsiteX37" fmla="*/ 0 w 1712696"/>
              <a:gd name="connsiteY37" fmla="*/ 376007 h 1713600"/>
              <a:gd name="connsiteX38" fmla="*/ 354384 w 1712696"/>
              <a:gd name="connsiteY38" fmla="*/ 1801 h 1713600"/>
              <a:gd name="connsiteX39" fmla="*/ 176355 w 1712696"/>
              <a:gd name="connsiteY39" fmla="*/ 1801 h 1713600"/>
              <a:gd name="connsiteX40" fmla="*/ 0 w 1712696"/>
              <a:gd name="connsiteY40" fmla="*/ 188020 h 171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1712696" h="1713600">
                <a:moveTo>
                  <a:pt x="1712696" y="1664380"/>
                </a:moveTo>
                <a:lnTo>
                  <a:pt x="1712696" y="1713600"/>
                </a:lnTo>
                <a:lnTo>
                  <a:pt x="1666083" y="1713600"/>
                </a:lnTo>
                <a:close/>
                <a:moveTo>
                  <a:pt x="1712696" y="1277272"/>
                </a:moveTo>
                <a:lnTo>
                  <a:pt x="1712696" y="1476393"/>
                </a:lnTo>
                <a:lnTo>
                  <a:pt x="1488054" y="1713600"/>
                </a:lnTo>
                <a:lnTo>
                  <a:pt x="1299480" y="1713600"/>
                </a:lnTo>
                <a:close/>
                <a:moveTo>
                  <a:pt x="1712696" y="890163"/>
                </a:moveTo>
                <a:lnTo>
                  <a:pt x="1712696" y="1089285"/>
                </a:lnTo>
                <a:lnTo>
                  <a:pt x="1121451" y="1713600"/>
                </a:lnTo>
                <a:lnTo>
                  <a:pt x="932877" y="1713600"/>
                </a:lnTo>
                <a:close/>
                <a:moveTo>
                  <a:pt x="1712696" y="503055"/>
                </a:moveTo>
                <a:lnTo>
                  <a:pt x="1712696" y="702177"/>
                </a:lnTo>
                <a:lnTo>
                  <a:pt x="754848" y="1713600"/>
                </a:lnTo>
                <a:lnTo>
                  <a:pt x="566274" y="1713600"/>
                </a:lnTo>
                <a:close/>
                <a:moveTo>
                  <a:pt x="1712696" y="115947"/>
                </a:moveTo>
                <a:lnTo>
                  <a:pt x="1712696" y="315069"/>
                </a:lnTo>
                <a:lnTo>
                  <a:pt x="388245" y="1713600"/>
                </a:lnTo>
                <a:lnTo>
                  <a:pt x="199671" y="1713600"/>
                </a:lnTo>
                <a:close/>
                <a:moveTo>
                  <a:pt x="0" y="0"/>
                </a:moveTo>
                <a:lnTo>
                  <a:pt x="1712696" y="0"/>
                </a:lnTo>
                <a:lnTo>
                  <a:pt x="1712696" y="1801"/>
                </a:lnTo>
                <a:lnTo>
                  <a:pt x="1642767" y="1801"/>
                </a:lnTo>
                <a:lnTo>
                  <a:pt x="21642" y="1713600"/>
                </a:lnTo>
                <a:lnTo>
                  <a:pt x="0" y="1713600"/>
                </a:lnTo>
                <a:lnTo>
                  <a:pt x="0" y="1537331"/>
                </a:lnTo>
                <a:lnTo>
                  <a:pt x="1454193" y="1801"/>
                </a:lnTo>
                <a:lnTo>
                  <a:pt x="1276164" y="1801"/>
                </a:lnTo>
                <a:lnTo>
                  <a:pt x="0" y="1349344"/>
                </a:lnTo>
                <a:lnTo>
                  <a:pt x="0" y="1150223"/>
                </a:lnTo>
                <a:lnTo>
                  <a:pt x="1087590" y="1801"/>
                </a:lnTo>
                <a:lnTo>
                  <a:pt x="909561" y="1801"/>
                </a:lnTo>
                <a:lnTo>
                  <a:pt x="0" y="962236"/>
                </a:lnTo>
                <a:lnTo>
                  <a:pt x="0" y="763115"/>
                </a:lnTo>
                <a:lnTo>
                  <a:pt x="720987" y="1801"/>
                </a:lnTo>
                <a:lnTo>
                  <a:pt x="542958" y="1801"/>
                </a:lnTo>
                <a:lnTo>
                  <a:pt x="0" y="575128"/>
                </a:lnTo>
                <a:lnTo>
                  <a:pt x="0" y="376007"/>
                </a:lnTo>
                <a:lnTo>
                  <a:pt x="354384" y="1801"/>
                </a:lnTo>
                <a:lnTo>
                  <a:pt x="176355" y="1801"/>
                </a:lnTo>
                <a:lnTo>
                  <a:pt x="0" y="188020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7" name="Группа 8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8" name="Прямоугольник 8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9" name="Прямая соединительная линия 8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0" name="Группа 8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TextBox 106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910328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фото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327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408" y="339724"/>
            <a:ext cx="5546092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58775" y="1131888"/>
            <a:ext cx="5546970" cy="3419475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7676675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фото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7817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841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408" y="339724"/>
            <a:ext cx="3999867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9620" y="0"/>
            <a:ext cx="456438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58775" y="1131888"/>
            <a:ext cx="4000500" cy="3419475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024807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текст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429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89300" y="339724"/>
            <a:ext cx="5495925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288430" y="1131888"/>
            <a:ext cx="5496795" cy="34194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967030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текст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5600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37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85358" y="339724"/>
            <a:ext cx="3999867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6438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4784725" y="1131888"/>
            <a:ext cx="4000500" cy="34194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9847375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блица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873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7" name="Таблица 6"/>
          <p:cNvSpPr>
            <a:spLocks noGrp="1"/>
          </p:cNvSpPr>
          <p:nvPr>
            <p:ph type="tbl" sz="quarter" idx="13"/>
          </p:nvPr>
        </p:nvSpPr>
        <p:spPr>
          <a:xfrm>
            <a:off x="358774" y="1638299"/>
            <a:ext cx="8426451" cy="29130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361950" y="1131888"/>
            <a:ext cx="8423275" cy="43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Заголовок </a:t>
            </a:r>
            <a:br>
              <a:rPr lang="ru-RU" dirty="0" smtClean="0"/>
            </a:br>
            <a:r>
              <a:rPr lang="ru-RU" dirty="0" smtClean="0"/>
              <a:t>таблицы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3950519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блица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771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7" name="Таблица 6"/>
          <p:cNvSpPr>
            <a:spLocks noGrp="1"/>
          </p:cNvSpPr>
          <p:nvPr>
            <p:ph type="tbl" sz="quarter" idx="13"/>
          </p:nvPr>
        </p:nvSpPr>
        <p:spPr>
          <a:xfrm>
            <a:off x="358775" y="1587500"/>
            <a:ext cx="4149725" cy="29257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9" name="Таблица 8"/>
          <p:cNvSpPr>
            <a:spLocks noGrp="1"/>
          </p:cNvSpPr>
          <p:nvPr>
            <p:ph type="tbl" sz="quarter" idx="14"/>
          </p:nvPr>
        </p:nvSpPr>
        <p:spPr>
          <a:xfrm>
            <a:off x="4635500" y="1587500"/>
            <a:ext cx="4149725" cy="2925763"/>
          </a:xfrm>
        </p:spPr>
        <p:txBody>
          <a:bodyPr/>
          <a:lstStyle/>
          <a:p>
            <a:endParaRPr lang="ru-RU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131888"/>
            <a:ext cx="4162425" cy="396000"/>
          </a:xfrm>
        </p:spPr>
        <p:txBody>
          <a:bodyPr/>
          <a:lstStyle>
            <a:lvl2pPr>
              <a:defRPr/>
            </a:lvl2pPr>
          </a:lstStyle>
          <a:p>
            <a:pPr lvl="1"/>
            <a:r>
              <a:rPr lang="ru-RU" dirty="0" smtClean="0"/>
              <a:t>Заголовок таблицы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35500" y="1131888"/>
            <a:ext cx="4162425" cy="396000"/>
          </a:xfrm>
        </p:spPr>
        <p:txBody>
          <a:bodyPr vert="horz" lIns="0" tIns="0" rIns="0" bIns="0" rtlCol="0">
            <a:no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1"/>
            <a:r>
              <a:rPr lang="ru-RU" dirty="0" smtClean="0"/>
              <a:t>Заголовок таблицы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6039612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блица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531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7" name="Таблица 6"/>
          <p:cNvSpPr>
            <a:spLocks noGrp="1"/>
          </p:cNvSpPr>
          <p:nvPr>
            <p:ph type="tbl" sz="quarter" idx="13"/>
          </p:nvPr>
        </p:nvSpPr>
        <p:spPr>
          <a:xfrm>
            <a:off x="358775" y="1531936"/>
            <a:ext cx="4149725" cy="12620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9" name="Таблица 8"/>
          <p:cNvSpPr>
            <a:spLocks noGrp="1"/>
          </p:cNvSpPr>
          <p:nvPr>
            <p:ph type="tbl" sz="quarter" idx="14"/>
          </p:nvPr>
        </p:nvSpPr>
        <p:spPr>
          <a:xfrm>
            <a:off x="4635500" y="1531937"/>
            <a:ext cx="4149725" cy="1262063"/>
          </a:xfrm>
        </p:spPr>
        <p:txBody>
          <a:bodyPr/>
          <a:lstStyle/>
          <a:p>
            <a:endParaRPr lang="ru-RU"/>
          </a:p>
        </p:txBody>
      </p:sp>
      <p:sp>
        <p:nvSpPr>
          <p:cNvPr id="10" name="Таблица 6"/>
          <p:cNvSpPr>
            <a:spLocks noGrp="1"/>
          </p:cNvSpPr>
          <p:nvPr>
            <p:ph type="tbl" sz="quarter" idx="15"/>
          </p:nvPr>
        </p:nvSpPr>
        <p:spPr>
          <a:xfrm>
            <a:off x="358775" y="3289298"/>
            <a:ext cx="4149725" cy="12620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11" name="Таблица 8"/>
          <p:cNvSpPr>
            <a:spLocks noGrp="1"/>
          </p:cNvSpPr>
          <p:nvPr>
            <p:ph type="tbl" sz="quarter" idx="16"/>
          </p:nvPr>
        </p:nvSpPr>
        <p:spPr>
          <a:xfrm>
            <a:off x="4635500" y="3289299"/>
            <a:ext cx="4149725" cy="1262063"/>
          </a:xfrm>
        </p:spPr>
        <p:txBody>
          <a:bodyPr/>
          <a:lstStyle/>
          <a:p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1131888"/>
            <a:ext cx="4149725" cy="354012"/>
          </a:xfrm>
        </p:spPr>
        <p:txBody>
          <a:bodyPr/>
          <a:lstStyle>
            <a:lvl2pPr>
              <a:defRPr/>
            </a:lvl2pPr>
          </a:lstStyle>
          <a:p>
            <a:pPr lvl="1"/>
            <a:r>
              <a:rPr lang="ru-RU" dirty="0" smtClean="0"/>
              <a:t>Заголовок таблицы</a:t>
            </a:r>
            <a:endParaRPr lang="ru-RU" dirty="0"/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8" hasCustomPrompt="1"/>
          </p:nvPr>
        </p:nvSpPr>
        <p:spPr>
          <a:xfrm>
            <a:off x="4635500" y="1131888"/>
            <a:ext cx="4149725" cy="354012"/>
          </a:xfrm>
        </p:spPr>
        <p:txBody>
          <a:bodyPr/>
          <a:lstStyle>
            <a:lvl2pPr>
              <a:defRPr/>
            </a:lvl2pPr>
          </a:lstStyle>
          <a:p>
            <a:pPr lvl="1"/>
            <a:r>
              <a:rPr lang="ru-RU" dirty="0" smtClean="0"/>
              <a:t>Заголовок таблицы</a:t>
            </a:r>
            <a:endParaRPr lang="ru-RU" dirty="0"/>
          </a:p>
        </p:txBody>
      </p:sp>
      <p:sp>
        <p:nvSpPr>
          <p:cNvPr id="14" name="Текст 11"/>
          <p:cNvSpPr>
            <a:spLocks noGrp="1"/>
          </p:cNvSpPr>
          <p:nvPr>
            <p:ph type="body" sz="quarter" idx="19" hasCustomPrompt="1"/>
          </p:nvPr>
        </p:nvSpPr>
        <p:spPr>
          <a:xfrm>
            <a:off x="358775" y="2902742"/>
            <a:ext cx="4149725" cy="354012"/>
          </a:xfrm>
        </p:spPr>
        <p:txBody>
          <a:bodyPr/>
          <a:lstStyle>
            <a:lvl2pPr>
              <a:defRPr/>
            </a:lvl2pPr>
          </a:lstStyle>
          <a:p>
            <a:pPr lvl="1"/>
            <a:r>
              <a:rPr lang="ru-RU" dirty="0" smtClean="0"/>
              <a:t>Заголовок таблицы</a:t>
            </a:r>
            <a:endParaRPr lang="ru-RU" dirty="0"/>
          </a:p>
        </p:txBody>
      </p:sp>
      <p:sp>
        <p:nvSpPr>
          <p:cNvPr id="15" name="Текст 11"/>
          <p:cNvSpPr>
            <a:spLocks noGrp="1"/>
          </p:cNvSpPr>
          <p:nvPr>
            <p:ph type="body" sz="quarter" idx="20" hasCustomPrompt="1"/>
          </p:nvPr>
        </p:nvSpPr>
        <p:spPr>
          <a:xfrm>
            <a:off x="4635500" y="2902742"/>
            <a:ext cx="4149725" cy="354012"/>
          </a:xfrm>
        </p:spPr>
        <p:txBody>
          <a:bodyPr/>
          <a:lstStyle>
            <a:lvl2pPr>
              <a:defRPr/>
            </a:lvl2pPr>
          </a:lstStyle>
          <a:p>
            <a:pPr lvl="1"/>
            <a:r>
              <a:rPr lang="ru-RU" dirty="0" smtClean="0"/>
              <a:t>Заголовок таблицы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94248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блица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34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7" name="Таблица 6"/>
          <p:cNvSpPr>
            <a:spLocks noGrp="1"/>
          </p:cNvSpPr>
          <p:nvPr>
            <p:ph type="tbl" sz="quarter" idx="13"/>
          </p:nvPr>
        </p:nvSpPr>
        <p:spPr>
          <a:xfrm>
            <a:off x="358775" y="1531936"/>
            <a:ext cx="2689225" cy="3019427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9" name="Таблица 8"/>
          <p:cNvSpPr>
            <a:spLocks noGrp="1"/>
          </p:cNvSpPr>
          <p:nvPr>
            <p:ph type="tbl" sz="quarter" idx="14"/>
          </p:nvPr>
        </p:nvSpPr>
        <p:spPr>
          <a:xfrm>
            <a:off x="3227387" y="1531936"/>
            <a:ext cx="2689225" cy="3019427"/>
          </a:xfrm>
        </p:spPr>
        <p:txBody>
          <a:bodyPr/>
          <a:lstStyle/>
          <a:p>
            <a:endParaRPr lang="ru-RU"/>
          </a:p>
        </p:txBody>
      </p:sp>
      <p:sp>
        <p:nvSpPr>
          <p:cNvPr id="10" name="Таблица 6"/>
          <p:cNvSpPr>
            <a:spLocks noGrp="1"/>
          </p:cNvSpPr>
          <p:nvPr>
            <p:ph type="tbl" sz="quarter" idx="15"/>
          </p:nvPr>
        </p:nvSpPr>
        <p:spPr>
          <a:xfrm>
            <a:off x="6096000" y="1531936"/>
            <a:ext cx="2689225" cy="3019427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1131888"/>
            <a:ext cx="2689225" cy="354012"/>
          </a:xfrm>
        </p:spPr>
        <p:txBody>
          <a:bodyPr/>
          <a:lstStyle>
            <a:lvl2pPr>
              <a:defRPr/>
            </a:lvl2pPr>
          </a:lstStyle>
          <a:p>
            <a:pPr lvl="1"/>
            <a:r>
              <a:rPr lang="ru-RU" dirty="0" smtClean="0"/>
              <a:t>Заголовок </a:t>
            </a:r>
            <a:br>
              <a:rPr lang="ru-RU" dirty="0" smtClean="0"/>
            </a:br>
            <a:r>
              <a:rPr lang="ru-RU" dirty="0" smtClean="0"/>
              <a:t>таблицы</a:t>
            </a:r>
            <a:endParaRPr lang="ru-RU" dirty="0"/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8" hasCustomPrompt="1"/>
          </p:nvPr>
        </p:nvSpPr>
        <p:spPr>
          <a:xfrm>
            <a:off x="3227387" y="1131888"/>
            <a:ext cx="2689225" cy="354012"/>
          </a:xfrm>
        </p:spPr>
        <p:txBody>
          <a:bodyPr/>
          <a:lstStyle>
            <a:lvl2pPr>
              <a:defRPr/>
            </a:lvl2pPr>
          </a:lstStyle>
          <a:p>
            <a:pPr lvl="1"/>
            <a:r>
              <a:rPr lang="ru-RU" dirty="0" smtClean="0"/>
              <a:t>Заголовок </a:t>
            </a:r>
            <a:br>
              <a:rPr lang="ru-RU" dirty="0" smtClean="0"/>
            </a:br>
            <a:r>
              <a:rPr lang="ru-RU" dirty="0" smtClean="0"/>
              <a:t>таблицы</a:t>
            </a:r>
            <a:endParaRPr lang="ru-RU" dirty="0"/>
          </a:p>
        </p:txBody>
      </p:sp>
      <p:sp>
        <p:nvSpPr>
          <p:cNvPr id="14" name="Текст 11"/>
          <p:cNvSpPr>
            <a:spLocks noGrp="1"/>
          </p:cNvSpPr>
          <p:nvPr>
            <p:ph type="body" sz="quarter" idx="19" hasCustomPrompt="1"/>
          </p:nvPr>
        </p:nvSpPr>
        <p:spPr>
          <a:xfrm>
            <a:off x="6096000" y="1131888"/>
            <a:ext cx="2689225" cy="354012"/>
          </a:xfrm>
        </p:spPr>
        <p:txBody>
          <a:bodyPr/>
          <a:lstStyle>
            <a:lvl2pPr>
              <a:defRPr/>
            </a:lvl2pPr>
          </a:lstStyle>
          <a:p>
            <a:pPr lvl="1"/>
            <a:r>
              <a:rPr lang="ru-RU" dirty="0" smtClean="0"/>
              <a:t>Заголовок </a:t>
            </a:r>
            <a:br>
              <a:rPr lang="ru-RU" dirty="0" smtClean="0"/>
            </a:br>
            <a:r>
              <a:rPr lang="ru-RU" dirty="0" smtClean="0"/>
              <a:t>таблицы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3126241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Диаграмма 6"/>
          <p:cNvSpPr>
            <a:spLocks noGrp="1"/>
          </p:cNvSpPr>
          <p:nvPr>
            <p:ph type="chart" sz="quarter" idx="13"/>
          </p:nvPr>
        </p:nvSpPr>
        <p:spPr>
          <a:xfrm>
            <a:off x="361950" y="1497625"/>
            <a:ext cx="4116388" cy="1462088"/>
          </a:xfrm>
        </p:spPr>
        <p:txBody>
          <a:bodyPr/>
          <a:lstStyle/>
          <a:p>
            <a:endParaRPr lang="ru-RU"/>
          </a:p>
        </p:txBody>
      </p:sp>
      <p:sp>
        <p:nvSpPr>
          <p:cNvPr id="9" name="Диаграмма 8"/>
          <p:cNvSpPr>
            <a:spLocks noGrp="1"/>
          </p:cNvSpPr>
          <p:nvPr>
            <p:ph type="chart" sz="quarter" idx="14"/>
          </p:nvPr>
        </p:nvSpPr>
        <p:spPr>
          <a:xfrm>
            <a:off x="4694238" y="1497625"/>
            <a:ext cx="4090987" cy="1476375"/>
          </a:xfrm>
        </p:spPr>
        <p:txBody>
          <a:bodyPr/>
          <a:lstStyle/>
          <a:p>
            <a:endParaRPr lang="ru-RU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5"/>
          </p:nvPr>
        </p:nvSpPr>
        <p:spPr>
          <a:xfrm>
            <a:off x="361950" y="3101679"/>
            <a:ext cx="4116388" cy="1449684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/>
          </p:nvPr>
        </p:nvSpPr>
        <p:spPr>
          <a:xfrm>
            <a:off x="4694238" y="3088962"/>
            <a:ext cx="4090987" cy="146240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/>
          </p:nvPr>
        </p:nvSpPr>
        <p:spPr>
          <a:xfrm>
            <a:off x="361950" y="1131888"/>
            <a:ext cx="4116388" cy="3079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7" name="Текст 16"/>
          <p:cNvSpPr>
            <a:spLocks noGrp="1"/>
          </p:cNvSpPr>
          <p:nvPr>
            <p:ph type="body" sz="quarter" idx="18"/>
          </p:nvPr>
        </p:nvSpPr>
        <p:spPr>
          <a:xfrm>
            <a:off x="4694238" y="1131888"/>
            <a:ext cx="4090987" cy="3079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849043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Диаграмма 6"/>
          <p:cNvSpPr>
            <a:spLocks noGrp="1"/>
          </p:cNvSpPr>
          <p:nvPr>
            <p:ph type="chart" sz="quarter" idx="13"/>
          </p:nvPr>
        </p:nvSpPr>
        <p:spPr>
          <a:xfrm>
            <a:off x="358775" y="1692275"/>
            <a:ext cx="5610225" cy="2859088"/>
          </a:xfrm>
        </p:spPr>
        <p:txBody>
          <a:bodyPr/>
          <a:lstStyle/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/>
          </p:nvPr>
        </p:nvSpPr>
        <p:spPr>
          <a:xfrm>
            <a:off x="358775" y="1131888"/>
            <a:ext cx="5616575" cy="4810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5"/>
          </p:nvPr>
        </p:nvSpPr>
        <p:spPr>
          <a:xfrm>
            <a:off x="6113463" y="1131888"/>
            <a:ext cx="2671762" cy="34194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743557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05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6768592" cy="1364369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Место (город)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Месяц Год</a:t>
            </a:r>
            <a:endParaRPr lang="ru-RU" dirty="0"/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990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342990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5716800" y="342990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0485414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89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353367" y="1211852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353367" y="169521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353367" y="217857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353367" y="266193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4"/>
          <p:cNvSpPr>
            <a:spLocks noGrp="1"/>
          </p:cNvSpPr>
          <p:nvPr>
            <p:ph type="pic" sz="quarter" idx="27" hasCustomPrompt="1"/>
          </p:nvPr>
        </p:nvSpPr>
        <p:spPr>
          <a:xfrm>
            <a:off x="353367" y="314529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Рисунок 14"/>
          <p:cNvSpPr>
            <a:spLocks noGrp="1"/>
          </p:cNvSpPr>
          <p:nvPr>
            <p:ph type="pic" sz="quarter" idx="28" hasCustomPrompt="1"/>
          </p:nvPr>
        </p:nvSpPr>
        <p:spPr>
          <a:xfrm>
            <a:off x="35336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5" name="Рисунок 14"/>
          <p:cNvSpPr>
            <a:spLocks noGrp="1"/>
          </p:cNvSpPr>
          <p:nvPr>
            <p:ph type="pic" sz="quarter" idx="51" hasCustomPrompt="1"/>
          </p:nvPr>
        </p:nvSpPr>
        <p:spPr>
          <a:xfrm>
            <a:off x="353367" y="362865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4163539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92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3024574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94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624284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10893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3588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78240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6289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65"/>
          </p:nvPr>
        </p:nvSpPr>
        <p:spPr>
          <a:xfrm>
            <a:off x="5239384" y="113963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6"/>
          </p:nvPr>
        </p:nvSpPr>
        <p:spPr>
          <a:xfrm>
            <a:off x="5239384" y="1624284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67"/>
          </p:nvPr>
        </p:nvSpPr>
        <p:spPr>
          <a:xfrm>
            <a:off x="5239384" y="210893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68"/>
          </p:nvPr>
        </p:nvSpPr>
        <p:spPr>
          <a:xfrm>
            <a:off x="5239384" y="2593588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69"/>
          </p:nvPr>
        </p:nvSpPr>
        <p:spPr>
          <a:xfrm>
            <a:off x="5239384" y="3078240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5" name="Текст 8"/>
          <p:cNvSpPr>
            <a:spLocks noGrp="1"/>
          </p:cNvSpPr>
          <p:nvPr>
            <p:ph type="body" sz="quarter" idx="70"/>
          </p:nvPr>
        </p:nvSpPr>
        <p:spPr>
          <a:xfrm>
            <a:off x="5239384" y="404754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6" name="Текст 8"/>
          <p:cNvSpPr>
            <a:spLocks noGrp="1"/>
          </p:cNvSpPr>
          <p:nvPr>
            <p:ph type="body" sz="quarter" idx="71"/>
          </p:nvPr>
        </p:nvSpPr>
        <p:spPr>
          <a:xfrm>
            <a:off x="5239384" y="356289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72" hasCustomPrompt="1"/>
          </p:nvPr>
        </p:nvSpPr>
        <p:spPr>
          <a:xfrm>
            <a:off x="4739958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4739958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42" name="Текст 7"/>
          <p:cNvSpPr>
            <a:spLocks noGrp="1"/>
          </p:cNvSpPr>
          <p:nvPr>
            <p:ph type="body" sz="quarter" idx="74" hasCustomPrompt="1"/>
          </p:nvPr>
        </p:nvSpPr>
        <p:spPr>
          <a:xfrm>
            <a:off x="4739958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4739958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76" hasCustomPrompt="1"/>
          </p:nvPr>
        </p:nvSpPr>
        <p:spPr>
          <a:xfrm>
            <a:off x="4739958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77" hasCustomPrompt="1"/>
          </p:nvPr>
        </p:nvSpPr>
        <p:spPr>
          <a:xfrm>
            <a:off x="4739958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8" hasCustomPrompt="1"/>
          </p:nvPr>
        </p:nvSpPr>
        <p:spPr>
          <a:xfrm>
            <a:off x="4739958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6914146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196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65"/>
          </p:nvPr>
        </p:nvSpPr>
        <p:spPr>
          <a:xfrm>
            <a:off x="3719046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6"/>
          </p:nvPr>
        </p:nvSpPr>
        <p:spPr>
          <a:xfrm>
            <a:off x="3719046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67"/>
          </p:nvPr>
        </p:nvSpPr>
        <p:spPr>
          <a:xfrm>
            <a:off x="3719046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68"/>
          </p:nvPr>
        </p:nvSpPr>
        <p:spPr>
          <a:xfrm>
            <a:off x="3719046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69"/>
          </p:nvPr>
        </p:nvSpPr>
        <p:spPr>
          <a:xfrm>
            <a:off x="3719046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5" name="Текст 8"/>
          <p:cNvSpPr>
            <a:spLocks noGrp="1"/>
          </p:cNvSpPr>
          <p:nvPr>
            <p:ph type="body" sz="quarter" idx="70"/>
          </p:nvPr>
        </p:nvSpPr>
        <p:spPr>
          <a:xfrm>
            <a:off x="3719046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6" name="Текст 8"/>
          <p:cNvSpPr>
            <a:spLocks noGrp="1"/>
          </p:cNvSpPr>
          <p:nvPr>
            <p:ph type="body" sz="quarter" idx="71"/>
          </p:nvPr>
        </p:nvSpPr>
        <p:spPr>
          <a:xfrm>
            <a:off x="3719046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72" hasCustomPrompt="1"/>
          </p:nvPr>
        </p:nvSpPr>
        <p:spPr>
          <a:xfrm>
            <a:off x="3219620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3219620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42" name="Текст 7"/>
          <p:cNvSpPr>
            <a:spLocks noGrp="1"/>
          </p:cNvSpPr>
          <p:nvPr>
            <p:ph type="body" sz="quarter" idx="74" hasCustomPrompt="1"/>
          </p:nvPr>
        </p:nvSpPr>
        <p:spPr>
          <a:xfrm>
            <a:off x="3219620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3219620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76" hasCustomPrompt="1"/>
          </p:nvPr>
        </p:nvSpPr>
        <p:spPr>
          <a:xfrm>
            <a:off x="3219620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77" hasCustomPrompt="1"/>
          </p:nvPr>
        </p:nvSpPr>
        <p:spPr>
          <a:xfrm>
            <a:off x="3219620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8" hasCustomPrompt="1"/>
          </p:nvPr>
        </p:nvSpPr>
        <p:spPr>
          <a:xfrm>
            <a:off x="3219620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47" name="Текст 8"/>
          <p:cNvSpPr>
            <a:spLocks noGrp="1"/>
          </p:cNvSpPr>
          <p:nvPr>
            <p:ph type="body" sz="quarter" idx="79"/>
          </p:nvPr>
        </p:nvSpPr>
        <p:spPr>
          <a:xfrm>
            <a:off x="6728310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8" name="Текст 8"/>
          <p:cNvSpPr>
            <a:spLocks noGrp="1"/>
          </p:cNvSpPr>
          <p:nvPr>
            <p:ph type="body" sz="quarter" idx="80"/>
          </p:nvPr>
        </p:nvSpPr>
        <p:spPr>
          <a:xfrm>
            <a:off x="6728310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9" name="Текст 8"/>
          <p:cNvSpPr>
            <a:spLocks noGrp="1"/>
          </p:cNvSpPr>
          <p:nvPr>
            <p:ph type="body" sz="quarter" idx="81"/>
          </p:nvPr>
        </p:nvSpPr>
        <p:spPr>
          <a:xfrm>
            <a:off x="6728310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0" name="Текст 8"/>
          <p:cNvSpPr>
            <a:spLocks noGrp="1"/>
          </p:cNvSpPr>
          <p:nvPr>
            <p:ph type="body" sz="quarter" idx="82"/>
          </p:nvPr>
        </p:nvSpPr>
        <p:spPr>
          <a:xfrm>
            <a:off x="6728310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1" name="Текст 8"/>
          <p:cNvSpPr>
            <a:spLocks noGrp="1"/>
          </p:cNvSpPr>
          <p:nvPr>
            <p:ph type="body" sz="quarter" idx="83"/>
          </p:nvPr>
        </p:nvSpPr>
        <p:spPr>
          <a:xfrm>
            <a:off x="6728310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2" name="Текст 8"/>
          <p:cNvSpPr>
            <a:spLocks noGrp="1"/>
          </p:cNvSpPr>
          <p:nvPr>
            <p:ph type="body" sz="quarter" idx="84"/>
          </p:nvPr>
        </p:nvSpPr>
        <p:spPr>
          <a:xfrm>
            <a:off x="6728310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3" name="Текст 8"/>
          <p:cNvSpPr>
            <a:spLocks noGrp="1"/>
          </p:cNvSpPr>
          <p:nvPr>
            <p:ph type="body" sz="quarter" idx="85"/>
          </p:nvPr>
        </p:nvSpPr>
        <p:spPr>
          <a:xfrm>
            <a:off x="6728310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4" name="Текст 7"/>
          <p:cNvSpPr>
            <a:spLocks noGrp="1"/>
          </p:cNvSpPr>
          <p:nvPr>
            <p:ph type="body" sz="quarter" idx="86" hasCustomPrompt="1"/>
          </p:nvPr>
        </p:nvSpPr>
        <p:spPr>
          <a:xfrm>
            <a:off x="6228884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55" name="Текст 7"/>
          <p:cNvSpPr>
            <a:spLocks noGrp="1"/>
          </p:cNvSpPr>
          <p:nvPr>
            <p:ph type="body" sz="quarter" idx="87" hasCustomPrompt="1"/>
          </p:nvPr>
        </p:nvSpPr>
        <p:spPr>
          <a:xfrm>
            <a:off x="6228884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88" hasCustomPrompt="1"/>
          </p:nvPr>
        </p:nvSpPr>
        <p:spPr>
          <a:xfrm>
            <a:off x="6228884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57" name="Текст 7"/>
          <p:cNvSpPr>
            <a:spLocks noGrp="1"/>
          </p:cNvSpPr>
          <p:nvPr>
            <p:ph type="body" sz="quarter" idx="89" hasCustomPrompt="1"/>
          </p:nvPr>
        </p:nvSpPr>
        <p:spPr>
          <a:xfrm>
            <a:off x="6228884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58" name="Текст 7"/>
          <p:cNvSpPr>
            <a:spLocks noGrp="1"/>
          </p:cNvSpPr>
          <p:nvPr>
            <p:ph type="body" sz="quarter" idx="90" hasCustomPrompt="1"/>
          </p:nvPr>
        </p:nvSpPr>
        <p:spPr>
          <a:xfrm>
            <a:off x="6228884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59" name="Текст 7"/>
          <p:cNvSpPr>
            <a:spLocks noGrp="1"/>
          </p:cNvSpPr>
          <p:nvPr>
            <p:ph type="body" sz="quarter" idx="91" hasCustomPrompt="1"/>
          </p:nvPr>
        </p:nvSpPr>
        <p:spPr>
          <a:xfrm>
            <a:off x="6228884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60" name="Текст 7"/>
          <p:cNvSpPr>
            <a:spLocks noGrp="1"/>
          </p:cNvSpPr>
          <p:nvPr>
            <p:ph type="body" sz="quarter" idx="92" hasCustomPrompt="1"/>
          </p:nvPr>
        </p:nvSpPr>
        <p:spPr>
          <a:xfrm>
            <a:off x="6228884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1478183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299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1425345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6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401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8992887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7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504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2496186" cy="684889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234370" y="439586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34371" y="1959617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234372" y="3471713"/>
            <a:ext cx="648000" cy="648000"/>
          </a:xfr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>
              <a:defRPr lang="ru-RU" sz="4400" dirty="0"/>
            </a:lvl1pPr>
          </a:lstStyle>
          <a:p>
            <a:pPr lvl="0" algn="ctr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4068741" y="201894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4068741" y="1721925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068741" y="3234021"/>
            <a:ext cx="4716483" cy="112338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19473895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606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67053" y="3444258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67055" y="306142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335071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708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16416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67882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841225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16416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678821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841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555200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11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089583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825155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5560727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7296299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089583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2515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5560727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7296299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108527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072197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5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6768592" cy="1349828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Место (город)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Месяц Год</a:t>
            </a:r>
            <a:endParaRPr lang="ru-RU" dirty="0"/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990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grpSp>
        <p:nvGrpSpPr>
          <p:cNvPr id="3" name="Группа 2"/>
          <p:cNvGrpSpPr>
            <a:grpSpLocks noChangeAspect="1"/>
          </p:cNvGrpSpPr>
          <p:nvPr userDrawn="1"/>
        </p:nvGrpSpPr>
        <p:grpSpPr>
          <a:xfrm>
            <a:off x="5710499" y="3425398"/>
            <a:ext cx="1717200" cy="1718102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 userDrawn="1"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 userDrawn="1"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 userDrawn="1"/>
        </p:nvGrpSpPr>
        <p:grpSpPr>
          <a:xfrm>
            <a:off x="7427701" y="3426300"/>
            <a:ext cx="1716299" cy="17172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Полилиния 59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9" name="Группа 8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0" name="Прямоугольник 8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Прямая соединительная линия 9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2" name="Группа 9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TextBox 10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4326222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13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1766654" y="1528614"/>
            <a:ext cx="1260000" cy="13388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179297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591940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6004583" y="1528614"/>
            <a:ext cx="1260000" cy="13388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7525225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1766654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179297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5919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6004583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752522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0395404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16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9359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233171" y="1527175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0" y="3417713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3293591" y="3417713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6233171" y="3417713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9359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23317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29359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623317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4179037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118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40416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2682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913225" y="1520917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358775" y="3417713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2540416" y="3417713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4041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2682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913226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877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254041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4726821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472682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6913225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691322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8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4812518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220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089583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825155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5549911" y="1520917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7296299" y="1520917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354012" y="3417713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089583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2515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5549911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7296299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2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2089583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2089583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3825155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382515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8</a:t>
            </a:r>
            <a:endParaRPr lang="ru-RU" dirty="0"/>
          </a:p>
        </p:txBody>
      </p:sp>
      <p:sp>
        <p:nvSpPr>
          <p:cNvPr id="45" name="Текст 8"/>
          <p:cNvSpPr>
            <a:spLocks noGrp="1"/>
          </p:cNvSpPr>
          <p:nvPr>
            <p:ph type="body" sz="quarter" idx="72"/>
          </p:nvPr>
        </p:nvSpPr>
        <p:spPr>
          <a:xfrm>
            <a:off x="5549911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55499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9</a:t>
            </a:r>
            <a:endParaRPr lang="ru-RU" dirty="0"/>
          </a:p>
        </p:txBody>
      </p:sp>
      <p:sp>
        <p:nvSpPr>
          <p:cNvPr id="47" name="Текст 8"/>
          <p:cNvSpPr>
            <a:spLocks noGrp="1"/>
          </p:cNvSpPr>
          <p:nvPr>
            <p:ph type="body" sz="quarter" idx="74"/>
          </p:nvPr>
        </p:nvSpPr>
        <p:spPr>
          <a:xfrm>
            <a:off x="7296299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8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7296299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1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4046428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323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1131888"/>
            <a:ext cx="4572000" cy="3419476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4572000" y="1131888"/>
            <a:ext cx="4572000" cy="3419475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4210696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425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72000" cy="455136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6323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16" name="Заголовок 1"/>
          <p:cNvSpPr txBox="1">
            <a:spLocks/>
          </p:cNvSpPr>
          <p:nvPr userDrawn="1"/>
        </p:nvSpPr>
        <p:spPr>
          <a:xfrm>
            <a:off x="4721989" y="339724"/>
            <a:ext cx="406323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/>
              <a:t>Образец заголовка</a:t>
            </a:r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val="398131231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528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1131888"/>
            <a:ext cx="3048000" cy="341947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1131889"/>
            <a:ext cx="3048000" cy="341947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6096000" y="1131888"/>
            <a:ext cx="3048000" cy="3419476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5209175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630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48000" cy="455136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0"/>
            <a:ext cx="3048000" cy="4551363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6096000" y="-1"/>
            <a:ext cx="3048000" cy="4551365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250634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17" name="Заголовок 1"/>
          <p:cNvSpPr txBox="1">
            <a:spLocks/>
          </p:cNvSpPr>
          <p:nvPr userDrawn="1"/>
        </p:nvSpPr>
        <p:spPr>
          <a:xfrm>
            <a:off x="3273618" y="339724"/>
            <a:ext cx="250634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smtClean="0"/>
              <a:t>Образец заголовка</a:t>
            </a:r>
            <a:endParaRPr lang="ru-RU" kern="0" dirty="0"/>
          </a:p>
        </p:txBody>
      </p:sp>
      <p:sp>
        <p:nvSpPr>
          <p:cNvPr id="18" name="Заголовок 1"/>
          <p:cNvSpPr txBox="1">
            <a:spLocks/>
          </p:cNvSpPr>
          <p:nvPr userDrawn="1"/>
        </p:nvSpPr>
        <p:spPr>
          <a:xfrm>
            <a:off x="6193225" y="339724"/>
            <a:ext cx="2592000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>
                <a:solidFill>
                  <a:schemeClr val="bg1"/>
                </a:solidFill>
              </a:rPr>
              <a:t>Образец заголовка</a:t>
            </a:r>
            <a:endParaRPr lang="ru-RU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279262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732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3048000" y="0"/>
            <a:ext cx="6096000" cy="152717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1527173"/>
            <a:ext cx="6096000" cy="1512889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3048000" y="3040063"/>
            <a:ext cx="6096000" cy="1511301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2496186" cy="684889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234370" y="439586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34371" y="1959617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234372" y="3471713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4068741" y="201894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4068741" y="1721925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068741" y="3234021"/>
            <a:ext cx="4716483" cy="1123384"/>
          </a:xfrm>
        </p:spPr>
        <p:txBody>
          <a:bodyPr wrap="square" lIns="0" tIns="0" rIns="0" bIns="0"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0530997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35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1144341"/>
            <a:ext cx="4572000" cy="3396756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58775" y="3417713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3644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8778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364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0067843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57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40931" y="283237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Место (город)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Месяц Год</a:t>
            </a:r>
            <a:endParaRPr lang="ru-RU" dirty="0"/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392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grpSp>
        <p:nvGrpSpPr>
          <p:cNvPr id="3" name="Группа 2"/>
          <p:cNvGrpSpPr>
            <a:grpSpLocks noChangeAspect="1"/>
          </p:cNvGrpSpPr>
          <p:nvPr userDrawn="1"/>
        </p:nvGrpSpPr>
        <p:grpSpPr>
          <a:xfrm>
            <a:off x="5710499" y="3425398"/>
            <a:ext cx="1717200" cy="1718102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 userDrawn="1"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 userDrawn="1"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 userDrawn="1"/>
        </p:nvGrpSpPr>
        <p:grpSpPr>
          <a:xfrm>
            <a:off x="7427701" y="3426300"/>
            <a:ext cx="1716299" cy="17172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Полилиния 59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9" name="Группа 8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0" name="Прямоугольник 8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Прямая соединительная линия 9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2" name="Группа 9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TextBox 10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9429597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37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0"/>
            <a:ext cx="4572000" cy="4541097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18" name="Рисунок 9"/>
          <p:cNvSpPr>
            <a:spLocks noGrp="1"/>
          </p:cNvSpPr>
          <p:nvPr>
            <p:ph type="pic" sz="quarter" idx="60"/>
          </p:nvPr>
        </p:nvSpPr>
        <p:spPr>
          <a:xfrm>
            <a:off x="0" y="0"/>
            <a:ext cx="4572000" cy="4541097"/>
          </a:xfrm>
        </p:spPr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6323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58775" y="3417713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3644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8778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364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19" name="Заголовок 1"/>
          <p:cNvSpPr txBox="1">
            <a:spLocks/>
          </p:cNvSpPr>
          <p:nvPr userDrawn="1"/>
        </p:nvSpPr>
        <p:spPr>
          <a:xfrm>
            <a:off x="4736440" y="339724"/>
            <a:ext cx="406323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/>
              <a:t>Образец заголовка</a:t>
            </a:r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val="352984468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040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0"/>
            <a:ext cx="4572000" cy="4541097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27" name="Рисунок 9"/>
          <p:cNvSpPr>
            <a:spLocks noGrp="1"/>
          </p:cNvSpPr>
          <p:nvPr>
            <p:ph type="pic" sz="quarter" idx="67"/>
          </p:nvPr>
        </p:nvSpPr>
        <p:spPr>
          <a:xfrm>
            <a:off x="0" y="0"/>
            <a:ext cx="4572000" cy="4541097"/>
          </a:xfrm>
        </p:spPr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53642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40416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56394" y="3427146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2542798" y="3420888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4731584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6913225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4041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6394" y="3044312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2542799" y="3043238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4731584" y="114952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6913225" y="114952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4726821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472682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6913225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691322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8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68"/>
          </p:nvPr>
        </p:nvSpPr>
        <p:spPr>
          <a:xfrm>
            <a:off x="4727575" y="339725"/>
            <a:ext cx="4057650" cy="684213"/>
          </a:xfrm>
        </p:spPr>
        <p:txBody>
          <a:bodyPr/>
          <a:lstStyle>
            <a:lvl1pPr>
              <a:defRPr sz="2000">
                <a:latin typeface="+mj-lt"/>
              </a:defRPr>
            </a:lvl1pPr>
            <a:lvl2pPr>
              <a:defRPr sz="1800" b="1">
                <a:solidFill>
                  <a:schemeClr val="tx2"/>
                </a:solidFill>
                <a:latin typeface="+mj-lt"/>
              </a:defRPr>
            </a:lvl2pPr>
            <a:lvl3pPr>
              <a:defRPr sz="1200" b="1">
                <a:solidFill>
                  <a:schemeClr val="tx2"/>
                </a:solidFill>
                <a:latin typeface="+mj-lt"/>
              </a:defRPr>
            </a:lvl3pPr>
            <a:lvl4pPr>
              <a:defRPr sz="1100" b="1">
                <a:solidFill>
                  <a:schemeClr val="tx2"/>
                </a:solidFill>
                <a:latin typeface="+mj-lt"/>
              </a:defRPr>
            </a:lvl4pPr>
            <a:lvl5pPr>
              <a:defRPr sz="1050" b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3086523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42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FB58CCCB-FC9E-47FF-AE1A-2B8103C4EC8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0987" y="120560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Рисунок 14">
            <a:extLst>
              <a:ext uri="{FF2B5EF4-FFF2-40B4-BE49-F238E27FC236}">
                <a16:creationId xmlns:a16="http://schemas.microsoft.com/office/drawing/2014/main" id="{AF7E94E8-5A2E-4B85-8346-35E006E4E6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0987" y="16878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7" name="Рисунок 14">
            <a:extLst>
              <a:ext uri="{FF2B5EF4-FFF2-40B4-BE49-F238E27FC236}">
                <a16:creationId xmlns:a16="http://schemas.microsoft.com/office/drawing/2014/main" id="{CAD2D448-B9A8-498E-BEC3-88F1259C47E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0987" y="217003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9" name="Рисунок 14">
            <a:extLst>
              <a:ext uri="{FF2B5EF4-FFF2-40B4-BE49-F238E27FC236}">
                <a16:creationId xmlns:a16="http://schemas.microsoft.com/office/drawing/2014/main" id="{DD146D87-19E3-4A72-9020-4C781871DC9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0987" y="265224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1" name="Рисунок 14">
            <a:extLst>
              <a:ext uri="{FF2B5EF4-FFF2-40B4-BE49-F238E27FC236}">
                <a16:creationId xmlns:a16="http://schemas.microsoft.com/office/drawing/2014/main" id="{F8E680ED-3238-4F87-B236-95D34EE91BFD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0987" y="313445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3" name="Рисунок 14">
            <a:extLst>
              <a:ext uri="{FF2B5EF4-FFF2-40B4-BE49-F238E27FC236}">
                <a16:creationId xmlns:a16="http://schemas.microsoft.com/office/drawing/2014/main" id="{80370F26-8302-4977-AEFC-CB03B7EF8574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0987" y="361666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5" name="Рисунок 14">
            <a:extLst>
              <a:ext uri="{FF2B5EF4-FFF2-40B4-BE49-F238E27FC236}">
                <a16:creationId xmlns:a16="http://schemas.microsoft.com/office/drawing/2014/main" id="{9820ABA4-917D-44CA-8A15-933CDF460744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0987" y="40988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7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7854535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244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6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8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9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6049948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347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783622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449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8719093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552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4027137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2477911" y="1527175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2477911" y="3420994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47791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24779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2516962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654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4060208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1774497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194982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8"/>
          </p:nvPr>
        </p:nvSpPr>
        <p:spPr>
          <a:xfrm>
            <a:off x="1774497" y="3420994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50"/>
          </p:nvPr>
        </p:nvSpPr>
        <p:spPr>
          <a:xfrm>
            <a:off x="3194982" y="3417713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1774497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19498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1774497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194982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4183421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756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727418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9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230320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316735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00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40931" y="299295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0390631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61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462963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064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3116105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166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4493300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268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01441855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371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016160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473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209223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576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97298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н + преамбула + 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678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1" y="0"/>
            <a:ext cx="3047999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8500" y="339724"/>
            <a:ext cx="5546725" cy="684214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8" name="Рисунок 14">
            <a:extLst>
              <a:ext uri="{FF2B5EF4-FFF2-40B4-BE49-F238E27FC236}">
                <a16:creationId xmlns:a16="http://schemas.microsoft.com/office/drawing/2014/main" id="{4B7DA86D-EE14-4915-A8B5-722C9CBBE67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38500" y="1185888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0" name="Рисунок 14">
            <a:extLst>
              <a:ext uri="{FF2B5EF4-FFF2-40B4-BE49-F238E27FC236}">
                <a16:creationId xmlns:a16="http://schemas.microsoft.com/office/drawing/2014/main" id="{8880097B-8F31-4EE5-BC21-B835E5694478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38500" y="167611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2" name="Рисунок 14">
            <a:extLst>
              <a:ext uri="{FF2B5EF4-FFF2-40B4-BE49-F238E27FC236}">
                <a16:creationId xmlns:a16="http://schemas.microsoft.com/office/drawing/2014/main" id="{E16E0BFD-89AD-4030-B243-57B7C43695D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38500" y="216634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4" name="Рисунок 14">
            <a:extLst>
              <a:ext uri="{FF2B5EF4-FFF2-40B4-BE49-F238E27FC236}">
                <a16:creationId xmlns:a16="http://schemas.microsoft.com/office/drawing/2014/main" id="{A4DAF9EC-0161-47E9-86C7-7216F4250C5B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38500" y="265657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6" name="Рисунок 14">
            <a:extLst>
              <a:ext uri="{FF2B5EF4-FFF2-40B4-BE49-F238E27FC236}">
                <a16:creationId xmlns:a16="http://schemas.microsoft.com/office/drawing/2014/main" id="{E2CA454F-F786-4F65-B99A-43B767CC4BF3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38500" y="314680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8" name="Рисунок 14">
            <a:extLst>
              <a:ext uri="{FF2B5EF4-FFF2-40B4-BE49-F238E27FC236}">
                <a16:creationId xmlns:a16="http://schemas.microsoft.com/office/drawing/2014/main" id="{D166CBFF-D38C-4D25-8578-052855591538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38500" y="363703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0" name="Рисунок 14">
            <a:extLst>
              <a:ext uri="{FF2B5EF4-FFF2-40B4-BE49-F238E27FC236}">
                <a16:creationId xmlns:a16="http://schemas.microsoft.com/office/drawing/2014/main" id="{1C5D21D0-A654-4F33-BE00-4AAAD3146301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38500" y="4127262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4"/>
          </p:nvPr>
        </p:nvSpPr>
        <p:spPr>
          <a:xfrm>
            <a:off x="3717925" y="1131888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6"/>
          <p:cNvSpPr>
            <a:spLocks noGrp="1"/>
          </p:cNvSpPr>
          <p:nvPr>
            <p:ph type="body" sz="quarter" idx="45"/>
          </p:nvPr>
        </p:nvSpPr>
        <p:spPr>
          <a:xfrm>
            <a:off x="3717925" y="1622117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6"/>
          <p:cNvSpPr>
            <a:spLocks noGrp="1"/>
          </p:cNvSpPr>
          <p:nvPr>
            <p:ph type="body" sz="quarter" idx="46"/>
          </p:nvPr>
        </p:nvSpPr>
        <p:spPr>
          <a:xfrm>
            <a:off x="3717925" y="2112346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6"/>
          <p:cNvSpPr>
            <a:spLocks noGrp="1"/>
          </p:cNvSpPr>
          <p:nvPr>
            <p:ph type="body" sz="quarter" idx="47"/>
          </p:nvPr>
        </p:nvSpPr>
        <p:spPr>
          <a:xfrm>
            <a:off x="3717925" y="2602575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6"/>
          <p:cNvSpPr>
            <a:spLocks noGrp="1"/>
          </p:cNvSpPr>
          <p:nvPr>
            <p:ph type="body" sz="quarter" idx="48"/>
          </p:nvPr>
        </p:nvSpPr>
        <p:spPr>
          <a:xfrm>
            <a:off x="3717925" y="3092804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6"/>
          <p:cNvSpPr>
            <a:spLocks noGrp="1"/>
          </p:cNvSpPr>
          <p:nvPr>
            <p:ph type="body" sz="quarter" idx="49"/>
          </p:nvPr>
        </p:nvSpPr>
        <p:spPr>
          <a:xfrm>
            <a:off x="3717925" y="3583033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6"/>
          <p:cNvSpPr>
            <a:spLocks noGrp="1"/>
          </p:cNvSpPr>
          <p:nvPr>
            <p:ph type="body" sz="quarter" idx="50"/>
          </p:nvPr>
        </p:nvSpPr>
        <p:spPr>
          <a:xfrm>
            <a:off x="3717925" y="4073262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51"/>
          </p:nvPr>
        </p:nvSpPr>
        <p:spPr>
          <a:xfrm>
            <a:off x="358775" y="339725"/>
            <a:ext cx="2513965" cy="4211638"/>
          </a:xfrm>
        </p:spPr>
        <p:txBody>
          <a:bodyPr vert="horz" lIns="0" tIns="0" rIns="0" bIns="0" rtlCol="0">
            <a:no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8779088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780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84220" y="339724"/>
            <a:ext cx="5501005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1" y="0"/>
            <a:ext cx="3047999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0F330F95-7EBC-4271-9C49-F0553ABB45B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84220" y="121461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17C8AFFB-91D7-48BE-BA4C-A402F77F8535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84220" y="169558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9417A9CF-5B7D-40E0-890E-E0C892B0DBA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84220" y="217654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5C52364B-C15A-4133-B102-541B5C18DD4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84220" y="265751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85866053-C0C3-4840-A70B-ADE6462FD4E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84220" y="31384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BB1F9AA0-0565-4D7A-ADAF-E349DF55D060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84220" y="361944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7C98835F-EA09-4ED1-B396-8DC0E5340E8F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84220" y="410041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3"/>
          </p:nvPr>
        </p:nvSpPr>
        <p:spPr>
          <a:xfrm>
            <a:off x="3843338" y="1131888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4"/>
          </p:nvPr>
        </p:nvSpPr>
        <p:spPr>
          <a:xfrm>
            <a:off x="3843338" y="1612107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5"/>
          </p:nvPr>
        </p:nvSpPr>
        <p:spPr>
          <a:xfrm>
            <a:off x="3843338" y="2092326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6"/>
          </p:nvPr>
        </p:nvSpPr>
        <p:spPr>
          <a:xfrm>
            <a:off x="3843338" y="2572545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7"/>
          </p:nvPr>
        </p:nvSpPr>
        <p:spPr>
          <a:xfrm>
            <a:off x="3843338" y="3052764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8"/>
          </p:nvPr>
        </p:nvSpPr>
        <p:spPr>
          <a:xfrm>
            <a:off x="3843338" y="3532983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49"/>
          </p:nvPr>
        </p:nvSpPr>
        <p:spPr>
          <a:xfrm>
            <a:off x="3843338" y="4017679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97305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фото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83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408" y="339724"/>
            <a:ext cx="5546092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58775" y="1131888"/>
            <a:ext cx="5546970" cy="3419475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3842775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60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26800" y="3425398"/>
            <a:ext cx="1717200" cy="171810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3237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5398"/>
            <a:ext cx="7430397" cy="171810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8" name="Прямоугольник 57"/>
          <p:cNvSpPr>
            <a:spLocks noChangeAspect="1"/>
          </p:cNvSpPr>
          <p:nvPr userDrawn="1"/>
        </p:nvSpPr>
        <p:spPr bwMode="auto">
          <a:xfrm>
            <a:off x="7426800" y="1712699"/>
            <a:ext cx="1717200" cy="1718102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60" name="Группа 59"/>
          <p:cNvGrpSpPr>
            <a:grpSpLocks noChangeAspect="1"/>
          </p:cNvGrpSpPr>
          <p:nvPr userDrawn="1"/>
        </p:nvGrpSpPr>
        <p:grpSpPr>
          <a:xfrm>
            <a:off x="7427701" y="0"/>
            <a:ext cx="1716299" cy="1717200"/>
            <a:chOff x="6573600" y="0"/>
            <a:chExt cx="2570400" cy="2571750"/>
          </a:xfrm>
        </p:grpSpPr>
        <p:sp>
          <p:nvSpPr>
            <p:cNvPr id="61" name="Прямоугольник 60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Полилиния 61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9" name="Группа 8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0" name="Прямоугольник 8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Прямая соединительная линия 9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2" name="Группа 9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TextBox 10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973192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фото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85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408" y="339724"/>
            <a:ext cx="3999867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9620" y="0"/>
            <a:ext cx="456438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58775" y="1131888"/>
            <a:ext cx="4000500" cy="3419475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1054734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текст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088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89300" y="339724"/>
            <a:ext cx="5495925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288430" y="1131888"/>
            <a:ext cx="5496795" cy="34194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578019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текст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190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85358" y="339724"/>
            <a:ext cx="3999867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6438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4784725" y="1131888"/>
            <a:ext cx="4000500" cy="34194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9055562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12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0986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6243104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28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олилиния 28"/>
          <p:cNvSpPr>
            <a:spLocks noChangeAspect="1"/>
          </p:cNvSpPr>
          <p:nvPr userDrawn="1"/>
        </p:nvSpPr>
        <p:spPr bwMode="auto">
          <a:xfrm>
            <a:off x="3999600" y="0"/>
            <a:ext cx="5144400" cy="51444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4289"/>
            <a:ext cx="8462137" cy="2068893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0614538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1937816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15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6255"/>
            <a:ext cx="6768592" cy="144448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24886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38475"/>
            <a:ext cx="859271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51600" y="3429900"/>
            <a:ext cx="3992400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717198" y="3429900"/>
            <a:ext cx="1717201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-1" y="3429900"/>
            <a:ext cx="1717200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3434398" y="3429900"/>
            <a:ext cx="1717202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TextBox 55"/>
          <p:cNvSpPr txBox="1"/>
          <p:nvPr userDrawn="1"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57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0729833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53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8506"/>
            <a:ext cx="6768592" cy="144448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24886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38475"/>
            <a:ext cx="859271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51600" y="3429900"/>
            <a:ext cx="39924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6" name="TextBox 55"/>
          <p:cNvSpPr txBox="1"/>
          <p:nvPr userDrawn="1"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grpSp>
        <p:nvGrpSpPr>
          <p:cNvPr id="11" name="Группа 10"/>
          <p:cNvGrpSpPr>
            <a:grpSpLocks noChangeAspect="1"/>
          </p:cNvGrpSpPr>
          <p:nvPr userDrawn="1"/>
        </p:nvGrpSpPr>
        <p:grpSpPr>
          <a:xfrm>
            <a:off x="3434400" y="3425398"/>
            <a:ext cx="1717200" cy="1718102"/>
            <a:chOff x="3425397" y="3425398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 userDrawn="1"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" name="Кольцо 7"/>
            <p:cNvSpPr/>
            <p:nvPr userDrawn="1"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Кольцо 58"/>
            <p:cNvSpPr/>
            <p:nvPr userDrawn="1"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" name="Овал 8"/>
            <p:cNvSpPr/>
            <p:nvPr userDrawn="1"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2" name="Группа 1"/>
          <p:cNvGrpSpPr/>
          <p:nvPr userDrawn="1"/>
        </p:nvGrpSpPr>
        <p:grpSpPr>
          <a:xfrm>
            <a:off x="1717200" y="3425398"/>
            <a:ext cx="1717200" cy="1718102"/>
            <a:chOff x="7431300" y="1712699"/>
            <a:chExt cx="1717200" cy="1718102"/>
          </a:xfrm>
        </p:grpSpPr>
        <p:sp>
          <p:nvSpPr>
            <p:cNvPr id="60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2" name="Группа 61"/>
          <p:cNvGrpSpPr/>
          <p:nvPr userDrawn="1"/>
        </p:nvGrpSpPr>
        <p:grpSpPr>
          <a:xfrm>
            <a:off x="0" y="3425398"/>
            <a:ext cx="1717200" cy="1718102"/>
            <a:chOff x="7431300" y="1712699"/>
            <a:chExt cx="1717200" cy="1718102"/>
          </a:xfrm>
        </p:grpSpPr>
        <p:sp>
          <p:nvSpPr>
            <p:cNvPr id="63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4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7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92" name="Группа 91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3" name="Прямоугольник 92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4" name="Прямая соединительная линия 93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5" name="Группа 94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TextBox 110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2" name="TextBox 111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4" name="Прямоугольник 113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5" name="Прямоугольник 114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6" name="Прямоугольник 115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0235918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831067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7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1954275"/>
            <a:ext cx="8462137" cy="1163488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863100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87505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40796" y="0"/>
            <a:ext cx="4003203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713599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3427197" y="0"/>
            <a:ext cx="1713601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pic>
        <p:nvPicPr>
          <p:cNvPr id="57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287520"/>
            <a:ext cx="1104679" cy="208800"/>
          </a:xfrm>
          <a:prstGeom prst="rect">
            <a:avLst/>
          </a:prstGeom>
        </p:spPr>
      </p:pic>
      <p:sp>
        <p:nvSpPr>
          <p:cNvPr id="58" name="TextBox 57"/>
          <p:cNvSpPr txBox="1"/>
          <p:nvPr userDrawn="1"/>
        </p:nvSpPr>
        <p:spPr>
          <a:xfrm>
            <a:off x="7543929" y="458052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3260267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6" name="Группа 85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7" name="Прямоугольник 8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8" name="Прямая соединительная линия 8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Группа 88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1648202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62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1949554"/>
            <a:ext cx="8462137" cy="122651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863100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87505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40796" y="0"/>
            <a:ext cx="4003203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pic>
        <p:nvPicPr>
          <p:cNvPr id="57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287520"/>
            <a:ext cx="1104679" cy="208800"/>
          </a:xfrm>
          <a:prstGeom prst="rect">
            <a:avLst/>
          </a:prstGeom>
        </p:spPr>
      </p:pic>
      <p:sp>
        <p:nvSpPr>
          <p:cNvPr id="58" name="TextBox 57"/>
          <p:cNvSpPr txBox="1"/>
          <p:nvPr userDrawn="1"/>
        </p:nvSpPr>
        <p:spPr>
          <a:xfrm>
            <a:off x="7543929" y="458052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grpSp>
        <p:nvGrpSpPr>
          <p:cNvPr id="56" name="Группа 55"/>
          <p:cNvGrpSpPr>
            <a:grpSpLocks noChangeAspect="1"/>
          </p:cNvGrpSpPr>
          <p:nvPr userDrawn="1"/>
        </p:nvGrpSpPr>
        <p:grpSpPr>
          <a:xfrm>
            <a:off x="3423594" y="0"/>
            <a:ext cx="1717200" cy="1718102"/>
            <a:chOff x="3425397" y="3425398"/>
            <a:chExt cx="1717200" cy="1718102"/>
          </a:xfrm>
        </p:grpSpPr>
        <p:sp>
          <p:nvSpPr>
            <p:cNvPr id="59" name="Прямоугольник 58"/>
            <p:cNvSpPr>
              <a:spLocks noChangeAspect="1"/>
            </p:cNvSpPr>
            <p:nvPr userDrawn="1"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Кольцо 59"/>
            <p:cNvSpPr/>
            <p:nvPr userDrawn="1"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Кольцо 60"/>
            <p:cNvSpPr/>
            <p:nvPr userDrawn="1"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Овал 61"/>
            <p:cNvSpPr/>
            <p:nvPr userDrawn="1"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3" name="Группа 62"/>
          <p:cNvGrpSpPr/>
          <p:nvPr userDrawn="1"/>
        </p:nvGrpSpPr>
        <p:grpSpPr>
          <a:xfrm>
            <a:off x="1717200" y="0"/>
            <a:ext cx="1717200" cy="1718102"/>
            <a:chOff x="7431300" y="1712699"/>
            <a:chExt cx="1717200" cy="1718102"/>
          </a:xfrm>
        </p:grpSpPr>
        <p:sp>
          <p:nvSpPr>
            <p:cNvPr id="64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5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6" name="Группа 65"/>
          <p:cNvGrpSpPr/>
          <p:nvPr userDrawn="1"/>
        </p:nvGrpSpPr>
        <p:grpSpPr>
          <a:xfrm>
            <a:off x="0" y="0"/>
            <a:ext cx="1717200" cy="1718102"/>
            <a:chOff x="7431300" y="1712699"/>
            <a:chExt cx="1717200" cy="1718102"/>
          </a:xfrm>
        </p:grpSpPr>
        <p:sp>
          <p:nvSpPr>
            <p:cNvPr id="67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8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260267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97" name="Группа 9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8" name="Прямоугольник 9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9" name="Прямая соединительная линия 9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100" name="Группа 9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101" name="Прямоугольник 10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4" name="Прямоугольник 11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5" name="Прямоугольник 11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6" name="TextBox 11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7" name="TextBox 11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8" name="Прямоугольник 11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9" name="Прямоугольник 11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0" name="Прямоугольник 11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1" name="Прямоугольник 12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3191841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376976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19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9295"/>
            <a:ext cx="577291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202935"/>
            <a:ext cx="995680" cy="345810"/>
          </a:xfrm>
          <a:prstGeom prst="rect">
            <a:avLst/>
          </a:prstGeom>
          <a:effectLst/>
        </p:spPr>
        <p:txBody>
          <a:bodyPr/>
          <a:lstStyle>
            <a:lvl1pPr algn="r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Город</a:t>
            </a:r>
          </a:p>
          <a:p>
            <a:pPr lvl="0"/>
            <a:r>
              <a:rPr lang="ru-RU" dirty="0" smtClean="0"/>
              <a:t>Год</a:t>
            </a:r>
            <a:endParaRPr lang="ru-RU" dirty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75" y="431274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265559" y="460574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112" name="Группа 111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113" name="Прямоугольник 112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14" name="Прямая соединительная линия 113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115" name="Группа 114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116" name="Прямоугольник 115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7" name="Прямоугольник 116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118" name="Прямоугольник 117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119" name="Прямоугольник 118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120" name="Прямоугольник 119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121" name="Прямоугольник 120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122" name="Прямоугольник 121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3" name="Прямоугольник 122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4" name="Прямоугольник 123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25" name="Прямоугольник 124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6" name="Прямоугольник 125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7" name="Прямоугольник 126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28" name="Прямоугольник 127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9" name="Прямоугольник 128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0" name="Прямоугольник 129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1" name="TextBox 130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2" name="TextBox 131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3" name="Прямоугольник 132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4" name="Прямоугольник 133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5" name="Прямоугольник 134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6" name="Прямоугольник 135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830812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64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314169"/>
            <a:ext cx="577291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202935"/>
            <a:ext cx="995680" cy="345810"/>
          </a:xfrm>
          <a:prstGeom prst="rect">
            <a:avLst/>
          </a:prstGeom>
          <a:effectLst/>
        </p:spPr>
        <p:txBody>
          <a:bodyPr/>
          <a:lstStyle>
            <a:lvl1pPr algn="r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Город</a:t>
            </a:r>
          </a:p>
          <a:p>
            <a:pPr lvl="0"/>
            <a:r>
              <a:rPr lang="ru-RU" dirty="0" smtClean="0"/>
              <a:t>Год</a:t>
            </a:r>
            <a:endParaRPr lang="ru-RU" dirty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75" y="431274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265559" y="460574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grpSp>
        <p:nvGrpSpPr>
          <p:cNvPr id="56" name="Группа 55"/>
          <p:cNvGrpSpPr>
            <a:grpSpLocks noChangeAspect="1"/>
          </p:cNvGrpSpPr>
          <p:nvPr userDrawn="1"/>
        </p:nvGrpSpPr>
        <p:grpSpPr>
          <a:xfrm>
            <a:off x="7431300" y="1712699"/>
            <a:ext cx="1717200" cy="1718102"/>
            <a:chOff x="7431300" y="1712699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0" name="Полилиния 59"/>
          <p:cNvSpPr>
            <a:spLocks noChangeAspect="1"/>
          </p:cNvSpPr>
          <p:nvPr userDrawn="1"/>
        </p:nvSpPr>
        <p:spPr bwMode="auto">
          <a:xfrm>
            <a:off x="7431304" y="0"/>
            <a:ext cx="1712696" cy="1713600"/>
          </a:xfrm>
          <a:custGeom>
            <a:avLst/>
            <a:gdLst>
              <a:gd name="connsiteX0" fmla="*/ 1712696 w 1712696"/>
              <a:gd name="connsiteY0" fmla="*/ 1664380 h 1713600"/>
              <a:gd name="connsiteX1" fmla="*/ 1712696 w 1712696"/>
              <a:gd name="connsiteY1" fmla="*/ 1713600 h 1713600"/>
              <a:gd name="connsiteX2" fmla="*/ 1666083 w 1712696"/>
              <a:gd name="connsiteY2" fmla="*/ 1713600 h 1713600"/>
              <a:gd name="connsiteX3" fmla="*/ 1712696 w 1712696"/>
              <a:gd name="connsiteY3" fmla="*/ 1277272 h 1713600"/>
              <a:gd name="connsiteX4" fmla="*/ 1712696 w 1712696"/>
              <a:gd name="connsiteY4" fmla="*/ 1476393 h 1713600"/>
              <a:gd name="connsiteX5" fmla="*/ 1488054 w 1712696"/>
              <a:gd name="connsiteY5" fmla="*/ 1713600 h 1713600"/>
              <a:gd name="connsiteX6" fmla="*/ 1299480 w 1712696"/>
              <a:gd name="connsiteY6" fmla="*/ 1713600 h 1713600"/>
              <a:gd name="connsiteX7" fmla="*/ 1712696 w 1712696"/>
              <a:gd name="connsiteY7" fmla="*/ 890163 h 1713600"/>
              <a:gd name="connsiteX8" fmla="*/ 1712696 w 1712696"/>
              <a:gd name="connsiteY8" fmla="*/ 1089285 h 1713600"/>
              <a:gd name="connsiteX9" fmla="*/ 1121451 w 1712696"/>
              <a:gd name="connsiteY9" fmla="*/ 1713600 h 1713600"/>
              <a:gd name="connsiteX10" fmla="*/ 932877 w 1712696"/>
              <a:gd name="connsiteY10" fmla="*/ 1713600 h 1713600"/>
              <a:gd name="connsiteX11" fmla="*/ 1712696 w 1712696"/>
              <a:gd name="connsiteY11" fmla="*/ 503055 h 1713600"/>
              <a:gd name="connsiteX12" fmla="*/ 1712696 w 1712696"/>
              <a:gd name="connsiteY12" fmla="*/ 702177 h 1713600"/>
              <a:gd name="connsiteX13" fmla="*/ 754848 w 1712696"/>
              <a:gd name="connsiteY13" fmla="*/ 1713600 h 1713600"/>
              <a:gd name="connsiteX14" fmla="*/ 566274 w 1712696"/>
              <a:gd name="connsiteY14" fmla="*/ 1713600 h 1713600"/>
              <a:gd name="connsiteX15" fmla="*/ 1712696 w 1712696"/>
              <a:gd name="connsiteY15" fmla="*/ 115947 h 1713600"/>
              <a:gd name="connsiteX16" fmla="*/ 1712696 w 1712696"/>
              <a:gd name="connsiteY16" fmla="*/ 315069 h 1713600"/>
              <a:gd name="connsiteX17" fmla="*/ 388245 w 1712696"/>
              <a:gd name="connsiteY17" fmla="*/ 1713600 h 1713600"/>
              <a:gd name="connsiteX18" fmla="*/ 199671 w 1712696"/>
              <a:gd name="connsiteY18" fmla="*/ 1713600 h 1713600"/>
              <a:gd name="connsiteX19" fmla="*/ 0 w 1712696"/>
              <a:gd name="connsiteY19" fmla="*/ 0 h 1713600"/>
              <a:gd name="connsiteX20" fmla="*/ 1712696 w 1712696"/>
              <a:gd name="connsiteY20" fmla="*/ 0 h 1713600"/>
              <a:gd name="connsiteX21" fmla="*/ 1712696 w 1712696"/>
              <a:gd name="connsiteY21" fmla="*/ 1801 h 1713600"/>
              <a:gd name="connsiteX22" fmla="*/ 1642767 w 1712696"/>
              <a:gd name="connsiteY22" fmla="*/ 1801 h 1713600"/>
              <a:gd name="connsiteX23" fmla="*/ 21642 w 1712696"/>
              <a:gd name="connsiteY23" fmla="*/ 1713600 h 1713600"/>
              <a:gd name="connsiteX24" fmla="*/ 0 w 1712696"/>
              <a:gd name="connsiteY24" fmla="*/ 1713600 h 1713600"/>
              <a:gd name="connsiteX25" fmla="*/ 0 w 1712696"/>
              <a:gd name="connsiteY25" fmla="*/ 1537331 h 1713600"/>
              <a:gd name="connsiteX26" fmla="*/ 1454193 w 1712696"/>
              <a:gd name="connsiteY26" fmla="*/ 1801 h 1713600"/>
              <a:gd name="connsiteX27" fmla="*/ 1276164 w 1712696"/>
              <a:gd name="connsiteY27" fmla="*/ 1801 h 1713600"/>
              <a:gd name="connsiteX28" fmla="*/ 0 w 1712696"/>
              <a:gd name="connsiteY28" fmla="*/ 1349344 h 1713600"/>
              <a:gd name="connsiteX29" fmla="*/ 0 w 1712696"/>
              <a:gd name="connsiteY29" fmla="*/ 1150223 h 1713600"/>
              <a:gd name="connsiteX30" fmla="*/ 1087590 w 1712696"/>
              <a:gd name="connsiteY30" fmla="*/ 1801 h 1713600"/>
              <a:gd name="connsiteX31" fmla="*/ 909561 w 1712696"/>
              <a:gd name="connsiteY31" fmla="*/ 1801 h 1713600"/>
              <a:gd name="connsiteX32" fmla="*/ 0 w 1712696"/>
              <a:gd name="connsiteY32" fmla="*/ 962236 h 1713600"/>
              <a:gd name="connsiteX33" fmla="*/ 0 w 1712696"/>
              <a:gd name="connsiteY33" fmla="*/ 763115 h 1713600"/>
              <a:gd name="connsiteX34" fmla="*/ 720987 w 1712696"/>
              <a:gd name="connsiteY34" fmla="*/ 1801 h 1713600"/>
              <a:gd name="connsiteX35" fmla="*/ 542958 w 1712696"/>
              <a:gd name="connsiteY35" fmla="*/ 1801 h 1713600"/>
              <a:gd name="connsiteX36" fmla="*/ 0 w 1712696"/>
              <a:gd name="connsiteY36" fmla="*/ 575128 h 1713600"/>
              <a:gd name="connsiteX37" fmla="*/ 0 w 1712696"/>
              <a:gd name="connsiteY37" fmla="*/ 376007 h 1713600"/>
              <a:gd name="connsiteX38" fmla="*/ 354384 w 1712696"/>
              <a:gd name="connsiteY38" fmla="*/ 1801 h 1713600"/>
              <a:gd name="connsiteX39" fmla="*/ 176355 w 1712696"/>
              <a:gd name="connsiteY39" fmla="*/ 1801 h 1713600"/>
              <a:gd name="connsiteX40" fmla="*/ 0 w 1712696"/>
              <a:gd name="connsiteY40" fmla="*/ 188020 h 171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1712696" h="1713600">
                <a:moveTo>
                  <a:pt x="1712696" y="1664380"/>
                </a:moveTo>
                <a:lnTo>
                  <a:pt x="1712696" y="1713600"/>
                </a:lnTo>
                <a:lnTo>
                  <a:pt x="1666083" y="1713600"/>
                </a:lnTo>
                <a:close/>
                <a:moveTo>
                  <a:pt x="1712696" y="1277272"/>
                </a:moveTo>
                <a:lnTo>
                  <a:pt x="1712696" y="1476393"/>
                </a:lnTo>
                <a:lnTo>
                  <a:pt x="1488054" y="1713600"/>
                </a:lnTo>
                <a:lnTo>
                  <a:pt x="1299480" y="1713600"/>
                </a:lnTo>
                <a:close/>
                <a:moveTo>
                  <a:pt x="1712696" y="890163"/>
                </a:moveTo>
                <a:lnTo>
                  <a:pt x="1712696" y="1089285"/>
                </a:lnTo>
                <a:lnTo>
                  <a:pt x="1121451" y="1713600"/>
                </a:lnTo>
                <a:lnTo>
                  <a:pt x="932877" y="1713600"/>
                </a:lnTo>
                <a:close/>
                <a:moveTo>
                  <a:pt x="1712696" y="503055"/>
                </a:moveTo>
                <a:lnTo>
                  <a:pt x="1712696" y="702177"/>
                </a:lnTo>
                <a:lnTo>
                  <a:pt x="754848" y="1713600"/>
                </a:lnTo>
                <a:lnTo>
                  <a:pt x="566274" y="1713600"/>
                </a:lnTo>
                <a:close/>
                <a:moveTo>
                  <a:pt x="1712696" y="115947"/>
                </a:moveTo>
                <a:lnTo>
                  <a:pt x="1712696" y="315069"/>
                </a:lnTo>
                <a:lnTo>
                  <a:pt x="388245" y="1713600"/>
                </a:lnTo>
                <a:lnTo>
                  <a:pt x="199671" y="1713600"/>
                </a:lnTo>
                <a:close/>
                <a:moveTo>
                  <a:pt x="0" y="0"/>
                </a:moveTo>
                <a:lnTo>
                  <a:pt x="1712696" y="0"/>
                </a:lnTo>
                <a:lnTo>
                  <a:pt x="1712696" y="1801"/>
                </a:lnTo>
                <a:lnTo>
                  <a:pt x="1642767" y="1801"/>
                </a:lnTo>
                <a:lnTo>
                  <a:pt x="21642" y="1713600"/>
                </a:lnTo>
                <a:lnTo>
                  <a:pt x="0" y="1713600"/>
                </a:lnTo>
                <a:lnTo>
                  <a:pt x="0" y="1537331"/>
                </a:lnTo>
                <a:lnTo>
                  <a:pt x="1454193" y="1801"/>
                </a:lnTo>
                <a:lnTo>
                  <a:pt x="1276164" y="1801"/>
                </a:lnTo>
                <a:lnTo>
                  <a:pt x="0" y="1349344"/>
                </a:lnTo>
                <a:lnTo>
                  <a:pt x="0" y="1150223"/>
                </a:lnTo>
                <a:lnTo>
                  <a:pt x="1087590" y="1801"/>
                </a:lnTo>
                <a:lnTo>
                  <a:pt x="909561" y="1801"/>
                </a:lnTo>
                <a:lnTo>
                  <a:pt x="0" y="962236"/>
                </a:lnTo>
                <a:lnTo>
                  <a:pt x="0" y="763115"/>
                </a:lnTo>
                <a:lnTo>
                  <a:pt x="720987" y="1801"/>
                </a:lnTo>
                <a:lnTo>
                  <a:pt x="542958" y="1801"/>
                </a:lnTo>
                <a:lnTo>
                  <a:pt x="0" y="575128"/>
                </a:lnTo>
                <a:lnTo>
                  <a:pt x="0" y="376007"/>
                </a:lnTo>
                <a:lnTo>
                  <a:pt x="354384" y="1801"/>
                </a:lnTo>
                <a:lnTo>
                  <a:pt x="176355" y="1801"/>
                </a:lnTo>
                <a:lnTo>
                  <a:pt x="0" y="188020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9" name="Группа 8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0" name="Прямоугольник 8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Прямая соединительная линия 9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2" name="Группа 9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TextBox 10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3773785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242639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24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9295"/>
            <a:ext cx="577291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202935"/>
            <a:ext cx="995680" cy="345810"/>
          </a:xfrm>
          <a:prstGeom prst="rect">
            <a:avLst/>
          </a:prstGeom>
          <a:effectLst/>
        </p:spPr>
        <p:txBody>
          <a:bodyPr/>
          <a:lstStyle>
            <a:lvl1pPr algn="r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Город</a:t>
            </a:r>
          </a:p>
          <a:p>
            <a:pPr lvl="0"/>
            <a:r>
              <a:rPr lang="ru-RU" dirty="0" smtClean="0"/>
              <a:t>Год</a:t>
            </a:r>
            <a:endParaRPr lang="ru-RU" dirty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4" name="Рисунок 3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430400" y="342990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75" y="431274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265559" y="460574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0977172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314976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67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1270"/>
            <a:ext cx="5772912" cy="1473510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202935"/>
            <a:ext cx="995680" cy="345810"/>
          </a:xfrm>
          <a:prstGeom prst="rect">
            <a:avLst/>
          </a:prstGeom>
          <a:effectLst/>
        </p:spPr>
        <p:txBody>
          <a:bodyPr/>
          <a:lstStyle>
            <a:lvl1pPr algn="r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Город</a:t>
            </a:r>
          </a:p>
          <a:p>
            <a:pPr lvl="0"/>
            <a:r>
              <a:rPr lang="ru-RU" dirty="0" smtClean="0"/>
              <a:t>Год</a:t>
            </a:r>
            <a:endParaRPr lang="ru-RU" dirty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392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75" y="431274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265559" y="460574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grpSp>
        <p:nvGrpSpPr>
          <p:cNvPr id="56" name="Группа 55"/>
          <p:cNvGrpSpPr>
            <a:grpSpLocks noChangeAspect="1"/>
          </p:cNvGrpSpPr>
          <p:nvPr userDrawn="1"/>
        </p:nvGrpSpPr>
        <p:grpSpPr>
          <a:xfrm>
            <a:off x="7427701" y="0"/>
            <a:ext cx="1716299" cy="1717200"/>
            <a:chOff x="6573600" y="0"/>
            <a:chExt cx="2570400" cy="2571750"/>
          </a:xfrm>
        </p:grpSpPr>
        <p:sp>
          <p:nvSpPr>
            <p:cNvPr id="57" name="Прямоугольник 56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 userDrawn="1"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9" name="Группа 58"/>
          <p:cNvGrpSpPr>
            <a:grpSpLocks noChangeAspect="1"/>
          </p:cNvGrpSpPr>
          <p:nvPr userDrawn="1"/>
        </p:nvGrpSpPr>
        <p:grpSpPr>
          <a:xfrm>
            <a:off x="7426800" y="3425398"/>
            <a:ext cx="1721700" cy="1718102"/>
            <a:chOff x="7426800" y="1712699"/>
            <a:chExt cx="1721700" cy="1718102"/>
          </a:xfrm>
        </p:grpSpPr>
        <p:sp>
          <p:nvSpPr>
            <p:cNvPr id="60" name="Прямоугольник 57"/>
            <p:cNvSpPr>
              <a:spLocks noChangeAspect="1"/>
            </p:cNvSpPr>
            <p:nvPr userDrawn="1"/>
          </p:nvSpPr>
          <p:spPr bwMode="auto">
            <a:xfrm>
              <a:off x="74268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7" name="Группа 6"/>
          <p:cNvGrpSpPr/>
          <p:nvPr userDrawn="1"/>
        </p:nvGrpSpPr>
        <p:grpSpPr>
          <a:xfrm>
            <a:off x="7427701" y="1718100"/>
            <a:ext cx="1716299" cy="1717200"/>
            <a:chOff x="7427701" y="1718100"/>
            <a:chExt cx="1716299" cy="1717200"/>
          </a:xfrm>
        </p:grpSpPr>
        <p:sp>
          <p:nvSpPr>
            <p:cNvPr id="63" name="Прямоугольник 62"/>
            <p:cNvSpPr/>
            <p:nvPr userDrawn="1"/>
          </p:nvSpPr>
          <p:spPr bwMode="auto">
            <a:xfrm>
              <a:off x="7427701" y="1718100"/>
              <a:ext cx="1716299" cy="17172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70" name="Полилиния 69"/>
            <p:cNvSpPr/>
            <p:nvPr userDrawn="1"/>
          </p:nvSpPr>
          <p:spPr bwMode="auto">
            <a:xfrm>
              <a:off x="7427701" y="1718100"/>
              <a:ext cx="1716299" cy="1717200"/>
            </a:xfrm>
            <a:custGeom>
              <a:avLst/>
              <a:gdLst>
                <a:gd name="connsiteX0" fmla="*/ 0 w 1716299"/>
                <a:gd name="connsiteY0" fmla="*/ 1313726 h 1717200"/>
                <a:gd name="connsiteX1" fmla="*/ 402843 w 1716299"/>
                <a:gd name="connsiteY1" fmla="*/ 1717200 h 1717200"/>
                <a:gd name="connsiteX2" fmla="*/ 0 w 1716299"/>
                <a:gd name="connsiteY2" fmla="*/ 1717200 h 1717200"/>
                <a:gd name="connsiteX3" fmla="*/ 0 w 1716299"/>
                <a:gd name="connsiteY3" fmla="*/ 550698 h 1717200"/>
                <a:gd name="connsiteX4" fmla="*/ 1164676 w 1716299"/>
                <a:gd name="connsiteY4" fmla="*/ 1717200 h 1717200"/>
                <a:gd name="connsiteX5" fmla="*/ 748795 w 1716299"/>
                <a:gd name="connsiteY5" fmla="*/ 1717200 h 1717200"/>
                <a:gd name="connsiteX6" fmla="*/ 0 w 1716299"/>
                <a:gd name="connsiteY6" fmla="*/ 966900 h 1717200"/>
                <a:gd name="connsiteX7" fmla="*/ 1311613 w 1716299"/>
                <a:gd name="connsiteY7" fmla="*/ 0 h 1717200"/>
                <a:gd name="connsiteX8" fmla="*/ 1716299 w 1716299"/>
                <a:gd name="connsiteY8" fmla="*/ 0 h 1717200"/>
                <a:gd name="connsiteX9" fmla="*/ 1716299 w 1716299"/>
                <a:gd name="connsiteY9" fmla="*/ 405500 h 1717200"/>
                <a:gd name="connsiteX10" fmla="*/ 559772 w 1716299"/>
                <a:gd name="connsiteY10" fmla="*/ 0 h 1717200"/>
                <a:gd name="connsiteX11" fmla="*/ 964903 w 1716299"/>
                <a:gd name="connsiteY11" fmla="*/ 0 h 1717200"/>
                <a:gd name="connsiteX12" fmla="*/ 1716299 w 1716299"/>
                <a:gd name="connsiteY12" fmla="*/ 752574 h 1717200"/>
                <a:gd name="connsiteX13" fmla="*/ 1716299 w 1716299"/>
                <a:gd name="connsiteY13" fmla="*/ 1158853 h 1717200"/>
                <a:gd name="connsiteX14" fmla="*/ 0 w 1716299"/>
                <a:gd name="connsiteY14" fmla="*/ 0 h 1717200"/>
                <a:gd name="connsiteX15" fmla="*/ 213062 w 1716299"/>
                <a:gd name="connsiteY15" fmla="*/ 0 h 1717200"/>
                <a:gd name="connsiteX16" fmla="*/ 1716299 w 1716299"/>
                <a:gd name="connsiteY16" fmla="*/ 1505594 h 1717200"/>
                <a:gd name="connsiteX17" fmla="*/ 1716299 w 1716299"/>
                <a:gd name="connsiteY17" fmla="*/ 1717200 h 1717200"/>
                <a:gd name="connsiteX18" fmla="*/ 1510628 w 1716299"/>
                <a:gd name="connsiteY18" fmla="*/ 1717200 h 1717200"/>
                <a:gd name="connsiteX19" fmla="*/ 0 w 1716299"/>
                <a:gd name="connsiteY19" fmla="*/ 203535 h 171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6299" h="1717200">
                  <a:moveTo>
                    <a:pt x="0" y="1313726"/>
                  </a:moveTo>
                  <a:lnTo>
                    <a:pt x="402843" y="1717200"/>
                  </a:lnTo>
                  <a:lnTo>
                    <a:pt x="0" y="1717200"/>
                  </a:lnTo>
                  <a:close/>
                  <a:moveTo>
                    <a:pt x="0" y="550698"/>
                  </a:moveTo>
                  <a:lnTo>
                    <a:pt x="1164676" y="1717200"/>
                  </a:lnTo>
                  <a:lnTo>
                    <a:pt x="748795" y="1717200"/>
                  </a:lnTo>
                  <a:lnTo>
                    <a:pt x="0" y="966900"/>
                  </a:lnTo>
                  <a:close/>
                  <a:moveTo>
                    <a:pt x="1311613" y="0"/>
                  </a:moveTo>
                  <a:lnTo>
                    <a:pt x="1716299" y="0"/>
                  </a:lnTo>
                  <a:lnTo>
                    <a:pt x="1716299" y="405500"/>
                  </a:lnTo>
                  <a:close/>
                  <a:moveTo>
                    <a:pt x="559772" y="0"/>
                  </a:moveTo>
                  <a:lnTo>
                    <a:pt x="964903" y="0"/>
                  </a:lnTo>
                  <a:lnTo>
                    <a:pt x="1716299" y="752574"/>
                  </a:lnTo>
                  <a:lnTo>
                    <a:pt x="1716299" y="1158853"/>
                  </a:lnTo>
                  <a:close/>
                  <a:moveTo>
                    <a:pt x="0" y="0"/>
                  </a:moveTo>
                  <a:lnTo>
                    <a:pt x="213062" y="0"/>
                  </a:lnTo>
                  <a:lnTo>
                    <a:pt x="1716299" y="1505594"/>
                  </a:lnTo>
                  <a:lnTo>
                    <a:pt x="1716299" y="1717200"/>
                  </a:lnTo>
                  <a:lnTo>
                    <a:pt x="1510628" y="1717200"/>
                  </a:lnTo>
                  <a:lnTo>
                    <a:pt x="0" y="20353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2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119" name="Группа 11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120" name="Прямоугольник 11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21" name="Прямая соединительная линия 12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122" name="Группа 12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123" name="Прямоугольник 12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4" name="Прямоугольник 12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125" name="Прямоугольник 12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126" name="Прямоугольник 12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127" name="Прямоугольник 12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128" name="Прямоугольник 12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129" name="Прямоугольник 12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0" name="Прямоугольник 12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1" name="Прямоугольник 13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32" name="Прямоугольник 13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3" name="Прямоугольник 13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4" name="Прямоугольник 13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35" name="Прямоугольник 13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6" name="Прямоугольник 13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7" name="Прямоугольник 13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8" name="TextBox 13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9" name="TextBox 13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40" name="Прямоугольник 13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1" name="Прямоугольник 14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2" name="Прямоугольник 14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3" name="Прямоугольник 14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7643922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22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9465"/>
            <a:ext cx="577291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202935"/>
            <a:ext cx="995680" cy="345810"/>
          </a:xfrm>
          <a:prstGeom prst="rect">
            <a:avLst/>
          </a:prstGeom>
          <a:effectLst/>
        </p:spPr>
        <p:txBody>
          <a:bodyPr/>
          <a:lstStyle>
            <a:lvl1pPr algn="r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Город</a:t>
            </a:r>
          </a:p>
          <a:p>
            <a:pPr lvl="0"/>
            <a:r>
              <a:rPr lang="ru-RU" dirty="0" smtClean="0"/>
              <a:t>Год</a:t>
            </a:r>
            <a:endParaRPr lang="ru-RU" dirty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pic>
        <p:nvPicPr>
          <p:cNvPr id="58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1026" y="417632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6" name="Группа 85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7" name="Прямоугольник 8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8" name="Прямая соединительная линия 8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Группа 88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4337645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1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8" cy="5143500"/>
          </a:xfrm>
          <a:solidFill>
            <a:schemeClr val="tx2"/>
          </a:solidFill>
          <a:ln w="9525" cap="flat" cmpd="sng" algn="ctr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1666273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grpSp>
        <p:nvGrpSpPr>
          <p:cNvPr id="2" name="Группа 1"/>
          <p:cNvGrpSpPr/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56" name="Прямоугольник 55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 userDrawn="1"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447133"/>
            <a:ext cx="5866765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7" name="Группа 8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8" name="Прямоугольник 8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9" name="Прямая соединительная линия 8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0" name="Группа 8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TextBox 10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2690945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731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61257"/>
            <a:ext cx="8462137" cy="210192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5867320" y="470535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4726486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3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444722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26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8" cy="51435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5493630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21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48348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48348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7887425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23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2951666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26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0634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0634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655907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928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930650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31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2158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2158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1652135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133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2561017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35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29205" cy="67262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2920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514906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38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3305257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440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0634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06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4572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616826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132773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833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207289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23050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0778563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43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4000" y="0"/>
            <a:ext cx="4572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0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4174985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45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4444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444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45744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80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4" name="Рисунок 5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61008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470152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47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4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732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5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307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6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3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7" name="Рисунок 5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30571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900675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850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3048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616826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4684148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952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54880" y="347883"/>
            <a:ext cx="403034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4754880" y="1131888"/>
            <a:ext cx="4030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4000" y="0"/>
            <a:ext cx="3048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0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698371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055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4567624" cy="30285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0940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5763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9697259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88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6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18" hasCustomPrompt="1"/>
          </p:nvPr>
        </p:nvSpPr>
        <p:spPr>
          <a:xfrm>
            <a:off x="6098400" y="1518540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 bwMode="auto">
          <a:xfrm>
            <a:off x="7621200" y="0"/>
            <a:ext cx="1522800" cy="15228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7621200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Прямоугольник 17"/>
          <p:cNvSpPr/>
          <p:nvPr userDrawn="1"/>
        </p:nvSpPr>
        <p:spPr bwMode="auto">
          <a:xfrm>
            <a:off x="4575600" y="1518541"/>
            <a:ext cx="1522800" cy="15228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19"/>
          </p:nvPr>
        </p:nvSpPr>
        <p:spPr>
          <a:xfrm>
            <a:off x="7707337" y="3149601"/>
            <a:ext cx="1074058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20"/>
          </p:nvPr>
        </p:nvSpPr>
        <p:spPr>
          <a:xfrm>
            <a:off x="4737334" y="1659593"/>
            <a:ext cx="1242551" cy="1306286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21"/>
          </p:nvPr>
        </p:nvSpPr>
        <p:spPr>
          <a:xfrm>
            <a:off x="7707337" y="352871"/>
            <a:ext cx="1074058" cy="1086436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2128723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91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098400" y="0"/>
            <a:ext cx="3045600" cy="3045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6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 bwMode="auto">
          <a:xfrm>
            <a:off x="4576376" y="0"/>
            <a:ext cx="1522800" cy="304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7621200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18"/>
          </p:nvPr>
        </p:nvSpPr>
        <p:spPr>
          <a:xfrm>
            <a:off x="7707086" y="3149601"/>
            <a:ext cx="1074058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5" y="347884"/>
            <a:ext cx="1271579" cy="2554973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041907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93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3045600" cy="3045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098400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 bwMode="auto">
          <a:xfrm>
            <a:off x="7621200" y="0"/>
            <a:ext cx="1522800" cy="304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4576376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737335" y="3149601"/>
            <a:ext cx="1242551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7740490" y="347884"/>
            <a:ext cx="1044735" cy="2554973"/>
          </a:xfrm>
        </p:spPr>
        <p:txBody>
          <a:bodyPr lIns="0" tIns="0" rIns="0" bIns="0">
            <a:noAutofit/>
          </a:bodyPr>
          <a:lstStyle/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5137547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 userDrawn="1"/>
        </p:nvSpPr>
        <p:spPr bwMode="auto">
          <a:xfrm>
            <a:off x="686018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 userDrawn="1"/>
        </p:nvSpPr>
        <p:spPr bwMode="auto">
          <a:xfrm>
            <a:off x="4576375" y="2276069"/>
            <a:ext cx="2283813" cy="228381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100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86018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4737335" y="2487904"/>
            <a:ext cx="1895694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7037284" y="347885"/>
            <a:ext cx="1747942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489486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935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олилиния 28"/>
          <p:cNvSpPr>
            <a:spLocks noChangeAspect="1"/>
          </p:cNvSpPr>
          <p:nvPr userDrawn="1"/>
        </p:nvSpPr>
        <p:spPr bwMode="auto">
          <a:xfrm>
            <a:off x="3999600" y="0"/>
            <a:ext cx="5144400" cy="51444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304800"/>
            <a:ext cx="8462137" cy="2058382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23050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3372853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 userDrawn="1"/>
        </p:nvSpPr>
        <p:spPr bwMode="auto">
          <a:xfrm>
            <a:off x="686018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 userDrawn="1"/>
        </p:nvSpPr>
        <p:spPr bwMode="auto">
          <a:xfrm>
            <a:off x="4576375" y="2276069"/>
            <a:ext cx="2283813" cy="228381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202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86018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4737335" y="2487904"/>
            <a:ext cx="1895694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7037284" y="347885"/>
            <a:ext cx="1747942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2418881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 userDrawn="1"/>
        </p:nvSpPr>
        <p:spPr bwMode="auto">
          <a:xfrm>
            <a:off x="457637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 userDrawn="1"/>
        </p:nvSpPr>
        <p:spPr bwMode="auto">
          <a:xfrm>
            <a:off x="6860187" y="2276069"/>
            <a:ext cx="2283813" cy="228381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305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86018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7009515" y="2487904"/>
            <a:ext cx="1775710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4" y="347885"/>
            <a:ext cx="1945755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1374137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 userDrawn="1"/>
        </p:nvSpPr>
        <p:spPr bwMode="auto">
          <a:xfrm>
            <a:off x="457637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 userDrawn="1"/>
        </p:nvSpPr>
        <p:spPr bwMode="auto">
          <a:xfrm>
            <a:off x="6860187" y="2276069"/>
            <a:ext cx="2283813" cy="228381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407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86018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7009515" y="2487904"/>
            <a:ext cx="1775710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4" y="347885"/>
            <a:ext cx="1945755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5384184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895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8433201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2074376" y="2846281"/>
            <a:ext cx="25020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289976" y="2846281"/>
            <a:ext cx="25020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360776" y="2846281"/>
            <a:ext cx="17136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Прямоугольник 15"/>
          <p:cNvSpPr/>
          <p:nvPr userDrawn="1"/>
        </p:nvSpPr>
        <p:spPr bwMode="auto">
          <a:xfrm>
            <a:off x="4576376" y="2846281"/>
            <a:ext cx="17136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8"/>
          </p:nvPr>
        </p:nvSpPr>
        <p:spPr>
          <a:xfrm>
            <a:off x="4572000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19"/>
          </p:nvPr>
        </p:nvSpPr>
        <p:spPr>
          <a:xfrm>
            <a:off x="487953" y="2943671"/>
            <a:ext cx="149767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20"/>
          </p:nvPr>
        </p:nvSpPr>
        <p:spPr>
          <a:xfrm>
            <a:off x="4701178" y="2943671"/>
            <a:ext cx="149767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4663762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998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8433201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60776" y="2846281"/>
            <a:ext cx="17136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1626" y="2846281"/>
            <a:ext cx="17136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2069626" y="2846281"/>
            <a:ext cx="25020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Прямоугольник 15"/>
          <p:cNvSpPr/>
          <p:nvPr userDrawn="1"/>
        </p:nvSpPr>
        <p:spPr bwMode="auto">
          <a:xfrm>
            <a:off x="6285226" y="2846281"/>
            <a:ext cx="25020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8"/>
          </p:nvPr>
        </p:nvSpPr>
        <p:spPr>
          <a:xfrm>
            <a:off x="4572000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19"/>
          </p:nvPr>
        </p:nvSpPr>
        <p:spPr>
          <a:xfrm>
            <a:off x="2212811" y="2957660"/>
            <a:ext cx="218646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20"/>
          </p:nvPr>
        </p:nvSpPr>
        <p:spPr>
          <a:xfrm>
            <a:off x="6442991" y="2957660"/>
            <a:ext cx="2186469" cy="1518818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619815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157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54880" y="347883"/>
            <a:ext cx="403034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4754880" y="1143388"/>
            <a:ext cx="4030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2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2460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920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0484325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260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1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68400" y="3028563"/>
            <a:ext cx="457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228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56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696787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62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3028563"/>
            <a:ext cx="457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756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0984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212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016642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464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2800" y="3028563"/>
            <a:ext cx="76212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8766412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67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-1200" y="3028563"/>
            <a:ext cx="76212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200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8635940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275814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7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16992" y="290286"/>
            <a:ext cx="5908549" cy="990709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61138" cy="2570351"/>
          </a:xfrm>
        </p:spPr>
        <p:txBody>
          <a:bodyPr/>
          <a:lstStyle/>
          <a:p>
            <a:endParaRPr lang="ru-RU"/>
          </a:p>
        </p:txBody>
      </p:sp>
      <p:grpSp>
        <p:nvGrpSpPr>
          <p:cNvPr id="60" name="Группа 59"/>
          <p:cNvGrpSpPr>
            <a:grpSpLocks noChangeAspect="1"/>
          </p:cNvGrpSpPr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 userDrawn="1"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7" name="Группа 8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8" name="Прямоугольник 8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9" name="Прямая соединительная линия 8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0" name="Группа 8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TextBox 10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4402710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вобод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79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396257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76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4176745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087973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43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998650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9239277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48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8522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46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1300045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08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5548540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65784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10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556305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300515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12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5577569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330310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020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744730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122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9700515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472507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95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5902453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73598" cy="2570351"/>
          </a:xfrm>
        </p:spPr>
        <p:txBody>
          <a:bodyPr/>
          <a:lstStyle/>
          <a:p>
            <a:endParaRPr lang="ru-RU"/>
          </a:p>
        </p:txBody>
      </p:sp>
      <p:grpSp>
        <p:nvGrpSpPr>
          <p:cNvPr id="4" name="Группа 3"/>
          <p:cNvGrpSpPr>
            <a:grpSpLocks noChangeAspect="1"/>
          </p:cNvGrpSpPr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олилиния 58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6" name="Группа 85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7" name="Прямоугольник 8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8" name="Прямая соединительная линия 8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Группа 88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900909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225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728945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15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884901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17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519601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09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847203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20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4068083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515422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12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403905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189251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14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10026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22514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935691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22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41040" y="347883"/>
            <a:ext cx="554418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984220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2090482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24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30880" y="347883"/>
            <a:ext cx="555434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163154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9183916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27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41040" y="347883"/>
            <a:ext cx="554418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11918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50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5902453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73598" cy="2570351"/>
          </a:xfrm>
        </p:spPr>
        <p:txBody>
          <a:bodyPr/>
          <a:lstStyle/>
          <a:p>
            <a:endParaRPr lang="ru-RU"/>
          </a:p>
        </p:txBody>
      </p:sp>
      <p:grpSp>
        <p:nvGrpSpPr>
          <p:cNvPr id="2" name="Группа 1"/>
          <p:cNvGrpSpPr>
            <a:grpSpLocks noChangeAspect="1"/>
          </p:cNvGrpSpPr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 bwMode="auto">
            <a:xfrm>
              <a:off x="78588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Прямоугольник 55"/>
            <p:cNvSpPr/>
            <p:nvPr userDrawn="1"/>
          </p:nvSpPr>
          <p:spPr bwMode="auto">
            <a:xfrm>
              <a:off x="65736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59" name="Группа 5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60" name="Прямоугольник 5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62" name="Прямая соединительная линия 61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63" name="Группа 62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64" name="Прямоугольник 63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66" name="Прямоугольник 65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67" name="Прямоугольник 66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68" name="Прямоугольник 67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69" name="Прямоугольник 68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70" name="Прямоугольник 69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" name="Прямоугольник 70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2" name="Прямоугольник 71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3" name="Прямоугольник 72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4" name="Прямоугольник 73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Прямоугольник 74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6" name="Прямоугольник 75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7" name="Прямоугольник 76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" name="Прямоугольник 77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" name="TextBox 78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0" name="TextBox 79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1" name="Прямоугольник 80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172026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6046823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29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91917" y="347883"/>
            <a:ext cx="403034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94065052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464308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32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2018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52977264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82900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134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>
          <a:xfrm>
            <a:off x="358775" y="347883"/>
            <a:ext cx="4035425" cy="673100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20821915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8528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553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ru-RU" dirty="0" smtClean="0"/>
              <a:t>Контакты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0" y="1131888"/>
            <a:ext cx="3419475" cy="3419475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4061171" y="2064543"/>
            <a:ext cx="203483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855784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1" y="1276063"/>
            <a:ext cx="1764000" cy="1764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4711696" y="1276063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2263771" y="1472242"/>
            <a:ext cx="2181229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6603996" y="1472242"/>
            <a:ext cx="2181229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7112462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1" y="1131888"/>
            <a:ext cx="1764000" cy="1764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3371301" y="1131888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6301225" y="1131888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71471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3371301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6301225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7029657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504892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4663714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6822535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517591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4676408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6835224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2177909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016053" y="1131888"/>
            <a:ext cx="1368001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686036" y="1131888"/>
            <a:ext cx="1368001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5356019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7026000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028752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3698730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5368708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7038685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7422642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6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1756514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166958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4577402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5987845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2" name="Рисунок 21"/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7398286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5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1769214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3179653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4590092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6000531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4" name="Текст 23"/>
          <p:cNvSpPr>
            <a:spLocks noGrp="1"/>
          </p:cNvSpPr>
          <p:nvPr>
            <p:ph type="body" sz="quarter" idx="48" hasCustomPrompt="1"/>
          </p:nvPr>
        </p:nvSpPr>
        <p:spPr>
          <a:xfrm>
            <a:off x="7410970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5768633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Прямоугольник 21"/>
          <p:cNvSpPr/>
          <p:nvPr userDrawn="1"/>
        </p:nvSpPr>
        <p:spPr bwMode="auto">
          <a:xfrm>
            <a:off x="0" y="1131888"/>
            <a:ext cx="9144000" cy="19081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Контакты компани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921528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 smtClean="0"/>
              <a:t>Адрес</a:t>
            </a:r>
            <a:endParaRPr lang="ru-RU" dirty="0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082345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 smtClean="0"/>
              <a:t>Адрес</a:t>
            </a:r>
            <a:endParaRPr lang="ru-RU" dirty="0"/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3082345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 smtClean="0"/>
              <a:t>Адрес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921528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 smtClean="0"/>
              <a:t>Адрес</a:t>
            </a:r>
            <a:endParaRPr lang="ru-RU" dirty="0"/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7403978" y="4005399"/>
            <a:ext cx="1656000" cy="252000"/>
          </a:xfrm>
        </p:spPr>
        <p:txBody>
          <a:bodyPr/>
          <a:lstStyle>
            <a:lvl1pPr>
              <a:defRPr sz="1200" baseline="0"/>
            </a:lvl1pPr>
          </a:lstStyle>
          <a:p>
            <a:pPr lvl="0"/>
            <a:r>
              <a:rPr lang="ru-RU" dirty="0" smtClean="0"/>
              <a:t>Адрес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5243162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 smtClean="0"/>
              <a:t>Адрес</a:t>
            </a:r>
            <a:endParaRPr lang="ru-RU" dirty="0"/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243162" y="3538117"/>
            <a:ext cx="1656000" cy="252000"/>
          </a:xfrm>
        </p:spPr>
        <p:txBody>
          <a:bodyPr/>
          <a:lstStyle>
            <a:lvl1pPr>
              <a:defRPr sz="1200" baseline="0"/>
            </a:lvl1pPr>
          </a:lstStyle>
          <a:p>
            <a:pPr lvl="0"/>
            <a:r>
              <a:rPr lang="ru-RU" dirty="0" smtClean="0"/>
              <a:t>Адрес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2" hasCustomPrompt="1"/>
          </p:nvPr>
        </p:nvSpPr>
        <p:spPr>
          <a:xfrm>
            <a:off x="7403978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 smtClean="0"/>
              <a:t>Адрес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30" hasCustomPrompt="1"/>
          </p:nvPr>
        </p:nvSpPr>
        <p:spPr>
          <a:xfrm>
            <a:off x="2592000" y="1721491"/>
            <a:ext cx="4031219" cy="2892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Тел.: +7 (495) 777-55-00; +7 (495) 780-55-00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31" hasCustomPrompt="1"/>
          </p:nvPr>
        </p:nvSpPr>
        <p:spPr>
          <a:xfrm>
            <a:off x="2592000" y="2116778"/>
            <a:ext cx="4031219" cy="2892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E-mail: info@sibur.ru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3" hasCustomPrompt="1"/>
          </p:nvPr>
        </p:nvSpPr>
        <p:spPr>
          <a:xfrm>
            <a:off x="358773" y="1401185"/>
            <a:ext cx="1353913" cy="135286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4122856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503289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98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9" y="290285"/>
            <a:ext cx="5902452" cy="937045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2573149"/>
            <a:ext cx="6573598" cy="2570351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4759236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/>
          <p:cNvSpPr/>
          <p:nvPr userDrawn="1"/>
        </p:nvSpPr>
        <p:spPr bwMode="auto">
          <a:xfrm>
            <a:off x="0" y="1510917"/>
            <a:ext cx="9144000" cy="30404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Контакты компани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58773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Адрес</a:t>
            </a:r>
            <a:endParaRPr lang="ru-RU" dirty="0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6819429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Адрес</a:t>
            </a:r>
            <a:endParaRPr lang="ru-RU" dirty="0"/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251232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Адрес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Адрес</a:t>
            </a:r>
            <a:endParaRPr lang="ru-RU" dirty="0"/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6819429" y="4267201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Адрес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66587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Адрес</a:t>
            </a:r>
            <a:endParaRPr lang="ru-RU" dirty="0"/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2512327" y="2739581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Адрес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2" hasCustomPrompt="1"/>
          </p:nvPr>
        </p:nvSpPr>
        <p:spPr>
          <a:xfrm>
            <a:off x="4665877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Адрес</a:t>
            </a:r>
            <a:endParaRPr lang="ru-RU" dirty="0"/>
          </a:p>
        </p:txBody>
      </p:sp>
      <p:sp>
        <p:nvSpPr>
          <p:cNvPr id="18" name="Рисунок 6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2512325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19" name="Рисунок 6"/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6819429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0" name="Рисунок 6"/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4665877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1" name="Рисунок 6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358773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2" name="Рисунок 6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2512325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3" name="Рисунок 6"/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6819429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4" name="Рисунок 6"/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665877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30" hasCustomPrompt="1"/>
          </p:nvPr>
        </p:nvSpPr>
        <p:spPr>
          <a:xfrm>
            <a:off x="358775" y="1131888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Тел.: +7 (495) 777-55-00; +7 (495) 780-55-00</a:t>
            </a:r>
            <a:endParaRPr lang="ru-RU" dirty="0"/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31" hasCustomPrompt="1"/>
          </p:nvPr>
        </p:nvSpPr>
        <p:spPr>
          <a:xfrm>
            <a:off x="4665877" y="1131888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E-mail: info@sibur.ru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969902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2458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71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353367" y="1211852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353367" y="169521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353367" y="217857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353367" y="266193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4"/>
          <p:cNvSpPr>
            <a:spLocks noGrp="1"/>
          </p:cNvSpPr>
          <p:nvPr>
            <p:ph type="pic" sz="quarter" idx="27" hasCustomPrompt="1"/>
          </p:nvPr>
        </p:nvSpPr>
        <p:spPr>
          <a:xfrm>
            <a:off x="353367" y="314529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Рисунок 14"/>
          <p:cNvSpPr>
            <a:spLocks noGrp="1"/>
          </p:cNvSpPr>
          <p:nvPr>
            <p:ph type="pic" sz="quarter" idx="28" hasCustomPrompt="1"/>
          </p:nvPr>
        </p:nvSpPr>
        <p:spPr>
          <a:xfrm>
            <a:off x="35336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5" name="Рисунок 14"/>
          <p:cNvSpPr>
            <a:spLocks noGrp="1"/>
          </p:cNvSpPr>
          <p:nvPr>
            <p:ph type="pic" sz="quarter" idx="51" hasCustomPrompt="1"/>
          </p:nvPr>
        </p:nvSpPr>
        <p:spPr>
          <a:xfrm>
            <a:off x="353367" y="362865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0977693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62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003586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10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624284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10893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3588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78240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6289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65"/>
          </p:nvPr>
        </p:nvSpPr>
        <p:spPr>
          <a:xfrm>
            <a:off x="5239384" y="113963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6"/>
          </p:nvPr>
        </p:nvSpPr>
        <p:spPr>
          <a:xfrm>
            <a:off x="5239384" y="1624284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67"/>
          </p:nvPr>
        </p:nvSpPr>
        <p:spPr>
          <a:xfrm>
            <a:off x="5239384" y="210893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68"/>
          </p:nvPr>
        </p:nvSpPr>
        <p:spPr>
          <a:xfrm>
            <a:off x="5239384" y="2593588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69"/>
          </p:nvPr>
        </p:nvSpPr>
        <p:spPr>
          <a:xfrm>
            <a:off x="5239384" y="3078240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5" name="Текст 8"/>
          <p:cNvSpPr>
            <a:spLocks noGrp="1"/>
          </p:cNvSpPr>
          <p:nvPr>
            <p:ph type="body" sz="quarter" idx="70"/>
          </p:nvPr>
        </p:nvSpPr>
        <p:spPr>
          <a:xfrm>
            <a:off x="5239384" y="404754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6" name="Текст 8"/>
          <p:cNvSpPr>
            <a:spLocks noGrp="1"/>
          </p:cNvSpPr>
          <p:nvPr>
            <p:ph type="body" sz="quarter" idx="71"/>
          </p:nvPr>
        </p:nvSpPr>
        <p:spPr>
          <a:xfrm>
            <a:off x="5239384" y="356289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72" hasCustomPrompt="1"/>
          </p:nvPr>
        </p:nvSpPr>
        <p:spPr>
          <a:xfrm>
            <a:off x="4739958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4739958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42" name="Текст 7"/>
          <p:cNvSpPr>
            <a:spLocks noGrp="1"/>
          </p:cNvSpPr>
          <p:nvPr>
            <p:ph type="body" sz="quarter" idx="74" hasCustomPrompt="1"/>
          </p:nvPr>
        </p:nvSpPr>
        <p:spPr>
          <a:xfrm>
            <a:off x="4739958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4739958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76" hasCustomPrompt="1"/>
          </p:nvPr>
        </p:nvSpPr>
        <p:spPr>
          <a:xfrm>
            <a:off x="4739958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77" hasCustomPrompt="1"/>
          </p:nvPr>
        </p:nvSpPr>
        <p:spPr>
          <a:xfrm>
            <a:off x="4739958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8" hasCustomPrompt="1"/>
          </p:nvPr>
        </p:nvSpPr>
        <p:spPr>
          <a:xfrm>
            <a:off x="4739958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022997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24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65"/>
          </p:nvPr>
        </p:nvSpPr>
        <p:spPr>
          <a:xfrm>
            <a:off x="3719046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6"/>
          </p:nvPr>
        </p:nvSpPr>
        <p:spPr>
          <a:xfrm>
            <a:off x="3719046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67"/>
          </p:nvPr>
        </p:nvSpPr>
        <p:spPr>
          <a:xfrm>
            <a:off x="3719046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68"/>
          </p:nvPr>
        </p:nvSpPr>
        <p:spPr>
          <a:xfrm>
            <a:off x="3719046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69"/>
          </p:nvPr>
        </p:nvSpPr>
        <p:spPr>
          <a:xfrm>
            <a:off x="3719046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5" name="Текст 8"/>
          <p:cNvSpPr>
            <a:spLocks noGrp="1"/>
          </p:cNvSpPr>
          <p:nvPr>
            <p:ph type="body" sz="quarter" idx="70"/>
          </p:nvPr>
        </p:nvSpPr>
        <p:spPr>
          <a:xfrm>
            <a:off x="3719046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6" name="Текст 8"/>
          <p:cNvSpPr>
            <a:spLocks noGrp="1"/>
          </p:cNvSpPr>
          <p:nvPr>
            <p:ph type="body" sz="quarter" idx="71"/>
          </p:nvPr>
        </p:nvSpPr>
        <p:spPr>
          <a:xfrm>
            <a:off x="3719046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72" hasCustomPrompt="1"/>
          </p:nvPr>
        </p:nvSpPr>
        <p:spPr>
          <a:xfrm>
            <a:off x="3219620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3219620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42" name="Текст 7"/>
          <p:cNvSpPr>
            <a:spLocks noGrp="1"/>
          </p:cNvSpPr>
          <p:nvPr>
            <p:ph type="body" sz="quarter" idx="74" hasCustomPrompt="1"/>
          </p:nvPr>
        </p:nvSpPr>
        <p:spPr>
          <a:xfrm>
            <a:off x="3219620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3219620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76" hasCustomPrompt="1"/>
          </p:nvPr>
        </p:nvSpPr>
        <p:spPr>
          <a:xfrm>
            <a:off x="3219620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77" hasCustomPrompt="1"/>
          </p:nvPr>
        </p:nvSpPr>
        <p:spPr>
          <a:xfrm>
            <a:off x="3219620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8" hasCustomPrompt="1"/>
          </p:nvPr>
        </p:nvSpPr>
        <p:spPr>
          <a:xfrm>
            <a:off x="3219620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47" name="Текст 8"/>
          <p:cNvSpPr>
            <a:spLocks noGrp="1"/>
          </p:cNvSpPr>
          <p:nvPr>
            <p:ph type="body" sz="quarter" idx="79"/>
          </p:nvPr>
        </p:nvSpPr>
        <p:spPr>
          <a:xfrm>
            <a:off x="6728310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8" name="Текст 8"/>
          <p:cNvSpPr>
            <a:spLocks noGrp="1"/>
          </p:cNvSpPr>
          <p:nvPr>
            <p:ph type="body" sz="quarter" idx="80"/>
          </p:nvPr>
        </p:nvSpPr>
        <p:spPr>
          <a:xfrm>
            <a:off x="6728310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9" name="Текст 8"/>
          <p:cNvSpPr>
            <a:spLocks noGrp="1"/>
          </p:cNvSpPr>
          <p:nvPr>
            <p:ph type="body" sz="quarter" idx="81"/>
          </p:nvPr>
        </p:nvSpPr>
        <p:spPr>
          <a:xfrm>
            <a:off x="6728310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0" name="Текст 8"/>
          <p:cNvSpPr>
            <a:spLocks noGrp="1"/>
          </p:cNvSpPr>
          <p:nvPr>
            <p:ph type="body" sz="quarter" idx="82"/>
          </p:nvPr>
        </p:nvSpPr>
        <p:spPr>
          <a:xfrm>
            <a:off x="6728310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1" name="Текст 8"/>
          <p:cNvSpPr>
            <a:spLocks noGrp="1"/>
          </p:cNvSpPr>
          <p:nvPr>
            <p:ph type="body" sz="quarter" idx="83"/>
          </p:nvPr>
        </p:nvSpPr>
        <p:spPr>
          <a:xfrm>
            <a:off x="6728310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2" name="Текст 8"/>
          <p:cNvSpPr>
            <a:spLocks noGrp="1"/>
          </p:cNvSpPr>
          <p:nvPr>
            <p:ph type="body" sz="quarter" idx="84"/>
          </p:nvPr>
        </p:nvSpPr>
        <p:spPr>
          <a:xfrm>
            <a:off x="6728310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3" name="Текст 8"/>
          <p:cNvSpPr>
            <a:spLocks noGrp="1"/>
          </p:cNvSpPr>
          <p:nvPr>
            <p:ph type="body" sz="quarter" idx="85"/>
          </p:nvPr>
        </p:nvSpPr>
        <p:spPr>
          <a:xfrm>
            <a:off x="6728310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4" name="Текст 7"/>
          <p:cNvSpPr>
            <a:spLocks noGrp="1"/>
          </p:cNvSpPr>
          <p:nvPr>
            <p:ph type="body" sz="quarter" idx="86" hasCustomPrompt="1"/>
          </p:nvPr>
        </p:nvSpPr>
        <p:spPr>
          <a:xfrm>
            <a:off x="6228884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55" name="Текст 7"/>
          <p:cNvSpPr>
            <a:spLocks noGrp="1"/>
          </p:cNvSpPr>
          <p:nvPr>
            <p:ph type="body" sz="quarter" idx="87" hasCustomPrompt="1"/>
          </p:nvPr>
        </p:nvSpPr>
        <p:spPr>
          <a:xfrm>
            <a:off x="6228884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88" hasCustomPrompt="1"/>
          </p:nvPr>
        </p:nvSpPr>
        <p:spPr>
          <a:xfrm>
            <a:off x="6228884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57" name="Текст 7"/>
          <p:cNvSpPr>
            <a:spLocks noGrp="1"/>
          </p:cNvSpPr>
          <p:nvPr>
            <p:ph type="body" sz="quarter" idx="89" hasCustomPrompt="1"/>
          </p:nvPr>
        </p:nvSpPr>
        <p:spPr>
          <a:xfrm>
            <a:off x="6228884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58" name="Текст 7"/>
          <p:cNvSpPr>
            <a:spLocks noGrp="1"/>
          </p:cNvSpPr>
          <p:nvPr>
            <p:ph type="body" sz="quarter" idx="90" hasCustomPrompt="1"/>
          </p:nvPr>
        </p:nvSpPr>
        <p:spPr>
          <a:xfrm>
            <a:off x="6228884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59" name="Текст 7"/>
          <p:cNvSpPr>
            <a:spLocks noGrp="1"/>
          </p:cNvSpPr>
          <p:nvPr>
            <p:ph type="body" sz="quarter" idx="91" hasCustomPrompt="1"/>
          </p:nvPr>
        </p:nvSpPr>
        <p:spPr>
          <a:xfrm>
            <a:off x="6228884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60" name="Текст 7"/>
          <p:cNvSpPr>
            <a:spLocks noGrp="1"/>
          </p:cNvSpPr>
          <p:nvPr>
            <p:ph type="body" sz="quarter" idx="92" hasCustomPrompt="1"/>
          </p:nvPr>
        </p:nvSpPr>
        <p:spPr>
          <a:xfrm>
            <a:off x="6228884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5595218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88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8611179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6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684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1270964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7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014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2496186" cy="684889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234370" y="439586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34371" y="1959617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234372" y="3471713"/>
            <a:ext cx="648000" cy="648000"/>
          </a:xfr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>
              <a:defRPr lang="ru-RU" sz="4400" dirty="0"/>
            </a:lvl1pPr>
          </a:lstStyle>
          <a:p>
            <a:pPr lvl="0" algn="ctr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4068741" y="201894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4068741" y="1721925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068741" y="3234021"/>
            <a:ext cx="4716483" cy="112338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979113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74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67053" y="3444258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67055" y="306142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7871914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77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16416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67882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841225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16416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678821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841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8435031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37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26" Type="http://schemas.openxmlformats.org/officeDocument/2006/relationships/slideLayout" Target="../slideLayouts/slideLayout56.xml"/><Relationship Id="rId3" Type="http://schemas.openxmlformats.org/officeDocument/2006/relationships/slideLayout" Target="../slideLayouts/slideLayout33.xml"/><Relationship Id="rId21" Type="http://schemas.openxmlformats.org/officeDocument/2006/relationships/slideLayout" Target="../slideLayouts/slideLayout51.xml"/><Relationship Id="rId34" Type="http://schemas.openxmlformats.org/officeDocument/2006/relationships/oleObject" Target="../embeddings/oleObject32.bin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5" Type="http://schemas.openxmlformats.org/officeDocument/2006/relationships/slideLayout" Target="../slideLayouts/slideLayout55.xml"/><Relationship Id="rId33" Type="http://schemas.openxmlformats.org/officeDocument/2006/relationships/tags" Target="../tags/tag35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29" Type="http://schemas.openxmlformats.org/officeDocument/2006/relationships/slideLayout" Target="../slideLayouts/slideLayout59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24" Type="http://schemas.openxmlformats.org/officeDocument/2006/relationships/slideLayout" Target="../slideLayouts/slideLayout54.xml"/><Relationship Id="rId32" Type="http://schemas.openxmlformats.org/officeDocument/2006/relationships/tags" Target="../tags/tag34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23" Type="http://schemas.openxmlformats.org/officeDocument/2006/relationships/slideLayout" Target="../slideLayouts/slideLayout53.xml"/><Relationship Id="rId28" Type="http://schemas.openxmlformats.org/officeDocument/2006/relationships/slideLayout" Target="../slideLayouts/slideLayout58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31" Type="http://schemas.openxmlformats.org/officeDocument/2006/relationships/vmlDrawing" Target="../drawings/vmlDrawing32.v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slideLayout" Target="../slideLayouts/slideLayout52.xml"/><Relationship Id="rId27" Type="http://schemas.openxmlformats.org/officeDocument/2006/relationships/slideLayout" Target="../slideLayouts/slideLayout57.xml"/><Relationship Id="rId30" Type="http://schemas.openxmlformats.org/officeDocument/2006/relationships/theme" Target="../theme/theme2.xml"/><Relationship Id="rId35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26" Type="http://schemas.openxmlformats.org/officeDocument/2006/relationships/tags" Target="../tags/tag65.xml"/><Relationship Id="rId3" Type="http://schemas.openxmlformats.org/officeDocument/2006/relationships/slideLayout" Target="../slideLayouts/slideLayout62.xml"/><Relationship Id="rId21" Type="http://schemas.openxmlformats.org/officeDocument/2006/relationships/slideLayout" Target="../slideLayouts/slideLayout80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5" Type="http://schemas.openxmlformats.org/officeDocument/2006/relationships/vmlDrawing" Target="../drawings/vmlDrawing62.v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slideLayout" Target="../slideLayouts/slideLayout79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24" Type="http://schemas.openxmlformats.org/officeDocument/2006/relationships/theme" Target="../theme/theme3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23" Type="http://schemas.openxmlformats.org/officeDocument/2006/relationships/slideLayout" Target="../slideLayouts/slideLayout82.xml"/><Relationship Id="rId28" Type="http://schemas.openxmlformats.org/officeDocument/2006/relationships/oleObject" Target="../embeddings/oleObject62.bin"/><Relationship Id="rId10" Type="http://schemas.openxmlformats.org/officeDocument/2006/relationships/slideLayout" Target="../slideLayouts/slideLayout69.xml"/><Relationship Id="rId19" Type="http://schemas.openxmlformats.org/officeDocument/2006/relationships/slideLayout" Target="../slideLayouts/slideLayout78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Relationship Id="rId22" Type="http://schemas.openxmlformats.org/officeDocument/2006/relationships/slideLayout" Target="../slideLayouts/slideLayout81.xml"/><Relationship Id="rId27" Type="http://schemas.openxmlformats.org/officeDocument/2006/relationships/tags" Target="../tags/tag66.xml"/><Relationship Id="rId30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oleObject" Target="../embeddings/oleObject86.bin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tags" Target="../tags/tag91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tags" Target="../tags/tag90.xml"/><Relationship Id="rId5" Type="http://schemas.openxmlformats.org/officeDocument/2006/relationships/slideLayout" Target="../slideLayouts/slideLayout87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86.vml"/><Relationship Id="rId4" Type="http://schemas.openxmlformats.org/officeDocument/2006/relationships/slideLayout" Target="../slideLayouts/slideLayout86.xml"/><Relationship Id="rId9" Type="http://schemas.openxmlformats.org/officeDocument/2006/relationships/theme" Target="../theme/theme4.xml"/><Relationship Id="rId14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3.xml"/><Relationship Id="rId18" Type="http://schemas.openxmlformats.org/officeDocument/2006/relationships/slideLayout" Target="../slideLayouts/slideLayout108.xml"/><Relationship Id="rId26" Type="http://schemas.openxmlformats.org/officeDocument/2006/relationships/slideLayout" Target="../slideLayouts/slideLayout116.xml"/><Relationship Id="rId39" Type="http://schemas.openxmlformats.org/officeDocument/2006/relationships/slideLayout" Target="../slideLayouts/slideLayout129.xml"/><Relationship Id="rId3" Type="http://schemas.openxmlformats.org/officeDocument/2006/relationships/slideLayout" Target="../slideLayouts/slideLayout93.xml"/><Relationship Id="rId21" Type="http://schemas.openxmlformats.org/officeDocument/2006/relationships/slideLayout" Target="../slideLayouts/slideLayout111.xml"/><Relationship Id="rId34" Type="http://schemas.openxmlformats.org/officeDocument/2006/relationships/slideLayout" Target="../slideLayouts/slideLayout124.xml"/><Relationship Id="rId42" Type="http://schemas.openxmlformats.org/officeDocument/2006/relationships/slideLayout" Target="../slideLayouts/slideLayout132.xml"/><Relationship Id="rId47" Type="http://schemas.openxmlformats.org/officeDocument/2006/relationships/tags" Target="../tags/tag94.xml"/><Relationship Id="rId50" Type="http://schemas.openxmlformats.org/officeDocument/2006/relationships/image" Target="../media/image2.png"/><Relationship Id="rId7" Type="http://schemas.openxmlformats.org/officeDocument/2006/relationships/slideLayout" Target="../slideLayouts/slideLayout97.xml"/><Relationship Id="rId12" Type="http://schemas.openxmlformats.org/officeDocument/2006/relationships/slideLayout" Target="../slideLayouts/slideLayout102.xml"/><Relationship Id="rId17" Type="http://schemas.openxmlformats.org/officeDocument/2006/relationships/slideLayout" Target="../slideLayouts/slideLayout107.xml"/><Relationship Id="rId25" Type="http://schemas.openxmlformats.org/officeDocument/2006/relationships/slideLayout" Target="../slideLayouts/slideLayout115.xml"/><Relationship Id="rId33" Type="http://schemas.openxmlformats.org/officeDocument/2006/relationships/slideLayout" Target="../slideLayouts/slideLayout123.xml"/><Relationship Id="rId38" Type="http://schemas.openxmlformats.org/officeDocument/2006/relationships/slideLayout" Target="../slideLayouts/slideLayout128.xml"/><Relationship Id="rId46" Type="http://schemas.openxmlformats.org/officeDocument/2006/relationships/tags" Target="../tags/tag93.xml"/><Relationship Id="rId2" Type="http://schemas.openxmlformats.org/officeDocument/2006/relationships/slideLayout" Target="../slideLayouts/slideLayout92.xml"/><Relationship Id="rId16" Type="http://schemas.openxmlformats.org/officeDocument/2006/relationships/slideLayout" Target="../slideLayouts/slideLayout106.xml"/><Relationship Id="rId20" Type="http://schemas.openxmlformats.org/officeDocument/2006/relationships/slideLayout" Target="../slideLayouts/slideLayout110.xml"/><Relationship Id="rId29" Type="http://schemas.openxmlformats.org/officeDocument/2006/relationships/slideLayout" Target="../slideLayouts/slideLayout119.xml"/><Relationship Id="rId41" Type="http://schemas.openxmlformats.org/officeDocument/2006/relationships/slideLayout" Target="../slideLayouts/slideLayout131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24" Type="http://schemas.openxmlformats.org/officeDocument/2006/relationships/slideLayout" Target="../slideLayouts/slideLayout114.xml"/><Relationship Id="rId32" Type="http://schemas.openxmlformats.org/officeDocument/2006/relationships/slideLayout" Target="../slideLayouts/slideLayout122.xml"/><Relationship Id="rId37" Type="http://schemas.openxmlformats.org/officeDocument/2006/relationships/slideLayout" Target="../slideLayouts/slideLayout127.xml"/><Relationship Id="rId40" Type="http://schemas.openxmlformats.org/officeDocument/2006/relationships/slideLayout" Target="../slideLayouts/slideLayout130.xml"/><Relationship Id="rId45" Type="http://schemas.openxmlformats.org/officeDocument/2006/relationships/vmlDrawing" Target="../drawings/vmlDrawing88.vml"/><Relationship Id="rId5" Type="http://schemas.openxmlformats.org/officeDocument/2006/relationships/slideLayout" Target="../slideLayouts/slideLayout95.xml"/><Relationship Id="rId15" Type="http://schemas.openxmlformats.org/officeDocument/2006/relationships/slideLayout" Target="../slideLayouts/slideLayout105.xml"/><Relationship Id="rId23" Type="http://schemas.openxmlformats.org/officeDocument/2006/relationships/slideLayout" Target="../slideLayouts/slideLayout113.xml"/><Relationship Id="rId28" Type="http://schemas.openxmlformats.org/officeDocument/2006/relationships/slideLayout" Target="../slideLayouts/slideLayout118.xml"/><Relationship Id="rId36" Type="http://schemas.openxmlformats.org/officeDocument/2006/relationships/slideLayout" Target="../slideLayouts/slideLayout126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00.xml"/><Relationship Id="rId19" Type="http://schemas.openxmlformats.org/officeDocument/2006/relationships/slideLayout" Target="../slideLayouts/slideLayout109.xml"/><Relationship Id="rId31" Type="http://schemas.openxmlformats.org/officeDocument/2006/relationships/slideLayout" Target="../slideLayouts/slideLayout121.xml"/><Relationship Id="rId44" Type="http://schemas.openxmlformats.org/officeDocument/2006/relationships/theme" Target="../theme/theme5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4" Type="http://schemas.openxmlformats.org/officeDocument/2006/relationships/slideLayout" Target="../slideLayouts/slideLayout104.xml"/><Relationship Id="rId22" Type="http://schemas.openxmlformats.org/officeDocument/2006/relationships/slideLayout" Target="../slideLayouts/slideLayout112.xml"/><Relationship Id="rId27" Type="http://schemas.openxmlformats.org/officeDocument/2006/relationships/slideLayout" Target="../slideLayouts/slideLayout117.xml"/><Relationship Id="rId30" Type="http://schemas.openxmlformats.org/officeDocument/2006/relationships/slideLayout" Target="../slideLayouts/slideLayout120.xml"/><Relationship Id="rId35" Type="http://schemas.openxmlformats.org/officeDocument/2006/relationships/slideLayout" Target="../slideLayouts/slideLayout125.xml"/><Relationship Id="rId43" Type="http://schemas.openxmlformats.org/officeDocument/2006/relationships/slideLayout" Target="../slideLayouts/slideLayout133.xml"/><Relationship Id="rId48" Type="http://schemas.openxmlformats.org/officeDocument/2006/relationships/oleObject" Target="../embeddings/oleObject88.bin"/><Relationship Id="rId8" Type="http://schemas.openxmlformats.org/officeDocument/2006/relationships/slideLayout" Target="../slideLayouts/slideLayout9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32.v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36.xml"/><Relationship Id="rId7" Type="http://schemas.openxmlformats.org/officeDocument/2006/relationships/theme" Target="../theme/theme6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35.xml"/><Relationship Id="rId1" Type="http://schemas.openxmlformats.org/officeDocument/2006/relationships/slideLayout" Target="../slideLayouts/slideLayout134.xml"/><Relationship Id="rId6" Type="http://schemas.openxmlformats.org/officeDocument/2006/relationships/slideLayout" Target="../slideLayouts/slideLayout139.xml"/><Relationship Id="rId11" Type="http://schemas.openxmlformats.org/officeDocument/2006/relationships/oleObject" Target="../embeddings/oleObject132.bin"/><Relationship Id="rId5" Type="http://schemas.openxmlformats.org/officeDocument/2006/relationships/slideLayout" Target="../slideLayouts/slideLayout138.xml"/><Relationship Id="rId10" Type="http://schemas.openxmlformats.org/officeDocument/2006/relationships/tags" Target="../tags/tag139.xml"/><Relationship Id="rId4" Type="http://schemas.openxmlformats.org/officeDocument/2006/relationships/slideLayout" Target="../slideLayouts/slideLayout137.xml"/><Relationship Id="rId9" Type="http://schemas.openxmlformats.org/officeDocument/2006/relationships/tags" Target="../tags/tag138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2.xml"/><Relationship Id="rId18" Type="http://schemas.openxmlformats.org/officeDocument/2006/relationships/slideLayout" Target="../slideLayouts/slideLayout157.xml"/><Relationship Id="rId26" Type="http://schemas.openxmlformats.org/officeDocument/2006/relationships/slideLayout" Target="../slideLayouts/slideLayout165.xml"/><Relationship Id="rId39" Type="http://schemas.openxmlformats.org/officeDocument/2006/relationships/slideLayout" Target="../slideLayouts/slideLayout178.xml"/><Relationship Id="rId3" Type="http://schemas.openxmlformats.org/officeDocument/2006/relationships/slideLayout" Target="../slideLayouts/slideLayout142.xml"/><Relationship Id="rId21" Type="http://schemas.openxmlformats.org/officeDocument/2006/relationships/slideLayout" Target="../slideLayouts/slideLayout160.xml"/><Relationship Id="rId34" Type="http://schemas.openxmlformats.org/officeDocument/2006/relationships/slideLayout" Target="../slideLayouts/slideLayout173.xml"/><Relationship Id="rId42" Type="http://schemas.openxmlformats.org/officeDocument/2006/relationships/slideLayout" Target="../slideLayouts/slideLayout181.xml"/><Relationship Id="rId47" Type="http://schemas.openxmlformats.org/officeDocument/2006/relationships/tags" Target="../tags/tag145.xml"/><Relationship Id="rId50" Type="http://schemas.openxmlformats.org/officeDocument/2006/relationships/image" Target="../media/image2.png"/><Relationship Id="rId7" Type="http://schemas.openxmlformats.org/officeDocument/2006/relationships/slideLayout" Target="../slideLayouts/slideLayout146.xml"/><Relationship Id="rId12" Type="http://schemas.openxmlformats.org/officeDocument/2006/relationships/slideLayout" Target="../slideLayouts/slideLayout151.xml"/><Relationship Id="rId17" Type="http://schemas.openxmlformats.org/officeDocument/2006/relationships/slideLayout" Target="../slideLayouts/slideLayout156.xml"/><Relationship Id="rId25" Type="http://schemas.openxmlformats.org/officeDocument/2006/relationships/slideLayout" Target="../slideLayouts/slideLayout164.xml"/><Relationship Id="rId33" Type="http://schemas.openxmlformats.org/officeDocument/2006/relationships/slideLayout" Target="../slideLayouts/slideLayout172.xml"/><Relationship Id="rId38" Type="http://schemas.openxmlformats.org/officeDocument/2006/relationships/slideLayout" Target="../slideLayouts/slideLayout177.xml"/><Relationship Id="rId46" Type="http://schemas.openxmlformats.org/officeDocument/2006/relationships/tags" Target="../tags/tag144.xml"/><Relationship Id="rId2" Type="http://schemas.openxmlformats.org/officeDocument/2006/relationships/slideLayout" Target="../slideLayouts/slideLayout141.xml"/><Relationship Id="rId16" Type="http://schemas.openxmlformats.org/officeDocument/2006/relationships/slideLayout" Target="../slideLayouts/slideLayout155.xml"/><Relationship Id="rId20" Type="http://schemas.openxmlformats.org/officeDocument/2006/relationships/slideLayout" Target="../slideLayouts/slideLayout159.xml"/><Relationship Id="rId29" Type="http://schemas.openxmlformats.org/officeDocument/2006/relationships/slideLayout" Target="../slideLayouts/slideLayout168.xml"/><Relationship Id="rId41" Type="http://schemas.openxmlformats.org/officeDocument/2006/relationships/slideLayout" Target="../slideLayouts/slideLayout180.xml"/><Relationship Id="rId1" Type="http://schemas.openxmlformats.org/officeDocument/2006/relationships/slideLayout" Target="../slideLayouts/slideLayout140.xml"/><Relationship Id="rId6" Type="http://schemas.openxmlformats.org/officeDocument/2006/relationships/slideLayout" Target="../slideLayouts/slideLayout145.xml"/><Relationship Id="rId11" Type="http://schemas.openxmlformats.org/officeDocument/2006/relationships/slideLayout" Target="../slideLayouts/slideLayout150.xml"/><Relationship Id="rId24" Type="http://schemas.openxmlformats.org/officeDocument/2006/relationships/slideLayout" Target="../slideLayouts/slideLayout163.xml"/><Relationship Id="rId32" Type="http://schemas.openxmlformats.org/officeDocument/2006/relationships/slideLayout" Target="../slideLayouts/slideLayout171.xml"/><Relationship Id="rId37" Type="http://schemas.openxmlformats.org/officeDocument/2006/relationships/slideLayout" Target="../slideLayouts/slideLayout176.xml"/><Relationship Id="rId40" Type="http://schemas.openxmlformats.org/officeDocument/2006/relationships/slideLayout" Target="../slideLayouts/slideLayout179.xml"/><Relationship Id="rId45" Type="http://schemas.openxmlformats.org/officeDocument/2006/relationships/vmlDrawing" Target="../drawings/vmlDrawing137.vml"/><Relationship Id="rId5" Type="http://schemas.openxmlformats.org/officeDocument/2006/relationships/slideLayout" Target="../slideLayouts/slideLayout144.xml"/><Relationship Id="rId15" Type="http://schemas.openxmlformats.org/officeDocument/2006/relationships/slideLayout" Target="../slideLayouts/slideLayout154.xml"/><Relationship Id="rId23" Type="http://schemas.openxmlformats.org/officeDocument/2006/relationships/slideLayout" Target="../slideLayouts/slideLayout162.xml"/><Relationship Id="rId28" Type="http://schemas.openxmlformats.org/officeDocument/2006/relationships/slideLayout" Target="../slideLayouts/slideLayout167.xml"/><Relationship Id="rId36" Type="http://schemas.openxmlformats.org/officeDocument/2006/relationships/slideLayout" Target="../slideLayouts/slideLayout175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49.xml"/><Relationship Id="rId19" Type="http://schemas.openxmlformats.org/officeDocument/2006/relationships/slideLayout" Target="../slideLayouts/slideLayout158.xml"/><Relationship Id="rId31" Type="http://schemas.openxmlformats.org/officeDocument/2006/relationships/slideLayout" Target="../slideLayouts/slideLayout170.xml"/><Relationship Id="rId44" Type="http://schemas.openxmlformats.org/officeDocument/2006/relationships/theme" Target="../theme/theme7.xml"/><Relationship Id="rId4" Type="http://schemas.openxmlformats.org/officeDocument/2006/relationships/slideLayout" Target="../slideLayouts/slideLayout143.xml"/><Relationship Id="rId9" Type="http://schemas.openxmlformats.org/officeDocument/2006/relationships/slideLayout" Target="../slideLayouts/slideLayout148.xml"/><Relationship Id="rId14" Type="http://schemas.openxmlformats.org/officeDocument/2006/relationships/slideLayout" Target="../slideLayouts/slideLayout153.xml"/><Relationship Id="rId22" Type="http://schemas.openxmlformats.org/officeDocument/2006/relationships/slideLayout" Target="../slideLayouts/slideLayout161.xml"/><Relationship Id="rId27" Type="http://schemas.openxmlformats.org/officeDocument/2006/relationships/slideLayout" Target="../slideLayouts/slideLayout166.xml"/><Relationship Id="rId30" Type="http://schemas.openxmlformats.org/officeDocument/2006/relationships/slideLayout" Target="../slideLayouts/slideLayout169.xml"/><Relationship Id="rId35" Type="http://schemas.openxmlformats.org/officeDocument/2006/relationships/slideLayout" Target="../slideLayouts/slideLayout174.xml"/><Relationship Id="rId43" Type="http://schemas.openxmlformats.org/officeDocument/2006/relationships/slideLayout" Target="../slideLayouts/slideLayout182.xml"/><Relationship Id="rId48" Type="http://schemas.openxmlformats.org/officeDocument/2006/relationships/oleObject" Target="../embeddings/oleObject137.bin"/><Relationship Id="rId8" Type="http://schemas.openxmlformats.org/officeDocument/2006/relationships/slideLayout" Target="../slideLayouts/slideLayout1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2072131180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370" name="Слайд think-cell" r:id="rId35" imgW="270" imgH="270" progId="TCLayout.ActiveDocument.1">
                  <p:embed/>
                </p:oleObj>
              </mc:Choice>
              <mc:Fallback>
                <p:oleObj name="Слайд think-cell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34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 userDrawn="1"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4"/>
            <a:ext cx="8426451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</a:t>
            </a:r>
            <a:r>
              <a:rPr lang="ru-RU" dirty="0" smtClean="0"/>
              <a:t>(</a:t>
            </a:r>
            <a:r>
              <a:rPr lang="ru-RU" dirty="0"/>
              <a:t>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4918" y="4757635"/>
            <a:ext cx="329472" cy="1903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98" y="4757635"/>
            <a:ext cx="5311574" cy="198551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7" y="4757635"/>
            <a:ext cx="955492" cy="1985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6" name="Прямоугольник 35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7" name="Прямоугольник 36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43" name="Прямоугольник 4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46" name="Прямоугольник 45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7" name="Прямоугольник 46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8" name="Прямоугольник 47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50" name="Прямоугольник 49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1" name="Прямоугольник 50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2" name="Прямоугольник 51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3" name="Прямоугольник 52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4" name="Прямоугольник 53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55" name="Прямоугольник 54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7" name="Прямоугольник 56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" name="TextBox 4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32" name="TextBox 31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31" name="Прямоугольник 30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3" name="Прямоугольник 32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4" name="Прямоугольник 33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40" name="Прямоугольник 39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  <p:sp>
        <p:nvSpPr>
          <p:cNvPr id="7" name="Текст 6"/>
          <p:cNvSpPr>
            <a:spLocks noGrp="1"/>
          </p:cNvSpPr>
          <p:nvPr>
            <p:ph type="body" idx="1"/>
          </p:nvPr>
        </p:nvSpPr>
        <p:spPr>
          <a:xfrm>
            <a:off x="358775" y="1131888"/>
            <a:ext cx="8426450" cy="34194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12720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9" r:id="rId1"/>
    <p:sldLayoutId id="2147484640" r:id="rId2"/>
    <p:sldLayoutId id="2147484636" r:id="rId3"/>
    <p:sldLayoutId id="2147484637" r:id="rId4"/>
    <p:sldLayoutId id="2147484638" r:id="rId5"/>
    <p:sldLayoutId id="2147484207" r:id="rId6"/>
    <p:sldLayoutId id="2147484559" r:id="rId7"/>
    <p:sldLayoutId id="2147484581" r:id="rId8"/>
    <p:sldLayoutId id="2147484560" r:id="rId9"/>
    <p:sldLayoutId id="2147484564" r:id="rId10"/>
    <p:sldLayoutId id="2147484566" r:id="rId11"/>
    <p:sldLayoutId id="2147484562" r:id="rId12"/>
    <p:sldLayoutId id="2147484574" r:id="rId13"/>
    <p:sldLayoutId id="2147484563" r:id="rId14"/>
    <p:sldLayoutId id="2147484583" r:id="rId15"/>
    <p:sldLayoutId id="2147484584" r:id="rId16"/>
    <p:sldLayoutId id="2147484561" r:id="rId17"/>
    <p:sldLayoutId id="2147484585" r:id="rId18"/>
    <p:sldLayoutId id="2147484565" r:id="rId19"/>
    <p:sldLayoutId id="2147484567" r:id="rId20"/>
    <p:sldLayoutId id="2147484580" r:id="rId21"/>
    <p:sldLayoutId id="2147484568" r:id="rId22"/>
    <p:sldLayoutId id="2147484582" r:id="rId23"/>
    <p:sldLayoutId id="2147484569" r:id="rId24"/>
    <p:sldLayoutId id="2147484586" r:id="rId25"/>
    <p:sldLayoutId id="2147484571" r:id="rId26"/>
    <p:sldLayoutId id="2147484587" r:id="rId27"/>
    <p:sldLayoutId id="2147484570" r:id="rId28"/>
    <p:sldLayoutId id="2147484573" r:id="rId29"/>
    <p:sldLayoutId id="2147484572" r:id="rId30"/>
  </p:sldLayoutIdLst>
  <p:transition spd="slow">
    <p:wipe dir="r"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lang="ru-RU" sz="2000" b="1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0"/>
        </a:spcAft>
        <a:buClr>
          <a:schemeClr val="tx2"/>
        </a:buClr>
        <a:buFont typeface="Wingdings" charset="2"/>
        <a:buNone/>
        <a:defRPr sz="1400" b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200" b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00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90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80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orient="horz" pos="2867" userDrawn="1">
          <p15:clr>
            <a:srgbClr val="F26B43"/>
          </p15:clr>
        </p15:guide>
        <p15:guide id="4" pos="5534" userDrawn="1">
          <p15:clr>
            <a:srgbClr val="F26B43"/>
          </p15:clr>
        </p15:guide>
        <p15:guide id="5" orient="horz" pos="645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1920" userDrawn="1">
          <p15:clr>
            <a:srgbClr val="F26B43"/>
          </p15:clr>
        </p15:guide>
        <p15:guide id="9" pos="4800" userDrawn="1">
          <p15:clr>
            <a:srgbClr val="F26B43"/>
          </p15:clr>
        </p15:guide>
        <p15:guide id="10" pos="960" userDrawn="1">
          <p15:clr>
            <a:srgbClr val="F26B43"/>
          </p15:clr>
        </p15:guide>
        <p15:guide id="11" pos="2880" userDrawn="1">
          <p15:clr>
            <a:srgbClr val="F26B43"/>
          </p15:clr>
        </p15:guide>
        <p15:guide id="12" orient="horz" pos="957" userDrawn="1">
          <p15:clr>
            <a:srgbClr val="F26B43"/>
          </p15:clr>
        </p15:guide>
        <p15:guide id="13" orient="horz" pos="1914" userDrawn="1">
          <p15:clr>
            <a:srgbClr val="F26B43"/>
          </p15:clr>
        </p15:guide>
        <p15:guide id="14" orient="horz" pos="162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32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204" name="Слайд think-cell" r:id="rId34" imgW="270" imgH="270" progId="TCLayout.ActiveDocument.1">
                  <p:embed/>
                </p:oleObj>
              </mc:Choice>
              <mc:Fallback>
                <p:oleObj name="Слайд think-cell" r:id="rId3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3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4" y="1145282"/>
            <a:ext cx="8426451" cy="3401286"/>
          </a:xfrm>
          <a:prstGeom prst="rect">
            <a:avLst/>
          </a:prstGeom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</a:t>
            </a:r>
            <a:r>
              <a:rPr lang="ru-RU" altLang="en-US" dirty="0" smtClean="0"/>
              <a:t>уровень</a:t>
            </a:r>
          </a:p>
          <a:p>
            <a:pPr lvl="4"/>
            <a:r>
              <a:rPr lang="ru-RU" altLang="en-US" dirty="0" smtClean="0"/>
              <a:t>Пятый уровень</a:t>
            </a:r>
            <a:endParaRPr lang="ru-RU" altLang="en-US" dirty="0"/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2" y="353118"/>
            <a:ext cx="8426453" cy="30777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2" y="4755455"/>
            <a:ext cx="324954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2087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5" y="4759819"/>
            <a:ext cx="957248" cy="196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pic>
        <p:nvPicPr>
          <p:cNvPr id="61" name="Рисунок 60"/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59" name="Группа 58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60" name="Прямоугольник 59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3" name="Прямоугольник 6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4" name="Прямоугольник 63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5" name="Прямоугольник 64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6" name="Прямоугольник 65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7" name="Прямоугольник 66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8" name="Прямоугольник 67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0" name="Прямоугольник 69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1" name="Прямоугольник 70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72" name="Прямоугольник 71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3" name="Прямоугольник 72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4" name="Прямоугольник 73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5" name="Прямоугольник 94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6" name="TextBox 95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97" name="TextBox 96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98" name="Прямоугольник 97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0" name="Прямоугольник 99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1" name="Прямоугольник 100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38606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3" r:id="rId1"/>
    <p:sldLayoutId id="2147484704" r:id="rId2"/>
    <p:sldLayoutId id="2147484705" r:id="rId3"/>
    <p:sldLayoutId id="2147484706" r:id="rId4"/>
    <p:sldLayoutId id="2147484707" r:id="rId5"/>
    <p:sldLayoutId id="2147484708" r:id="rId6"/>
    <p:sldLayoutId id="2147484709" r:id="rId7"/>
    <p:sldLayoutId id="2147484710" r:id="rId8"/>
    <p:sldLayoutId id="2147484722" r:id="rId9"/>
    <p:sldLayoutId id="2147484711" r:id="rId10"/>
    <p:sldLayoutId id="2147484712" r:id="rId11"/>
    <p:sldLayoutId id="2147484713" r:id="rId12"/>
    <p:sldLayoutId id="2147484714" r:id="rId13"/>
    <p:sldLayoutId id="2147484715" r:id="rId14"/>
    <p:sldLayoutId id="2147484716" r:id="rId15"/>
    <p:sldLayoutId id="2147484740" r:id="rId16"/>
    <p:sldLayoutId id="2147484741" r:id="rId17"/>
    <p:sldLayoutId id="2147484742" r:id="rId18"/>
    <p:sldLayoutId id="2147484745" r:id="rId19"/>
    <p:sldLayoutId id="2147484746" r:id="rId20"/>
    <p:sldLayoutId id="2147484747" r:id="rId21"/>
    <p:sldLayoutId id="2147484748" r:id="rId22"/>
    <p:sldLayoutId id="2147484743" r:id="rId23"/>
    <p:sldLayoutId id="2147484744" r:id="rId24"/>
    <p:sldLayoutId id="2147484717" r:id="rId25"/>
    <p:sldLayoutId id="2147484718" r:id="rId26"/>
    <p:sldLayoutId id="2147484719" r:id="rId27"/>
    <p:sldLayoutId id="2147484720" r:id="rId28"/>
    <p:sldLayoutId id="2147484721" r:id="rId29"/>
  </p:sldLayoutIdLst>
  <p:transition spd="slow">
    <p:wipe dir="r"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baseline="0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62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91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355684280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774" name="Слайд think-cell" r:id="rId28" imgW="270" imgH="270" progId="TCLayout.ActiveDocument.1">
                  <p:embed/>
                </p:oleObj>
              </mc:Choice>
              <mc:Fallback>
                <p:oleObj name="Слайд think-cell" r:id="rId28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7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47883"/>
            <a:ext cx="8426451" cy="6726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99" y="4755454"/>
            <a:ext cx="531784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37849" y="4760860"/>
            <a:ext cx="958450" cy="195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58774" y="1145282"/>
            <a:ext cx="8426452" cy="34060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56" name="Рисунок 55"/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78" name="Группа 77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79" name="Прямоугольник 78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80" name="Прямоугольник 79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81" name="Прямоугольник 80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82" name="Прямоугольник 81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83" name="Прямоугольник 82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84" name="Прямоугольник 83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85" name="Прямоугольник 84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86" name="Прямоугольник 85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87" name="Прямоугольник 86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88" name="Прямоугольник 87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89" name="Прямоугольник 88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90" name="Прямоугольник 89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91" name="Прямоугольник 90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92" name="Прямоугольник 91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3" name="Прямоугольник 92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4" name="TextBox 93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95" name="TextBox 94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96" name="Прямоугольник 95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7" name="Прямоугольник 96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8" name="Прямоугольник 97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7520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7" r:id="rId1"/>
    <p:sldLayoutId id="2147484306" r:id="rId2"/>
    <p:sldLayoutId id="2147484684" r:id="rId3"/>
    <p:sldLayoutId id="2147484686" r:id="rId4"/>
    <p:sldLayoutId id="2147484685" r:id="rId5"/>
    <p:sldLayoutId id="2147484672" r:id="rId6"/>
    <p:sldLayoutId id="2147484674" r:id="rId7"/>
    <p:sldLayoutId id="2147484673" r:id="rId8"/>
    <p:sldLayoutId id="2147484752" r:id="rId9"/>
    <p:sldLayoutId id="2147484753" r:id="rId10"/>
    <p:sldLayoutId id="2147484754" r:id="rId11"/>
    <p:sldLayoutId id="2147484675" r:id="rId12"/>
    <p:sldLayoutId id="2147484676" r:id="rId13"/>
    <p:sldLayoutId id="2147484751" r:id="rId14"/>
    <p:sldLayoutId id="2147484677" r:id="rId15"/>
    <p:sldLayoutId id="2147484749" r:id="rId16"/>
    <p:sldLayoutId id="2147484750" r:id="rId17"/>
    <p:sldLayoutId id="2147484681" r:id="rId18"/>
    <p:sldLayoutId id="2147484682" r:id="rId19"/>
    <p:sldLayoutId id="2147484683" r:id="rId20"/>
    <p:sldLayoutId id="2147484678" r:id="rId21"/>
    <p:sldLayoutId id="2147484679" r:id="rId22"/>
    <p:sldLayoutId id="2147484680" r:id="rId23"/>
  </p:sldLayoutIdLst>
  <p:transition spd="slow">
    <p:wipe dir="r"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defRPr lang="ru-RU" sz="1400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2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000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orient="horz" pos="2867" userDrawn="1">
          <p15:clr>
            <a:srgbClr val="F26B43"/>
          </p15:clr>
        </p15:guide>
        <p15:guide id="4" pos="5534" userDrawn="1">
          <p15:clr>
            <a:srgbClr val="F26B43"/>
          </p15:clr>
        </p15:guide>
        <p15:guide id="5" orient="horz" pos="645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  <p15:guide id="7" pos="4800" userDrawn="1">
          <p15:clr>
            <a:srgbClr val="F26B43"/>
          </p15:clr>
        </p15:guide>
        <p15:guide id="8" orient="horz" pos="1915" userDrawn="1">
          <p15:clr>
            <a:srgbClr val="F26B43"/>
          </p15:clr>
        </p15:guide>
        <p15:guide id="9" pos="3840" userDrawn="1">
          <p15:clr>
            <a:srgbClr val="F26B43"/>
          </p15:clr>
        </p15:guide>
        <p15:guide id="10" pos="960" userDrawn="1">
          <p15:clr>
            <a:srgbClr val="F26B43"/>
          </p15:clr>
        </p15:guide>
        <p15:guide id="11" pos="1920" userDrawn="1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orient="horz" pos="962" userDrawn="1">
          <p15:clr>
            <a:srgbClr val="F26B43"/>
          </p15:clr>
        </p15:guide>
        <p15:guide id="14" orient="horz" pos="1620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716" name="Слайд think-cell" r:id="rId13" imgW="270" imgH="270" progId="TCLayout.ActiveDocument.1">
                  <p:embed/>
                </p:oleObj>
              </mc:Choice>
              <mc:Fallback>
                <p:oleObj name="Слайд think-cell" r:id="rId13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12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5" y="1145282"/>
            <a:ext cx="8405216" cy="3401286"/>
          </a:xfrm>
          <a:prstGeom prst="rect">
            <a:avLst/>
          </a:prstGeom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</a:t>
            </a:r>
            <a:r>
              <a:rPr lang="ru-RU" altLang="en-US" dirty="0" smtClean="0"/>
              <a:t>уровень</a:t>
            </a:r>
          </a:p>
          <a:p>
            <a:pPr lvl="4"/>
            <a:r>
              <a:rPr lang="ru-RU" altLang="en-US" dirty="0" smtClean="0"/>
              <a:t>Пятый уровень</a:t>
            </a:r>
            <a:endParaRPr lang="ru-RU" altLang="en-US" dirty="0"/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2" y="353118"/>
            <a:ext cx="8426453" cy="66954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2" y="4755455"/>
            <a:ext cx="324954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2087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5" y="4759819"/>
            <a:ext cx="957248" cy="196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pic>
        <p:nvPicPr>
          <p:cNvPr id="61" name="Рисунок 60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59" name="Группа 58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60" name="Прямоугольник 59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3" name="Прямоугольник 6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4" name="Прямоугольник 63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5" name="Прямоугольник 64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6" name="Прямоугольник 65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7" name="Прямоугольник 66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8" name="Прямоугольник 67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0" name="Прямоугольник 69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1" name="Прямоугольник 70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72" name="Прямоугольник 71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3" name="Прямоугольник 72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4" name="Прямоугольник 73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5" name="Прямоугольник 94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6" name="TextBox 95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97" name="TextBox 96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98" name="Прямоугольник 97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0" name="Прямоугольник 99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1" name="Прямоугольник 100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77931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9" r:id="rId1"/>
    <p:sldLayoutId id="2147484755" r:id="rId2"/>
    <p:sldLayoutId id="2147484737" r:id="rId3"/>
    <p:sldLayoutId id="2147484736" r:id="rId4"/>
    <p:sldLayoutId id="2147484735" r:id="rId5"/>
    <p:sldLayoutId id="2147484734" r:id="rId6"/>
    <p:sldLayoutId id="2147484729" r:id="rId7"/>
    <p:sldLayoutId id="2147484730" r:id="rId8"/>
  </p:sldLayoutIdLst>
  <p:transition spd="slow">
    <p:wipe dir="r"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b="1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62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915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1503372853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065" name="Слайд think-cell" r:id="rId48" imgW="270" imgH="270" progId="TCLayout.ActiveDocument.1">
                  <p:embed/>
                </p:oleObj>
              </mc:Choice>
              <mc:Fallback>
                <p:oleObj name="Слайд think-cell" r:id="rId48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47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4"/>
            <a:ext cx="8426451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</a:t>
            </a:r>
            <a:r>
              <a:rPr lang="ru-RU" dirty="0" smtClean="0"/>
              <a:t>заголовка (заголовок не более 2 строк)</a:t>
            </a:r>
            <a:endParaRPr lang="ru-RU" dirty="0"/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4" y="4754388"/>
            <a:ext cx="323197" cy="2017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11643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7" y="4755454"/>
            <a:ext cx="955492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58774" y="1131889"/>
            <a:ext cx="8426451" cy="34146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61" name="Рисунок 60"/>
          <p:cNvPicPr>
            <a:picLocks noChangeAspect="1"/>
          </p:cNvPicPr>
          <p:nvPr userDrawn="1"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57" name="Группа 56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58" name="Прямоугольник 57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0" name="Прямоугольник 59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3" name="Прямоугольник 62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4" name="Прямоугольник 63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5" name="Прямоугольник 64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6" name="Прямоугольник 65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7" name="Прямоугольник 66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68" name="Прямоугольник 67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70" name="Прямоугольник 69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1" name="Прямоугольник 70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2" name="Прямоугольник 71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73" name="Прямоугольник 72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74" name="TextBox 73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75" name="TextBox 74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76" name="Прямоугольник 75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77" name="Прямоугольник 76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78" name="Прямоугольник 77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79" name="Прямоугольник 78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66189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0" r:id="rId1"/>
    <p:sldLayoutId id="2147484612" r:id="rId2"/>
    <p:sldLayoutId id="2147484631" r:id="rId3"/>
    <p:sldLayoutId id="2147484635" r:id="rId4"/>
    <p:sldLayoutId id="2147484622" r:id="rId5"/>
    <p:sldLayoutId id="2147484621" r:id="rId6"/>
    <p:sldLayoutId id="2147484633" r:id="rId7"/>
    <p:sldLayoutId id="2147484615" r:id="rId8"/>
    <p:sldLayoutId id="2147484619" r:id="rId9"/>
    <p:sldLayoutId id="2147484617" r:id="rId10"/>
    <p:sldLayoutId id="2147484618" r:id="rId11"/>
    <p:sldLayoutId id="2147484614" r:id="rId12"/>
    <p:sldLayoutId id="2147484616" r:id="rId13"/>
    <p:sldLayoutId id="2147484620" r:id="rId14"/>
    <p:sldLayoutId id="2147484634" r:id="rId15"/>
    <p:sldLayoutId id="2147484695" r:id="rId16"/>
    <p:sldLayoutId id="2147484632" r:id="rId17"/>
    <p:sldLayoutId id="2147484696" r:id="rId18"/>
    <p:sldLayoutId id="2147484629" r:id="rId19"/>
    <p:sldLayoutId id="2147484670" r:id="rId20"/>
    <p:sldLayoutId id="2147484697" r:id="rId21"/>
    <p:sldLayoutId id="2147484698" r:id="rId22"/>
    <p:sldLayoutId id="2147484541" r:id="rId23"/>
    <p:sldLayoutId id="2147484613" r:id="rId24"/>
    <p:sldLayoutId id="2147484624" r:id="rId25"/>
    <p:sldLayoutId id="2147484623" r:id="rId26"/>
    <p:sldLayoutId id="2147484627" r:id="rId27"/>
    <p:sldLayoutId id="2147484628" r:id="rId28"/>
    <p:sldLayoutId id="2147484605" r:id="rId29"/>
    <p:sldLayoutId id="2147484542" r:id="rId30"/>
    <p:sldLayoutId id="2147484604" r:id="rId31"/>
    <p:sldLayoutId id="2147484663" r:id="rId32"/>
    <p:sldLayoutId id="2147484664" r:id="rId33"/>
    <p:sldLayoutId id="2147484665" r:id="rId34"/>
    <p:sldLayoutId id="2147484666" r:id="rId35"/>
    <p:sldLayoutId id="2147484667" r:id="rId36"/>
    <p:sldLayoutId id="2147484668" r:id="rId37"/>
    <p:sldLayoutId id="2147484543" r:id="rId38"/>
    <p:sldLayoutId id="2147484544" r:id="rId39"/>
    <p:sldLayoutId id="2147484756" r:id="rId40"/>
    <p:sldLayoutId id="2147484606" r:id="rId41"/>
    <p:sldLayoutId id="2147484757" r:id="rId42"/>
    <p:sldLayoutId id="2147484546" r:id="rId43"/>
  </p:sldLayoutIdLst>
  <p:transition spd="slow">
    <p:wipe dir="r"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defRPr lang="ru-RU" sz="1400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2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000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orient="horz" pos="2867" userDrawn="1">
          <p15:clr>
            <a:srgbClr val="F26B43"/>
          </p15:clr>
        </p15:guide>
        <p15:guide id="4" pos="5534" userDrawn="1">
          <p15:clr>
            <a:srgbClr val="F26B43"/>
          </p15:clr>
        </p15:guide>
        <p15:guide id="5" orient="horz" pos="1620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  <p15:guide id="7" pos="2880" userDrawn="1">
          <p15:clr>
            <a:srgbClr val="F26B43"/>
          </p15:clr>
        </p15:guide>
        <p15:guide id="8" pos="1920" userDrawn="1">
          <p15:clr>
            <a:srgbClr val="F26B43"/>
          </p15:clr>
        </p15:guide>
        <p15:guide id="9" pos="960" userDrawn="1">
          <p15:clr>
            <a:srgbClr val="F26B43"/>
          </p15:clr>
        </p15:guide>
        <p15:guide id="10" pos="3840" userDrawn="1">
          <p15:clr>
            <a:srgbClr val="F26B43"/>
          </p15:clr>
        </p15:guide>
        <p15:guide id="11" pos="4800" userDrawn="1">
          <p15:clr>
            <a:srgbClr val="F26B43"/>
          </p15:clr>
        </p15:guide>
        <p15:guide id="12" orient="horz" pos="1915" userDrawn="1">
          <p15:clr>
            <a:srgbClr val="F26B43"/>
          </p15:clr>
        </p15:guide>
        <p15:guide id="13" orient="horz" pos="645" userDrawn="1">
          <p15:clr>
            <a:srgbClr val="F26B43"/>
          </p15:clr>
        </p15:guide>
        <p15:guide id="14" orient="horz" pos="962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265930650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970" name="Слайд think-cell" r:id="rId11" imgW="270" imgH="270" progId="TCLayout.ActiveDocument.1">
                  <p:embed/>
                </p:oleObj>
              </mc:Choice>
              <mc:Fallback>
                <p:oleObj name="Слайд think-cell" r:id="rId11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10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4" y="1131887"/>
            <a:ext cx="8426451" cy="3417927"/>
          </a:xfrm>
          <a:prstGeom prst="rect">
            <a:avLst/>
          </a:prstGeom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</a:t>
            </a:r>
            <a:r>
              <a:rPr lang="ru-RU" altLang="en-US" dirty="0" smtClean="0"/>
              <a:t>уровень</a:t>
            </a:r>
          </a:p>
          <a:p>
            <a:pPr lvl="4"/>
            <a:r>
              <a:rPr lang="ru-RU" altLang="en-US" dirty="0" smtClean="0"/>
              <a:t>Пятый уровень</a:t>
            </a:r>
            <a:endParaRPr lang="ru-RU" altLang="en-US" dirty="0"/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1952" y="339723"/>
            <a:ext cx="8423271" cy="6829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1952" y="4755453"/>
            <a:ext cx="322438" cy="20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98" y="4755454"/>
            <a:ext cx="5320802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4531" y="4755453"/>
            <a:ext cx="954186" cy="20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pic>
        <p:nvPicPr>
          <p:cNvPr id="61" name="Рисунок 60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59" name="Группа 58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60" name="Прямоугольник 59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3" name="Прямоугольник 6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4" name="Прямоугольник 63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5" name="Прямоугольник 64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6" name="Прямоугольник 65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7" name="Прямоугольник 66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8" name="Прямоугольник 67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0" name="Прямоугольник 69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1" name="Прямоугольник 70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72" name="Прямоугольник 71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3" name="Прямоугольник 72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4" name="Прямоугольник 73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5" name="Прямоугольник 94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6" name="TextBox 95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97" name="TextBox 96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98" name="Прямоугольник 97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0" name="Прямоугольник 99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1" name="Прямоугольник 100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066808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23" r:id="rId1"/>
    <p:sldLayoutId id="2147484700" r:id="rId2"/>
    <p:sldLayoutId id="2147484758" r:id="rId3"/>
    <p:sldLayoutId id="2147484759" r:id="rId4"/>
    <p:sldLayoutId id="2147484763" r:id="rId5"/>
    <p:sldLayoutId id="2147484764" r:id="rId6"/>
  </p:sldLayoutIdLst>
  <p:transition spd="slow">
    <p:wipe dir="r"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orient="horz" pos="2867" userDrawn="1">
          <p15:clr>
            <a:srgbClr val="F26B43"/>
          </p15:clr>
        </p15:guide>
        <p15:guide id="4" pos="5534" userDrawn="1">
          <p15:clr>
            <a:srgbClr val="F26B43"/>
          </p15:clr>
        </p15:guide>
        <p15:guide id="5" orient="horz" pos="645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46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73" name="Слайд think-cell" r:id="rId48" imgW="270" imgH="270" progId="TCLayout.ActiveDocument.1">
                  <p:embed/>
                </p:oleObj>
              </mc:Choice>
              <mc:Fallback>
                <p:oleObj name="Слайд think-cell" r:id="rId48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47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4"/>
            <a:ext cx="8426451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</a:t>
            </a:r>
            <a:r>
              <a:rPr lang="ru-RU" dirty="0" smtClean="0"/>
              <a:t>заголовка (заголовок не более 2 строк)</a:t>
            </a:r>
            <a:endParaRPr lang="ru-RU" dirty="0"/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4" y="4754388"/>
            <a:ext cx="323197" cy="2017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11643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7" y="4755454"/>
            <a:ext cx="955492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58774" y="1131889"/>
            <a:ext cx="8426451" cy="34146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61" name="Рисунок 60"/>
          <p:cNvPicPr>
            <a:picLocks noChangeAspect="1"/>
          </p:cNvPicPr>
          <p:nvPr userDrawn="1"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57" name="Группа 56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58" name="Прямоугольник 57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0" name="Прямоугольник 59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3" name="Прямоугольник 62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4" name="Прямоугольник 63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5" name="Прямоугольник 64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6" name="Прямоугольник 65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7" name="Прямоугольник 66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68" name="Прямоугольник 67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70" name="Прямоугольник 69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1" name="Прямоугольник 70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2" name="Прямоугольник 71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73" name="Прямоугольник 72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74" name="TextBox 73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75" name="TextBox 74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76" name="Прямоугольник 75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77" name="Прямоугольник 76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78" name="Прямоугольник 77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79" name="Прямоугольник 78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673525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6" r:id="rId1"/>
    <p:sldLayoutId id="2147484767" r:id="rId2"/>
    <p:sldLayoutId id="2147484768" r:id="rId3"/>
    <p:sldLayoutId id="2147484769" r:id="rId4"/>
    <p:sldLayoutId id="2147484770" r:id="rId5"/>
    <p:sldLayoutId id="2147484771" r:id="rId6"/>
    <p:sldLayoutId id="2147484772" r:id="rId7"/>
    <p:sldLayoutId id="2147484773" r:id="rId8"/>
    <p:sldLayoutId id="2147484774" r:id="rId9"/>
    <p:sldLayoutId id="2147484775" r:id="rId10"/>
    <p:sldLayoutId id="2147484776" r:id="rId11"/>
    <p:sldLayoutId id="2147484777" r:id="rId12"/>
    <p:sldLayoutId id="2147484778" r:id="rId13"/>
    <p:sldLayoutId id="2147484779" r:id="rId14"/>
    <p:sldLayoutId id="2147484780" r:id="rId15"/>
    <p:sldLayoutId id="2147484781" r:id="rId16"/>
    <p:sldLayoutId id="2147484782" r:id="rId17"/>
    <p:sldLayoutId id="2147484783" r:id="rId18"/>
    <p:sldLayoutId id="2147484784" r:id="rId19"/>
    <p:sldLayoutId id="2147484785" r:id="rId20"/>
    <p:sldLayoutId id="2147484786" r:id="rId21"/>
    <p:sldLayoutId id="2147484787" r:id="rId22"/>
    <p:sldLayoutId id="2147484788" r:id="rId23"/>
    <p:sldLayoutId id="2147484789" r:id="rId24"/>
    <p:sldLayoutId id="2147484790" r:id="rId25"/>
    <p:sldLayoutId id="2147484791" r:id="rId26"/>
    <p:sldLayoutId id="2147484792" r:id="rId27"/>
    <p:sldLayoutId id="2147484793" r:id="rId28"/>
    <p:sldLayoutId id="2147484794" r:id="rId29"/>
    <p:sldLayoutId id="2147484795" r:id="rId30"/>
    <p:sldLayoutId id="2147484796" r:id="rId31"/>
    <p:sldLayoutId id="2147484797" r:id="rId32"/>
    <p:sldLayoutId id="2147484798" r:id="rId33"/>
    <p:sldLayoutId id="2147484799" r:id="rId34"/>
    <p:sldLayoutId id="2147484800" r:id="rId35"/>
    <p:sldLayoutId id="2147484801" r:id="rId36"/>
    <p:sldLayoutId id="2147484802" r:id="rId37"/>
    <p:sldLayoutId id="2147484803" r:id="rId38"/>
    <p:sldLayoutId id="2147484804" r:id="rId39"/>
    <p:sldLayoutId id="2147484805" r:id="rId40"/>
    <p:sldLayoutId id="2147484806" r:id="rId41"/>
    <p:sldLayoutId id="2147484807" r:id="rId42"/>
    <p:sldLayoutId id="2147484808" r:id="rId43"/>
  </p:sldLayoutIdLst>
  <p:transition spd="slow">
    <p:wipe dir="r"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defRPr lang="ru-RU" sz="1400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2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000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1620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915">
          <p15:clr>
            <a:srgbClr val="F26B43"/>
          </p15:clr>
        </p15:guide>
        <p15:guide id="13" orient="horz" pos="645">
          <p15:clr>
            <a:srgbClr val="F26B43"/>
          </p15:clr>
        </p15:guide>
        <p15:guide id="14" orient="horz" pos="96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6.png"/><Relationship Id="rId2" Type="http://schemas.openxmlformats.org/officeDocument/2006/relationships/tags" Target="../tags/tag189.xml"/><Relationship Id="rId1" Type="http://schemas.openxmlformats.org/officeDocument/2006/relationships/vmlDrawing" Target="../drawings/vmlDrawing181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1.xml"/><Relationship Id="rId2" Type="http://schemas.openxmlformats.org/officeDocument/2006/relationships/tags" Target="../tags/tag198.xml"/><Relationship Id="rId1" Type="http://schemas.openxmlformats.org/officeDocument/2006/relationships/vmlDrawing" Target="../drawings/vmlDrawing190.vml"/><Relationship Id="rId6" Type="http://schemas.openxmlformats.org/officeDocument/2006/relationships/image" Target="../media/image1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0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13" Type="http://schemas.openxmlformats.org/officeDocument/2006/relationships/image" Target="../media/image22.emf"/><Relationship Id="rId3" Type="http://schemas.openxmlformats.org/officeDocument/2006/relationships/slideLayout" Target="../slideLayouts/slideLayout60.xml"/><Relationship Id="rId7" Type="http://schemas.openxmlformats.org/officeDocument/2006/relationships/image" Target="../media/image16.png"/><Relationship Id="rId12" Type="http://schemas.openxmlformats.org/officeDocument/2006/relationships/image" Target="../media/image21.emf"/><Relationship Id="rId2" Type="http://schemas.openxmlformats.org/officeDocument/2006/relationships/tags" Target="../tags/tag199.xml"/><Relationship Id="rId1" Type="http://schemas.openxmlformats.org/officeDocument/2006/relationships/vmlDrawing" Target="../drawings/vmlDrawing191.vml"/><Relationship Id="rId6" Type="http://schemas.openxmlformats.org/officeDocument/2006/relationships/image" Target="../media/image4.emf"/><Relationship Id="rId11" Type="http://schemas.openxmlformats.org/officeDocument/2006/relationships/image" Target="../media/image20.emf"/><Relationship Id="rId5" Type="http://schemas.openxmlformats.org/officeDocument/2006/relationships/oleObject" Target="../embeddings/oleObject191.bin"/><Relationship Id="rId10" Type="http://schemas.openxmlformats.org/officeDocument/2006/relationships/image" Target="../media/image19.emf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8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slideLayout" Target="../slideLayouts/slideLayout61.xml"/><Relationship Id="rId7" Type="http://schemas.openxmlformats.org/officeDocument/2006/relationships/image" Target="../media/image17.emf"/><Relationship Id="rId12" Type="http://schemas.openxmlformats.org/officeDocument/2006/relationships/image" Target="../media/image22.emf"/><Relationship Id="rId2" Type="http://schemas.openxmlformats.org/officeDocument/2006/relationships/tags" Target="../tags/tag200.xml"/><Relationship Id="rId1" Type="http://schemas.openxmlformats.org/officeDocument/2006/relationships/vmlDrawing" Target="../drawings/vmlDrawing192.vml"/><Relationship Id="rId6" Type="http://schemas.openxmlformats.org/officeDocument/2006/relationships/image" Target="../media/image23.jpeg"/><Relationship Id="rId11" Type="http://schemas.openxmlformats.org/officeDocument/2006/relationships/image" Target="../media/image21.emf"/><Relationship Id="rId5" Type="http://schemas.openxmlformats.org/officeDocument/2006/relationships/image" Target="../media/image4.emf"/><Relationship Id="rId10" Type="http://schemas.openxmlformats.org/officeDocument/2006/relationships/image" Target="../media/image20.emf"/><Relationship Id="rId4" Type="http://schemas.openxmlformats.org/officeDocument/2006/relationships/oleObject" Target="../embeddings/oleObject192.bin"/><Relationship Id="rId9" Type="http://schemas.openxmlformats.org/officeDocument/2006/relationships/image" Target="../media/image19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29.png"/><Relationship Id="rId18" Type="http://schemas.openxmlformats.org/officeDocument/2006/relationships/image" Target="../media/image34.png"/><Relationship Id="rId26" Type="http://schemas.openxmlformats.org/officeDocument/2006/relationships/image" Target="../media/image42.png"/><Relationship Id="rId3" Type="http://schemas.openxmlformats.org/officeDocument/2006/relationships/slideLayout" Target="../slideLayouts/slideLayout61.xml"/><Relationship Id="rId21" Type="http://schemas.openxmlformats.org/officeDocument/2006/relationships/image" Target="../media/image37.png"/><Relationship Id="rId7" Type="http://schemas.openxmlformats.org/officeDocument/2006/relationships/image" Target="../media/image24.png"/><Relationship Id="rId12" Type="http://schemas.openxmlformats.org/officeDocument/2006/relationships/image" Target="../media/image28.png"/><Relationship Id="rId17" Type="http://schemas.openxmlformats.org/officeDocument/2006/relationships/image" Target="../media/image33.png"/><Relationship Id="rId25" Type="http://schemas.openxmlformats.org/officeDocument/2006/relationships/image" Target="../media/image41.png"/><Relationship Id="rId2" Type="http://schemas.openxmlformats.org/officeDocument/2006/relationships/tags" Target="../tags/tag201.xml"/><Relationship Id="rId16" Type="http://schemas.openxmlformats.org/officeDocument/2006/relationships/image" Target="../media/image32.png"/><Relationship Id="rId20" Type="http://schemas.openxmlformats.org/officeDocument/2006/relationships/image" Target="../media/image36.png"/><Relationship Id="rId29" Type="http://schemas.openxmlformats.org/officeDocument/2006/relationships/image" Target="../media/image45.png"/><Relationship Id="rId1" Type="http://schemas.openxmlformats.org/officeDocument/2006/relationships/vmlDrawing" Target="../drawings/vmlDrawing193.vml"/><Relationship Id="rId6" Type="http://schemas.openxmlformats.org/officeDocument/2006/relationships/image" Target="../media/image4.emf"/><Relationship Id="rId11" Type="http://schemas.openxmlformats.org/officeDocument/2006/relationships/image" Target="../media/image27.png"/><Relationship Id="rId24" Type="http://schemas.openxmlformats.org/officeDocument/2006/relationships/image" Target="../media/image40.png"/><Relationship Id="rId5" Type="http://schemas.openxmlformats.org/officeDocument/2006/relationships/oleObject" Target="../embeddings/oleObject193.bin"/><Relationship Id="rId15" Type="http://schemas.openxmlformats.org/officeDocument/2006/relationships/image" Target="../media/image31.png"/><Relationship Id="rId23" Type="http://schemas.openxmlformats.org/officeDocument/2006/relationships/image" Target="../media/image39.png"/><Relationship Id="rId28" Type="http://schemas.openxmlformats.org/officeDocument/2006/relationships/image" Target="../media/image44.png"/><Relationship Id="rId10" Type="http://schemas.openxmlformats.org/officeDocument/2006/relationships/image" Target="../media/image26.png"/><Relationship Id="rId19" Type="http://schemas.openxmlformats.org/officeDocument/2006/relationships/image" Target="../media/image35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2.png"/><Relationship Id="rId14" Type="http://schemas.openxmlformats.org/officeDocument/2006/relationships/image" Target="../media/image30.png"/><Relationship Id="rId22" Type="http://schemas.openxmlformats.org/officeDocument/2006/relationships/image" Target="../media/image38.png"/><Relationship Id="rId27" Type="http://schemas.openxmlformats.org/officeDocument/2006/relationships/image" Target="../media/image43.png"/><Relationship Id="rId30" Type="http://schemas.openxmlformats.org/officeDocument/2006/relationships/image" Target="../media/image46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208.xml"/><Relationship Id="rId13" Type="http://schemas.openxmlformats.org/officeDocument/2006/relationships/tags" Target="../tags/tag213.xml"/><Relationship Id="rId18" Type="http://schemas.openxmlformats.org/officeDocument/2006/relationships/tags" Target="../tags/tag218.xml"/><Relationship Id="rId3" Type="http://schemas.openxmlformats.org/officeDocument/2006/relationships/tags" Target="../tags/tag203.xml"/><Relationship Id="rId21" Type="http://schemas.openxmlformats.org/officeDocument/2006/relationships/slideLayout" Target="../slideLayouts/slideLayout61.xml"/><Relationship Id="rId7" Type="http://schemas.openxmlformats.org/officeDocument/2006/relationships/tags" Target="../tags/tag207.xml"/><Relationship Id="rId12" Type="http://schemas.openxmlformats.org/officeDocument/2006/relationships/tags" Target="../tags/tag212.xml"/><Relationship Id="rId17" Type="http://schemas.openxmlformats.org/officeDocument/2006/relationships/tags" Target="../tags/tag217.xml"/><Relationship Id="rId2" Type="http://schemas.openxmlformats.org/officeDocument/2006/relationships/tags" Target="../tags/tag202.xml"/><Relationship Id="rId16" Type="http://schemas.openxmlformats.org/officeDocument/2006/relationships/tags" Target="../tags/tag216.xml"/><Relationship Id="rId20" Type="http://schemas.openxmlformats.org/officeDocument/2006/relationships/tags" Target="../tags/tag220.xml"/><Relationship Id="rId1" Type="http://schemas.openxmlformats.org/officeDocument/2006/relationships/vmlDrawing" Target="../drawings/vmlDrawing194.vml"/><Relationship Id="rId6" Type="http://schemas.openxmlformats.org/officeDocument/2006/relationships/tags" Target="../tags/tag206.xml"/><Relationship Id="rId11" Type="http://schemas.openxmlformats.org/officeDocument/2006/relationships/tags" Target="../tags/tag211.xml"/><Relationship Id="rId24" Type="http://schemas.openxmlformats.org/officeDocument/2006/relationships/image" Target="../media/image47.png"/><Relationship Id="rId5" Type="http://schemas.openxmlformats.org/officeDocument/2006/relationships/tags" Target="../tags/tag205.xml"/><Relationship Id="rId15" Type="http://schemas.openxmlformats.org/officeDocument/2006/relationships/tags" Target="../tags/tag215.xml"/><Relationship Id="rId23" Type="http://schemas.openxmlformats.org/officeDocument/2006/relationships/image" Target="../media/image4.emf"/><Relationship Id="rId10" Type="http://schemas.openxmlformats.org/officeDocument/2006/relationships/tags" Target="../tags/tag210.xml"/><Relationship Id="rId19" Type="http://schemas.openxmlformats.org/officeDocument/2006/relationships/tags" Target="../tags/tag219.xml"/><Relationship Id="rId4" Type="http://schemas.openxmlformats.org/officeDocument/2006/relationships/tags" Target="../tags/tag204.xml"/><Relationship Id="rId9" Type="http://schemas.openxmlformats.org/officeDocument/2006/relationships/tags" Target="../tags/tag209.xml"/><Relationship Id="rId14" Type="http://schemas.openxmlformats.org/officeDocument/2006/relationships/tags" Target="../tags/tag214.xml"/><Relationship Id="rId22" Type="http://schemas.openxmlformats.org/officeDocument/2006/relationships/oleObject" Target="../embeddings/oleObject194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emf"/><Relationship Id="rId13" Type="http://schemas.openxmlformats.org/officeDocument/2006/relationships/image" Target="../media/image54.emf"/><Relationship Id="rId18" Type="http://schemas.openxmlformats.org/officeDocument/2006/relationships/image" Target="../media/image59.emf"/><Relationship Id="rId3" Type="http://schemas.openxmlformats.org/officeDocument/2006/relationships/slideLayout" Target="../slideLayouts/slideLayout61.xml"/><Relationship Id="rId21" Type="http://schemas.openxmlformats.org/officeDocument/2006/relationships/image" Target="../media/image18.emf"/><Relationship Id="rId7" Type="http://schemas.openxmlformats.org/officeDocument/2006/relationships/image" Target="../media/image48.emf"/><Relationship Id="rId12" Type="http://schemas.openxmlformats.org/officeDocument/2006/relationships/image" Target="../media/image53.emf"/><Relationship Id="rId17" Type="http://schemas.openxmlformats.org/officeDocument/2006/relationships/image" Target="../media/image58.emf"/><Relationship Id="rId25" Type="http://schemas.openxmlformats.org/officeDocument/2006/relationships/image" Target="../media/image22.emf"/><Relationship Id="rId2" Type="http://schemas.openxmlformats.org/officeDocument/2006/relationships/tags" Target="../tags/tag221.xml"/><Relationship Id="rId16" Type="http://schemas.openxmlformats.org/officeDocument/2006/relationships/image" Target="../media/image57.emf"/><Relationship Id="rId20" Type="http://schemas.openxmlformats.org/officeDocument/2006/relationships/image" Target="../media/image17.emf"/><Relationship Id="rId1" Type="http://schemas.openxmlformats.org/officeDocument/2006/relationships/vmlDrawing" Target="../drawings/vmlDrawing195.vml"/><Relationship Id="rId6" Type="http://schemas.openxmlformats.org/officeDocument/2006/relationships/image" Target="../media/image4.emf"/><Relationship Id="rId11" Type="http://schemas.openxmlformats.org/officeDocument/2006/relationships/image" Target="../media/image52.emf"/><Relationship Id="rId24" Type="http://schemas.openxmlformats.org/officeDocument/2006/relationships/image" Target="../media/image21.emf"/><Relationship Id="rId5" Type="http://schemas.openxmlformats.org/officeDocument/2006/relationships/oleObject" Target="../embeddings/oleObject195.bin"/><Relationship Id="rId15" Type="http://schemas.openxmlformats.org/officeDocument/2006/relationships/image" Target="../media/image56.emf"/><Relationship Id="rId23" Type="http://schemas.openxmlformats.org/officeDocument/2006/relationships/image" Target="../media/image20.emf"/><Relationship Id="rId10" Type="http://schemas.openxmlformats.org/officeDocument/2006/relationships/image" Target="../media/image51.emf"/><Relationship Id="rId19" Type="http://schemas.openxmlformats.org/officeDocument/2006/relationships/image" Target="../media/image60.emf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50.emf"/><Relationship Id="rId14" Type="http://schemas.openxmlformats.org/officeDocument/2006/relationships/image" Target="../media/image55.emf"/><Relationship Id="rId22" Type="http://schemas.openxmlformats.org/officeDocument/2006/relationships/image" Target="../media/image19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13" Type="http://schemas.openxmlformats.org/officeDocument/2006/relationships/image" Target="../media/image68.png"/><Relationship Id="rId3" Type="http://schemas.openxmlformats.org/officeDocument/2006/relationships/slideLayout" Target="../slideLayouts/slideLayout60.xml"/><Relationship Id="rId7" Type="http://schemas.openxmlformats.org/officeDocument/2006/relationships/image" Target="../media/image62.png"/><Relationship Id="rId12" Type="http://schemas.openxmlformats.org/officeDocument/2006/relationships/image" Target="../media/image67.png"/><Relationship Id="rId17" Type="http://schemas.openxmlformats.org/officeDocument/2006/relationships/image" Target="../media/image72.png"/><Relationship Id="rId2" Type="http://schemas.openxmlformats.org/officeDocument/2006/relationships/tags" Target="../tags/tag222.xml"/><Relationship Id="rId16" Type="http://schemas.openxmlformats.org/officeDocument/2006/relationships/image" Target="../media/image71.png"/><Relationship Id="rId1" Type="http://schemas.openxmlformats.org/officeDocument/2006/relationships/vmlDrawing" Target="../drawings/vmlDrawing196.vml"/><Relationship Id="rId6" Type="http://schemas.openxmlformats.org/officeDocument/2006/relationships/image" Target="../media/image61.png"/><Relationship Id="rId11" Type="http://schemas.openxmlformats.org/officeDocument/2006/relationships/image" Target="../media/image66.png"/><Relationship Id="rId5" Type="http://schemas.openxmlformats.org/officeDocument/2006/relationships/image" Target="../media/image4.emf"/><Relationship Id="rId15" Type="http://schemas.openxmlformats.org/officeDocument/2006/relationships/image" Target="../media/image70.png"/><Relationship Id="rId10" Type="http://schemas.openxmlformats.org/officeDocument/2006/relationships/image" Target="../media/image65.png"/><Relationship Id="rId4" Type="http://schemas.openxmlformats.org/officeDocument/2006/relationships/oleObject" Target="../embeddings/oleObject196.bin"/><Relationship Id="rId9" Type="http://schemas.openxmlformats.org/officeDocument/2006/relationships/image" Target="../media/image64.png"/><Relationship Id="rId14" Type="http://schemas.openxmlformats.org/officeDocument/2006/relationships/image" Target="../media/image6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1.xml"/><Relationship Id="rId2" Type="http://schemas.openxmlformats.org/officeDocument/2006/relationships/tags" Target="../tags/tag223.xml"/><Relationship Id="rId1" Type="http://schemas.openxmlformats.org/officeDocument/2006/relationships/vmlDrawing" Target="../drawings/vmlDrawing19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7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115.xml"/><Relationship Id="rId7" Type="http://schemas.openxmlformats.org/officeDocument/2006/relationships/chart" Target="../charts/chart1.xml"/><Relationship Id="rId2" Type="http://schemas.openxmlformats.org/officeDocument/2006/relationships/tags" Target="../tags/tag224.xml"/><Relationship Id="rId1" Type="http://schemas.openxmlformats.org/officeDocument/2006/relationships/vmlDrawing" Target="../drawings/vmlDrawing198.vml"/><Relationship Id="rId6" Type="http://schemas.openxmlformats.org/officeDocument/2006/relationships/image" Target="../media/image73.png"/><Relationship Id="rId11" Type="http://schemas.openxmlformats.org/officeDocument/2006/relationships/image" Target="../media/image74.png"/><Relationship Id="rId5" Type="http://schemas.openxmlformats.org/officeDocument/2006/relationships/image" Target="../media/image4.emf"/><Relationship Id="rId10" Type="http://schemas.openxmlformats.org/officeDocument/2006/relationships/chart" Target="../charts/chart4.xml"/><Relationship Id="rId4" Type="http://schemas.openxmlformats.org/officeDocument/2006/relationships/oleObject" Target="../embeddings/oleObject198.bin"/><Relationship Id="rId9" Type="http://schemas.openxmlformats.org/officeDocument/2006/relationships/chart" Target="../charts/char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7.xml"/><Relationship Id="rId2" Type="http://schemas.openxmlformats.org/officeDocument/2006/relationships/tags" Target="../tags/tag225.xml"/><Relationship Id="rId1" Type="http://schemas.openxmlformats.org/officeDocument/2006/relationships/vmlDrawing" Target="../drawings/vmlDrawing199.vml"/><Relationship Id="rId6" Type="http://schemas.openxmlformats.org/officeDocument/2006/relationships/image" Target="../media/image7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9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6.png"/><Relationship Id="rId2" Type="http://schemas.openxmlformats.org/officeDocument/2006/relationships/tags" Target="../tags/tag190.xml"/><Relationship Id="rId1" Type="http://schemas.openxmlformats.org/officeDocument/2006/relationships/vmlDrawing" Target="../drawings/vmlDrawing182.vml"/><Relationship Id="rId6" Type="http://schemas.openxmlformats.org/officeDocument/2006/relationships/image" Target="../media/image7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2.bin"/></Relationships>
</file>

<file path=ppt/slides/_rels/slide2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82.xml"/><Relationship Id="rId7" Type="http://schemas.openxmlformats.org/officeDocument/2006/relationships/image" Target="../media/image76.png"/><Relationship Id="rId12" Type="http://schemas.microsoft.com/office/2007/relationships/hdphoto" Target="../media/hdphoto3.wdp"/><Relationship Id="rId2" Type="http://schemas.openxmlformats.org/officeDocument/2006/relationships/tags" Target="../tags/tag226.xml"/><Relationship Id="rId1" Type="http://schemas.openxmlformats.org/officeDocument/2006/relationships/vmlDrawing" Target="../drawings/vmlDrawing200.vml"/><Relationship Id="rId6" Type="http://schemas.openxmlformats.org/officeDocument/2006/relationships/image" Target="../media/image4.emf"/><Relationship Id="rId11" Type="http://schemas.openxmlformats.org/officeDocument/2006/relationships/image" Target="../media/image78.png"/><Relationship Id="rId5" Type="http://schemas.openxmlformats.org/officeDocument/2006/relationships/oleObject" Target="../embeddings/oleObject200.bin"/><Relationship Id="rId10" Type="http://schemas.microsoft.com/office/2007/relationships/hdphoto" Target="../media/hdphoto2.wdp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7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1.xml"/><Relationship Id="rId7" Type="http://schemas.openxmlformats.org/officeDocument/2006/relationships/image" Target="../media/image80.gif"/><Relationship Id="rId2" Type="http://schemas.openxmlformats.org/officeDocument/2006/relationships/tags" Target="../tags/tag227.xml"/><Relationship Id="rId1" Type="http://schemas.openxmlformats.org/officeDocument/2006/relationships/vmlDrawing" Target="../drawings/vmlDrawing201.vml"/><Relationship Id="rId6" Type="http://schemas.openxmlformats.org/officeDocument/2006/relationships/image" Target="../media/image79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1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1.xml"/><Relationship Id="rId2" Type="http://schemas.openxmlformats.org/officeDocument/2006/relationships/tags" Target="../tags/tag228.xml"/><Relationship Id="rId1" Type="http://schemas.openxmlformats.org/officeDocument/2006/relationships/vmlDrawing" Target="../drawings/vmlDrawing202.vml"/><Relationship Id="rId6" Type="http://schemas.openxmlformats.org/officeDocument/2006/relationships/image" Target="../media/image81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2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1.xml"/><Relationship Id="rId2" Type="http://schemas.openxmlformats.org/officeDocument/2006/relationships/tags" Target="../tags/tag229.xml"/><Relationship Id="rId1" Type="http://schemas.openxmlformats.org/officeDocument/2006/relationships/vmlDrawing" Target="../drawings/vmlDrawing203.vml"/><Relationship Id="rId6" Type="http://schemas.openxmlformats.org/officeDocument/2006/relationships/image" Target="../media/image82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3.bin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jpeg"/><Relationship Id="rId13" Type="http://schemas.openxmlformats.org/officeDocument/2006/relationships/image" Target="../media/image89.jpeg"/><Relationship Id="rId3" Type="http://schemas.openxmlformats.org/officeDocument/2006/relationships/slideLayout" Target="../slideLayouts/slideLayout61.xml"/><Relationship Id="rId7" Type="http://schemas.openxmlformats.org/officeDocument/2006/relationships/image" Target="../media/image83.jpeg"/><Relationship Id="rId12" Type="http://schemas.openxmlformats.org/officeDocument/2006/relationships/image" Target="../media/image88.jpeg"/><Relationship Id="rId2" Type="http://schemas.openxmlformats.org/officeDocument/2006/relationships/tags" Target="../tags/tag230.xml"/><Relationship Id="rId1" Type="http://schemas.openxmlformats.org/officeDocument/2006/relationships/vmlDrawing" Target="../drawings/vmlDrawing204.vml"/><Relationship Id="rId6" Type="http://schemas.openxmlformats.org/officeDocument/2006/relationships/image" Target="../media/image4.emf"/><Relationship Id="rId11" Type="http://schemas.openxmlformats.org/officeDocument/2006/relationships/image" Target="../media/image87.jpeg"/><Relationship Id="rId5" Type="http://schemas.openxmlformats.org/officeDocument/2006/relationships/oleObject" Target="../embeddings/oleObject204.bin"/><Relationship Id="rId15" Type="http://schemas.openxmlformats.org/officeDocument/2006/relationships/image" Target="../media/image91.jpeg"/><Relationship Id="rId10" Type="http://schemas.openxmlformats.org/officeDocument/2006/relationships/image" Target="../media/image86.jpe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85.jpeg"/><Relationship Id="rId14" Type="http://schemas.openxmlformats.org/officeDocument/2006/relationships/image" Target="../media/image90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6.png"/><Relationship Id="rId2" Type="http://schemas.openxmlformats.org/officeDocument/2006/relationships/tags" Target="../tags/tag191.xml"/><Relationship Id="rId1" Type="http://schemas.openxmlformats.org/officeDocument/2006/relationships/vmlDrawing" Target="../drawings/vmlDrawing183.vml"/><Relationship Id="rId6" Type="http://schemas.openxmlformats.org/officeDocument/2006/relationships/image" Target="../media/image8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6.png"/><Relationship Id="rId2" Type="http://schemas.openxmlformats.org/officeDocument/2006/relationships/tags" Target="../tags/tag192.xml"/><Relationship Id="rId1" Type="http://schemas.openxmlformats.org/officeDocument/2006/relationships/vmlDrawing" Target="../drawings/vmlDrawing184.vml"/><Relationship Id="rId6" Type="http://schemas.openxmlformats.org/officeDocument/2006/relationships/image" Target="../media/image9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6.png"/><Relationship Id="rId2" Type="http://schemas.openxmlformats.org/officeDocument/2006/relationships/tags" Target="../tags/tag193.xml"/><Relationship Id="rId1" Type="http://schemas.openxmlformats.org/officeDocument/2006/relationships/vmlDrawing" Target="../drawings/vmlDrawing185.vml"/><Relationship Id="rId6" Type="http://schemas.openxmlformats.org/officeDocument/2006/relationships/image" Target="../media/image10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6.png"/><Relationship Id="rId2" Type="http://schemas.openxmlformats.org/officeDocument/2006/relationships/tags" Target="../tags/tag194.xml"/><Relationship Id="rId1" Type="http://schemas.openxmlformats.org/officeDocument/2006/relationships/vmlDrawing" Target="../drawings/vmlDrawing186.vml"/><Relationship Id="rId6" Type="http://schemas.openxmlformats.org/officeDocument/2006/relationships/image" Target="../media/image11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6.png"/><Relationship Id="rId2" Type="http://schemas.openxmlformats.org/officeDocument/2006/relationships/tags" Target="../tags/tag195.xml"/><Relationship Id="rId1" Type="http://schemas.openxmlformats.org/officeDocument/2006/relationships/vmlDrawing" Target="../drawings/vmlDrawing187.vml"/><Relationship Id="rId6" Type="http://schemas.openxmlformats.org/officeDocument/2006/relationships/image" Target="../media/image12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6.png"/><Relationship Id="rId2" Type="http://schemas.openxmlformats.org/officeDocument/2006/relationships/tags" Target="../tags/tag196.xml"/><Relationship Id="rId1" Type="http://schemas.openxmlformats.org/officeDocument/2006/relationships/vmlDrawing" Target="../drawings/vmlDrawing188.vml"/><Relationship Id="rId6" Type="http://schemas.openxmlformats.org/officeDocument/2006/relationships/image" Target="../media/image13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1.xml"/><Relationship Id="rId2" Type="http://schemas.openxmlformats.org/officeDocument/2006/relationships/tags" Target="../tags/tag197.xml"/><Relationship Id="rId1" Type="http://schemas.openxmlformats.org/officeDocument/2006/relationships/vmlDrawing" Target="../drawings/vmlDrawing189.vml"/><Relationship Id="rId6" Type="http://schemas.openxmlformats.org/officeDocument/2006/relationships/image" Target="../media/image14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6421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69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Рисунок 13"/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9319" t="17598" r="17280" b="31468"/>
          <a:stretch/>
        </p:blipFill>
        <p:spPr/>
      </p:pic>
      <p:sp>
        <p:nvSpPr>
          <p:cNvPr id="12" name="Прямоугольник 11"/>
          <p:cNvSpPr/>
          <p:nvPr/>
        </p:nvSpPr>
        <p:spPr bwMode="auto">
          <a:xfrm>
            <a:off x="0" y="0"/>
            <a:ext cx="6573598" cy="5143500"/>
          </a:xfrm>
          <a:prstGeom prst="rect">
            <a:avLst/>
          </a:prstGeom>
          <a:gradFill>
            <a:gsLst>
              <a:gs pos="37000">
                <a:schemeClr val="accent1">
                  <a:lumMod val="5000"/>
                  <a:lumOff val="95000"/>
                  <a:alpha val="0"/>
                </a:schemeClr>
              </a:gs>
              <a:gs pos="86000">
                <a:schemeClr val="accent5">
                  <a:alpha val="71000"/>
                </a:schemeClr>
              </a:gs>
              <a:gs pos="96000">
                <a:schemeClr val="tx2">
                  <a:alpha val="86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>
          <a:xfrm>
            <a:off x="335573" y="3584432"/>
            <a:ext cx="5902452" cy="818710"/>
          </a:xfrm>
        </p:spPr>
        <p:txBody>
          <a:bodyPr vert="horz"/>
          <a:lstStyle/>
          <a:p>
            <a:r>
              <a:rPr lang="ru-RU" b="1" dirty="0" smtClean="0"/>
              <a:t>О СИБУРЕ</a:t>
            </a:r>
            <a:endParaRPr lang="ru-RU" b="1" dirty="0"/>
          </a:p>
        </p:txBody>
      </p:sp>
      <p:pic>
        <p:nvPicPr>
          <p:cNvPr id="19" name="Рисунок 18"/>
          <p:cNvPicPr>
            <a:picLocks noGrp="1" noChangeAspect="1"/>
          </p:cNvPicPr>
          <p:nvPr>
            <p:ph type="pic" sz="quarter" idx="13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5" name="Текст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0" y="4760913"/>
            <a:ext cx="319088" cy="187325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7565629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07954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2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663" b="10676"/>
          <a:stretch/>
        </p:blipFill>
        <p:spPr>
          <a:xfrm>
            <a:off x="0" y="0"/>
            <a:ext cx="9144000" cy="4551363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 bwMode="auto">
          <a:xfrm>
            <a:off x="0" y="0"/>
            <a:ext cx="9144000" cy="4551363"/>
          </a:xfrm>
          <a:prstGeom prst="rect">
            <a:avLst/>
          </a:prstGeom>
          <a:gradFill>
            <a:gsLst>
              <a:gs pos="45000">
                <a:schemeClr val="accent1">
                  <a:lumMod val="50000"/>
                  <a:alpha val="45000"/>
                </a:schemeClr>
              </a:gs>
              <a:gs pos="73000">
                <a:schemeClr val="accent1">
                  <a:alpha val="61000"/>
                </a:schemeClr>
              </a:gs>
              <a:gs pos="12987">
                <a:schemeClr val="accent1">
                  <a:lumMod val="50000"/>
                  <a:alpha val="1000"/>
                </a:schemeClr>
              </a:gs>
              <a:gs pos="96000">
                <a:schemeClr val="accent1">
                  <a:alpha val="81000"/>
                </a:schemeClr>
              </a:gs>
            </a:gsLst>
            <a:lin ang="8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>
                <a:solidFill>
                  <a:schemeClr val="bg1"/>
                </a:solidFill>
              </a:rPr>
              <a:t>Наше </a:t>
            </a:r>
            <a:r>
              <a:rPr lang="ru-RU" dirty="0" smtClean="0">
                <a:solidFill>
                  <a:schemeClr val="bg1"/>
                </a:solidFill>
              </a:rPr>
              <a:t>видение</a:t>
            </a:r>
            <a:r>
              <a:rPr lang="ru-RU" dirty="0">
                <a:solidFill>
                  <a:schemeClr val="bg1"/>
                </a:solidFill>
              </a:rPr>
              <a:t/>
            </a:r>
            <a:br>
              <a:rPr lang="ru-RU" dirty="0">
                <a:solidFill>
                  <a:schemeClr val="bg1"/>
                </a:solidFill>
              </a:rPr>
            </a:b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332398" y="2214424"/>
            <a:ext cx="8382000" cy="18835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ru-RU" sz="4800" b="1" dirty="0">
                <a:solidFill>
                  <a:schemeClr val="bg1"/>
                </a:solidFill>
              </a:rPr>
              <a:t>Раскрываем потенциал друг друга, чтобы делать мир лучше</a:t>
            </a:r>
          </a:p>
        </p:txBody>
      </p:sp>
    </p:spTree>
    <p:extLst>
      <p:ext uri="{BB962C8B-B14F-4D97-AF65-F5344CB8AC3E}">
        <p14:creationId xmlns:p14="http://schemas.microsoft.com/office/powerpoint/2010/main" val="174867702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6056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347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Рисунок 26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4570800" cy="4551363"/>
          </a:xfrm>
          <a:prstGeom prst="rect">
            <a:avLst/>
          </a:prstGeom>
        </p:spPr>
      </p:pic>
      <p:sp>
        <p:nvSpPr>
          <p:cNvPr id="17" name="Полилиния 16"/>
          <p:cNvSpPr/>
          <p:nvPr/>
        </p:nvSpPr>
        <p:spPr bwMode="auto">
          <a:xfrm>
            <a:off x="3048000" y="3028876"/>
            <a:ext cx="1524000" cy="1522487"/>
          </a:xfrm>
          <a:custGeom>
            <a:avLst/>
            <a:gdLst>
              <a:gd name="connsiteX0" fmla="*/ 761401 w 1524000"/>
              <a:gd name="connsiteY0" fmla="*/ 230282 h 1522487"/>
              <a:gd name="connsiteX1" fmla="*/ 190338 w 1524000"/>
              <a:gd name="connsiteY1" fmla="*/ 801345 h 1522487"/>
              <a:gd name="connsiteX2" fmla="*/ 761401 w 1524000"/>
              <a:gd name="connsiteY2" fmla="*/ 1372408 h 1522487"/>
              <a:gd name="connsiteX3" fmla="*/ 1332464 w 1524000"/>
              <a:gd name="connsiteY3" fmla="*/ 801345 h 1522487"/>
              <a:gd name="connsiteX4" fmla="*/ 761401 w 1524000"/>
              <a:gd name="connsiteY4" fmla="*/ 230282 h 1522487"/>
              <a:gd name="connsiteX5" fmla="*/ 0 w 1524000"/>
              <a:gd name="connsiteY5" fmla="*/ 0 h 1522487"/>
              <a:gd name="connsiteX6" fmla="*/ 1524000 w 1524000"/>
              <a:gd name="connsiteY6" fmla="*/ 0 h 1522487"/>
              <a:gd name="connsiteX7" fmla="*/ 1524000 w 1524000"/>
              <a:gd name="connsiteY7" fmla="*/ 1522487 h 1522487"/>
              <a:gd name="connsiteX8" fmla="*/ 0 w 1524000"/>
              <a:gd name="connsiteY8" fmla="*/ 1522487 h 15224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24000" h="1522487">
                <a:moveTo>
                  <a:pt x="761401" y="230282"/>
                </a:moveTo>
                <a:cubicBezTo>
                  <a:pt x="446012" y="230282"/>
                  <a:pt x="190338" y="485956"/>
                  <a:pt x="190338" y="801345"/>
                </a:cubicBezTo>
                <a:cubicBezTo>
                  <a:pt x="190338" y="1116734"/>
                  <a:pt x="446012" y="1372408"/>
                  <a:pt x="761401" y="1372408"/>
                </a:cubicBezTo>
                <a:cubicBezTo>
                  <a:pt x="1076790" y="1372408"/>
                  <a:pt x="1332464" y="1116734"/>
                  <a:pt x="1332464" y="801345"/>
                </a:cubicBezTo>
                <a:cubicBezTo>
                  <a:pt x="1332464" y="485956"/>
                  <a:pt x="1076790" y="230282"/>
                  <a:pt x="761401" y="230282"/>
                </a:cubicBezTo>
                <a:close/>
                <a:moveTo>
                  <a:pt x="0" y="0"/>
                </a:moveTo>
                <a:lnTo>
                  <a:pt x="1524000" y="0"/>
                </a:lnTo>
                <a:lnTo>
                  <a:pt x="1524000" y="1522487"/>
                </a:lnTo>
                <a:lnTo>
                  <a:pt x="0" y="1522487"/>
                </a:ln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-1198" y="1501388"/>
            <a:ext cx="1537341" cy="15271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4" name="Content Placeholder 23"/>
          <p:cNvSpPr txBox="1">
            <a:spLocks/>
          </p:cNvSpPr>
          <p:nvPr/>
        </p:nvSpPr>
        <p:spPr>
          <a:xfrm>
            <a:off x="4828348" y="293337"/>
            <a:ext cx="2596264" cy="322309"/>
          </a:xfrm>
          <a:prstGeom prst="rect">
            <a:avLst/>
          </a:prstGeom>
          <a:noFill/>
        </p:spPr>
        <p:txBody>
          <a:bodyPr vert="horz" wrap="square" lIns="72000" tIns="22436" rIns="72000" bIns="22436" rtlCol="0" anchor="ctr" anchorCtr="0">
            <a:spAutoFit/>
          </a:bodyPr>
          <a:lstStyle>
            <a:lvl1pPr marL="339145" indent="-339145" algn="ctr" defTabSz="904388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998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76721" indent="-334435" algn="l" defTabSz="904388" rtl="0" eaLnBrk="1" latinLnBrk="0" hangingPunct="1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None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9006" indent="-342285" algn="l" defTabSz="904388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61292" indent="-342285" algn="l" defTabSz="904388" rtl="0" eaLnBrk="1" latinLnBrk="0" hangingPunct="1">
              <a:spcBef>
                <a:spcPct val="20000"/>
              </a:spcBef>
              <a:buClr>
                <a:schemeClr val="bg2"/>
              </a:buClr>
              <a:buFont typeface="Arial" pitchFamily="34" charset="0"/>
              <a:buNone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94158" indent="-332864" algn="l" defTabSz="904388" rtl="0" eaLnBrk="1" latinLnBrk="0" hangingPunct="1">
              <a:spcBef>
                <a:spcPct val="20000"/>
              </a:spcBef>
              <a:buClr>
                <a:schemeClr val="bg2"/>
              </a:buClr>
              <a:buFont typeface="Arial" pitchFamily="34" charset="0"/>
              <a:buNone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7067" indent="-226097" algn="l" defTabSz="90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39260" indent="-226097" algn="l" defTabSz="90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91454" indent="-226097" algn="l" defTabSz="90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43648" indent="-226097" algn="l" defTabSz="90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782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9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ru-RU" sz="180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Ценности Компании</a:t>
            </a:r>
            <a:endParaRPr kumimoji="0" lang="en-GB" sz="180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" name="Прямоугольник 15"/>
          <p:cNvSpPr/>
          <p:nvPr/>
        </p:nvSpPr>
        <p:spPr>
          <a:xfrm>
            <a:off x="128547" y="2203449"/>
            <a:ext cx="1176157" cy="707886"/>
          </a:xfrm>
          <a:prstGeom prst="rect">
            <a:avLst/>
          </a:prstGeom>
        </p:spPr>
        <p:txBody>
          <a:bodyPr wrap="square" lIns="72000" rIns="36000">
            <a:spAutoFit/>
          </a:bodyPr>
          <a:lstStyle/>
          <a:p>
            <a:pPr lvl="0" defTabSz="779163">
              <a:defRPr/>
            </a:pPr>
            <a:r>
              <a:rPr lang="ru-RU" sz="1000" kern="0" dirty="0">
                <a:solidFill>
                  <a:schemeClr val="tx2"/>
                </a:solidFill>
              </a:rPr>
              <a:t>Вместе создаем лучшее будущее для людей и планеты</a:t>
            </a:r>
            <a:endParaRPr kumimoji="0" lang="ru-RU" sz="1000" b="0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28547" y="1631909"/>
            <a:ext cx="957044" cy="646331"/>
          </a:xfrm>
          <a:prstGeom prst="rect">
            <a:avLst/>
          </a:prstGeom>
        </p:spPr>
        <p:txBody>
          <a:bodyPr wrap="none" lIns="72000" rIns="36000">
            <a:spAutoFit/>
          </a:bodyPr>
          <a:lstStyle/>
          <a:p>
            <a:pPr marL="0" marR="0" lvl="0" indent="0" defTabSz="7791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Наша </a:t>
            </a:r>
            <a:b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миссия</a:t>
            </a: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1536742" y="3028876"/>
            <a:ext cx="1524000" cy="1522487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Прямоугольник 15"/>
          <p:cNvSpPr/>
          <p:nvPr/>
        </p:nvSpPr>
        <p:spPr>
          <a:xfrm>
            <a:off x="1642825" y="3720404"/>
            <a:ext cx="1330824" cy="707886"/>
          </a:xfrm>
          <a:prstGeom prst="rect">
            <a:avLst/>
          </a:prstGeom>
        </p:spPr>
        <p:txBody>
          <a:bodyPr wrap="square" lIns="72000" rIns="36000">
            <a:spAutoFit/>
          </a:bodyPr>
          <a:lstStyle/>
          <a:p>
            <a:pPr lvl="0" defTabSz="779163">
              <a:defRPr/>
            </a:pPr>
            <a:r>
              <a:rPr lang="ru-RU" sz="1000" kern="0" dirty="0">
                <a:solidFill>
                  <a:schemeClr val="tx2"/>
                </a:solidFill>
              </a:rPr>
              <a:t>Раскрываем потенциал друг друга, чтобы делать мир лучше</a:t>
            </a:r>
            <a:endParaRPr kumimoji="0" lang="ru-RU" sz="1000" b="0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642825" y="3133624"/>
            <a:ext cx="1078872" cy="646331"/>
          </a:xfrm>
          <a:prstGeom prst="rect">
            <a:avLst/>
          </a:prstGeom>
        </p:spPr>
        <p:txBody>
          <a:bodyPr wrap="none" lIns="72000" rIns="36000">
            <a:spAutoFit/>
          </a:bodyPr>
          <a:lstStyle/>
          <a:p>
            <a:pPr marL="0" marR="0" lvl="0" indent="0" defTabSz="7791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Наше </a:t>
            </a:r>
            <a:b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видение</a:t>
            </a:r>
          </a:p>
        </p:txBody>
      </p:sp>
      <p:sp>
        <p:nvSpPr>
          <p:cNvPr id="13" name="Полилиния 12"/>
          <p:cNvSpPr>
            <a:spLocks noChangeAspect="1"/>
          </p:cNvSpPr>
          <p:nvPr/>
        </p:nvSpPr>
        <p:spPr bwMode="auto">
          <a:xfrm>
            <a:off x="0" y="3036163"/>
            <a:ext cx="1522800" cy="15228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5" name="Овал 14"/>
          <p:cNvSpPr/>
          <p:nvPr/>
        </p:nvSpPr>
        <p:spPr bwMode="auto">
          <a:xfrm>
            <a:off x="3540062" y="3558704"/>
            <a:ext cx="538678" cy="538678"/>
          </a:xfrm>
          <a:prstGeom prst="ellipse">
            <a:avLst/>
          </a:prstGeom>
          <a:solidFill>
            <a:schemeClr val="bg1">
              <a:alpha val="73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Нижний колонтитул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24" name="object 16">
            <a:extLst>
              <a:ext uri="{FF2B5EF4-FFF2-40B4-BE49-F238E27FC236}">
                <a16:creationId xmlns:a16="http://schemas.microsoft.com/office/drawing/2014/main" id="{549C62AD-95AB-9D44-8F98-CEAC9CE18183}"/>
              </a:ext>
            </a:extLst>
          </p:cNvPr>
          <p:cNvSpPr txBox="1"/>
          <p:nvPr/>
        </p:nvSpPr>
        <p:spPr>
          <a:xfrm>
            <a:off x="6876726" y="1460450"/>
            <a:ext cx="1894710" cy="166692"/>
          </a:xfrm>
          <a:prstGeom prst="rect">
            <a:avLst/>
          </a:prstGeom>
        </p:spPr>
        <p:txBody>
          <a:bodyPr vert="horz" wrap="square" lIns="0" tIns="12680" rIns="0" bIns="0" rtlCol="0">
            <a:spAutoFit/>
          </a:bodyPr>
          <a:lstStyle/>
          <a:p>
            <a:pPr marL="12681" defTabSz="685800">
              <a:spcBef>
                <a:spcPts val="100"/>
              </a:spcBef>
              <a:defRPr/>
            </a:pPr>
            <a:r>
              <a:rPr lang="ru-RU" sz="1000" b="1" spc="-5" dirty="0">
                <a:solidFill>
                  <a:schemeClr val="tx2"/>
                </a:solidFill>
                <a:cs typeface="Arial" panose="020B0604020202020204" pitchFamily="34" charset="0"/>
              </a:rPr>
              <a:t>Взаимоуважение</a:t>
            </a:r>
          </a:p>
        </p:txBody>
      </p:sp>
      <p:sp>
        <p:nvSpPr>
          <p:cNvPr id="28" name="object 30">
            <a:extLst>
              <a:ext uri="{FF2B5EF4-FFF2-40B4-BE49-F238E27FC236}">
                <a16:creationId xmlns:a16="http://schemas.microsoft.com/office/drawing/2014/main" id="{59707BA3-4978-B443-9998-D41E69746AEB}"/>
              </a:ext>
            </a:extLst>
          </p:cNvPr>
          <p:cNvSpPr txBox="1"/>
          <p:nvPr/>
        </p:nvSpPr>
        <p:spPr>
          <a:xfrm>
            <a:off x="4905760" y="4230276"/>
            <a:ext cx="1440037" cy="166692"/>
          </a:xfrm>
          <a:prstGeom prst="rect">
            <a:avLst/>
          </a:prstGeom>
        </p:spPr>
        <p:txBody>
          <a:bodyPr vert="horz" wrap="square" lIns="0" tIns="12680" rIns="0" bIns="0" rtlCol="0">
            <a:spAutoFit/>
          </a:bodyPr>
          <a:lstStyle/>
          <a:p>
            <a:pPr marL="12681" defTabSz="685800">
              <a:spcBef>
                <a:spcPts val="100"/>
              </a:spcBef>
              <a:defRPr/>
            </a:pPr>
            <a:r>
              <a:rPr lang="ru-RU" sz="1000" b="1" dirty="0">
                <a:solidFill>
                  <a:schemeClr val="tx2"/>
                </a:solidFill>
                <a:cs typeface="Arial" panose="020B0604020202020204" pitchFamily="34" charset="0"/>
              </a:rPr>
              <a:t>Партнерство</a:t>
            </a:r>
            <a:endParaRPr sz="1000" b="1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29" name="object 22">
            <a:extLst>
              <a:ext uri="{FF2B5EF4-FFF2-40B4-BE49-F238E27FC236}">
                <a16:creationId xmlns:a16="http://schemas.microsoft.com/office/drawing/2014/main" id="{C2FC69C3-411B-E742-B249-E8EED96EFFB1}"/>
              </a:ext>
            </a:extLst>
          </p:cNvPr>
          <p:cNvSpPr txBox="1"/>
          <p:nvPr/>
        </p:nvSpPr>
        <p:spPr>
          <a:xfrm>
            <a:off x="4905760" y="2875489"/>
            <a:ext cx="1184955" cy="320580"/>
          </a:xfrm>
          <a:prstGeom prst="rect">
            <a:avLst/>
          </a:prstGeom>
        </p:spPr>
        <p:txBody>
          <a:bodyPr vert="horz" wrap="square" lIns="0" tIns="12680" rIns="0" bIns="0" rtlCol="0">
            <a:spAutoFit/>
          </a:bodyPr>
          <a:lstStyle/>
          <a:p>
            <a:pPr defTabSz="685800">
              <a:defRPr/>
            </a:pPr>
            <a:r>
              <a:rPr lang="ru-RU" sz="1000" b="1" spc="-5" dirty="0">
                <a:solidFill>
                  <a:schemeClr val="tx2"/>
                </a:solidFill>
                <a:cs typeface="Arial" panose="020B0604020202020204" pitchFamily="34" charset="0"/>
              </a:rPr>
              <a:t>Каждый день становимся лучше</a:t>
            </a:r>
          </a:p>
        </p:txBody>
      </p:sp>
      <p:sp>
        <p:nvSpPr>
          <p:cNvPr id="30" name="object 22">
            <a:extLst>
              <a:ext uri="{FF2B5EF4-FFF2-40B4-BE49-F238E27FC236}">
                <a16:creationId xmlns:a16="http://schemas.microsoft.com/office/drawing/2014/main" id="{2E8F36B2-7867-2D48-AE61-393762E3DC76}"/>
              </a:ext>
            </a:extLst>
          </p:cNvPr>
          <p:cNvSpPr txBox="1"/>
          <p:nvPr/>
        </p:nvSpPr>
        <p:spPr>
          <a:xfrm>
            <a:off x="4905760" y="1470709"/>
            <a:ext cx="1440037" cy="320580"/>
          </a:xfrm>
          <a:prstGeom prst="rect">
            <a:avLst/>
          </a:prstGeom>
        </p:spPr>
        <p:txBody>
          <a:bodyPr vert="horz" wrap="square" lIns="0" tIns="12680" rIns="0" bIns="0" rtlCol="0">
            <a:spAutoFit/>
          </a:bodyPr>
          <a:lstStyle/>
          <a:p>
            <a:pPr marL="12681" marR="322722" defTabSz="685800">
              <a:spcBef>
                <a:spcPts val="884"/>
              </a:spcBef>
              <a:defRPr/>
            </a:pPr>
            <a:r>
              <a:rPr lang="ru-RU" sz="1000" b="1" spc="-5" dirty="0">
                <a:solidFill>
                  <a:schemeClr val="tx2"/>
                </a:solidFill>
                <a:cs typeface="Arial" panose="020B0604020202020204" pitchFamily="34" charset="0"/>
              </a:rPr>
              <a:t>Сплоченная  команда</a:t>
            </a:r>
            <a:endParaRPr sz="1000" b="1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31" name="object 36">
            <a:extLst>
              <a:ext uri="{FF2B5EF4-FFF2-40B4-BE49-F238E27FC236}">
                <a16:creationId xmlns:a16="http://schemas.microsoft.com/office/drawing/2014/main" id="{2B09253B-8DD7-5842-9FDB-4C9460FAAD95}"/>
              </a:ext>
            </a:extLst>
          </p:cNvPr>
          <p:cNvSpPr txBox="1"/>
          <p:nvPr/>
        </p:nvSpPr>
        <p:spPr>
          <a:xfrm>
            <a:off x="6876726" y="4235532"/>
            <a:ext cx="2062523" cy="333404"/>
          </a:xfrm>
          <a:prstGeom prst="rect">
            <a:avLst/>
          </a:prstGeom>
        </p:spPr>
        <p:txBody>
          <a:bodyPr vert="horz" wrap="square" lIns="0" tIns="12680" rIns="0" bIns="0" rtlCol="0">
            <a:spAutoFit/>
          </a:bodyPr>
          <a:lstStyle/>
          <a:p>
            <a:pPr marL="12681" defTabSz="685800">
              <a:spcBef>
                <a:spcPts val="100"/>
              </a:spcBef>
              <a:defRPr/>
            </a:pPr>
            <a:r>
              <a:rPr lang="ru-RU" sz="1000" b="1" spc="-5" dirty="0">
                <a:solidFill>
                  <a:schemeClr val="tx2"/>
                </a:solidFill>
                <a:cs typeface="Arial" panose="020B0604020202020204" pitchFamily="34" charset="0"/>
              </a:rPr>
              <a:t>Безопасность</a:t>
            </a:r>
          </a:p>
          <a:p>
            <a:pPr marL="12681" defTabSz="685800">
              <a:spcBef>
                <a:spcPts val="100"/>
              </a:spcBef>
              <a:defRPr/>
            </a:pPr>
            <a:r>
              <a:rPr lang="ru-RU" sz="1000" b="1" spc="-5" dirty="0">
                <a:solidFill>
                  <a:schemeClr val="tx2"/>
                </a:solidFill>
                <a:cs typeface="Arial" panose="020B0604020202020204" pitchFamily="34" charset="0"/>
              </a:rPr>
              <a:t>без компромиссов</a:t>
            </a:r>
            <a:endParaRPr sz="1000" b="1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32" name="object 36">
            <a:extLst>
              <a:ext uri="{FF2B5EF4-FFF2-40B4-BE49-F238E27FC236}">
                <a16:creationId xmlns:a16="http://schemas.microsoft.com/office/drawing/2014/main" id="{69F53AD7-5FE9-D943-B20A-47B0D7A5D1DC}"/>
              </a:ext>
            </a:extLst>
          </p:cNvPr>
          <p:cNvSpPr txBox="1"/>
          <p:nvPr/>
        </p:nvSpPr>
        <p:spPr>
          <a:xfrm>
            <a:off x="6876726" y="2875691"/>
            <a:ext cx="1308939" cy="320580"/>
          </a:xfrm>
          <a:prstGeom prst="rect">
            <a:avLst/>
          </a:prstGeom>
        </p:spPr>
        <p:txBody>
          <a:bodyPr vert="horz" wrap="square" lIns="0" tIns="12680" rIns="0" bIns="0" rtlCol="0">
            <a:spAutoFit/>
          </a:bodyPr>
          <a:lstStyle/>
          <a:p>
            <a:pPr marL="12681" marR="424167" defTabSz="685800">
              <a:spcBef>
                <a:spcPts val="884"/>
              </a:spcBef>
              <a:defRPr/>
            </a:pPr>
            <a:r>
              <a:rPr lang="ru-RU" sz="1000" b="1" spc="-10" dirty="0" smtClean="0">
                <a:solidFill>
                  <a:schemeClr val="tx2"/>
                </a:solidFill>
                <a:cs typeface="Arial" panose="020B0604020202020204" pitchFamily="34" charset="0"/>
              </a:rPr>
              <a:t>Умный</a:t>
            </a:r>
            <a:r>
              <a:rPr lang="en-US" sz="1000" b="1" spc="-10" dirty="0" smtClean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000" b="1" spc="-10" dirty="0" smtClean="0">
                <a:solidFill>
                  <a:schemeClr val="tx2"/>
                </a:solidFill>
                <a:cs typeface="Arial" panose="020B0604020202020204" pitchFamily="34" charset="0"/>
              </a:rPr>
              <a:t>результат</a:t>
            </a:r>
            <a:endParaRPr sz="1000" b="1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pic>
        <p:nvPicPr>
          <p:cNvPr id="33" name="Рисунок 3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05760" y="785528"/>
            <a:ext cx="760469" cy="649928"/>
          </a:xfrm>
          <a:prstGeom prst="rect">
            <a:avLst/>
          </a:prstGeom>
        </p:spPr>
      </p:pic>
      <p:pic>
        <p:nvPicPr>
          <p:cNvPr id="34" name="Рисунок 3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76726" y="865679"/>
            <a:ext cx="654439" cy="550498"/>
          </a:xfrm>
          <a:prstGeom prst="rect">
            <a:avLst/>
          </a:prstGeom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05760" y="2144977"/>
            <a:ext cx="656016" cy="650574"/>
          </a:xfrm>
          <a:prstGeom prst="rect">
            <a:avLst/>
          </a:prstGeom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76726" y="2333963"/>
            <a:ext cx="660152" cy="463430"/>
          </a:xfrm>
          <a:prstGeom prst="rect">
            <a:avLst/>
          </a:prstGeom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05760" y="3604119"/>
            <a:ext cx="628697" cy="600190"/>
          </a:xfrm>
          <a:prstGeom prst="rect">
            <a:avLst/>
          </a:prstGeom>
        </p:spPr>
      </p:pic>
      <p:pic>
        <p:nvPicPr>
          <p:cNvPr id="38" name="Рисунок 37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76726" y="3502283"/>
            <a:ext cx="688140" cy="702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790238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8212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0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5775" r="662" b="10289"/>
          <a:stretch/>
        </p:blipFill>
        <p:spPr>
          <a:xfrm>
            <a:off x="0" y="1"/>
            <a:ext cx="9144000" cy="3309860"/>
          </a:xfrm>
          <a:prstGeom prst="rect">
            <a:avLst/>
          </a:prstGeom>
        </p:spPr>
      </p:pic>
      <p:sp>
        <p:nvSpPr>
          <p:cNvPr id="27" name="Прямоугольник 26"/>
          <p:cNvSpPr/>
          <p:nvPr/>
        </p:nvSpPr>
        <p:spPr bwMode="auto">
          <a:xfrm>
            <a:off x="0" y="0"/>
            <a:ext cx="9144000" cy="3309861"/>
          </a:xfrm>
          <a:prstGeom prst="rect">
            <a:avLst/>
          </a:prstGeom>
          <a:gradFill>
            <a:gsLst>
              <a:gs pos="74000">
                <a:schemeClr val="accent1">
                  <a:alpha val="21000"/>
                  <a:lumMod val="52000"/>
                </a:schemeClr>
              </a:gs>
              <a:gs pos="31000">
                <a:schemeClr val="accent1">
                  <a:lumMod val="50000"/>
                  <a:alpha val="0"/>
                </a:schemeClr>
              </a:gs>
              <a:gs pos="99000">
                <a:schemeClr val="accent1">
                  <a:alpha val="73000"/>
                </a:schemeClr>
              </a:gs>
            </a:gsLst>
            <a:lin ang="156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233583"/>
            <a:ext cx="2131685" cy="672627"/>
          </a:xfrm>
        </p:spPr>
        <p:txBody>
          <a:bodyPr vert="horz"/>
          <a:lstStyle/>
          <a:p>
            <a:r>
              <a:rPr lang="ru-RU" dirty="0" smtClean="0">
                <a:solidFill>
                  <a:schemeClr val="bg1"/>
                </a:solidFill>
              </a:rPr>
              <a:t>Наши ценности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10" name="object 16">
            <a:extLst>
              <a:ext uri="{FF2B5EF4-FFF2-40B4-BE49-F238E27FC236}">
                <a16:creationId xmlns:a16="http://schemas.microsoft.com/office/drawing/2014/main" id="{549C62AD-95AB-9D44-8F98-CEAC9CE18183}"/>
              </a:ext>
            </a:extLst>
          </p:cNvPr>
          <p:cNvSpPr txBox="1"/>
          <p:nvPr/>
        </p:nvSpPr>
        <p:spPr>
          <a:xfrm>
            <a:off x="1792445" y="4256059"/>
            <a:ext cx="1296000" cy="166692"/>
          </a:xfrm>
          <a:prstGeom prst="rect">
            <a:avLst/>
          </a:prstGeom>
        </p:spPr>
        <p:txBody>
          <a:bodyPr vert="horz" wrap="square" lIns="0" tIns="12680" rIns="0" bIns="0" rtlCol="0">
            <a:spAutoFit/>
          </a:bodyPr>
          <a:lstStyle/>
          <a:p>
            <a:pPr marL="12681" defTabSz="685800">
              <a:spcBef>
                <a:spcPts val="100"/>
              </a:spcBef>
              <a:defRPr/>
            </a:pPr>
            <a:r>
              <a:rPr lang="ru-RU" sz="1000" b="1" spc="-5" dirty="0">
                <a:solidFill>
                  <a:schemeClr val="tx2"/>
                </a:solidFill>
                <a:cs typeface="Arial" panose="020B0604020202020204" pitchFamily="34" charset="0"/>
              </a:rPr>
              <a:t>Взаимоуважение</a:t>
            </a:r>
          </a:p>
        </p:txBody>
      </p:sp>
      <p:sp>
        <p:nvSpPr>
          <p:cNvPr id="11" name="object 30">
            <a:extLst>
              <a:ext uri="{FF2B5EF4-FFF2-40B4-BE49-F238E27FC236}">
                <a16:creationId xmlns:a16="http://schemas.microsoft.com/office/drawing/2014/main" id="{59707BA3-4978-B443-9998-D41E69746AEB}"/>
              </a:ext>
            </a:extLst>
          </p:cNvPr>
          <p:cNvSpPr txBox="1"/>
          <p:nvPr/>
        </p:nvSpPr>
        <p:spPr>
          <a:xfrm>
            <a:off x="6079840" y="4256059"/>
            <a:ext cx="1440037" cy="166692"/>
          </a:xfrm>
          <a:prstGeom prst="rect">
            <a:avLst/>
          </a:prstGeom>
        </p:spPr>
        <p:txBody>
          <a:bodyPr vert="horz" wrap="square" lIns="0" tIns="12680" rIns="0" bIns="0" rtlCol="0">
            <a:spAutoFit/>
          </a:bodyPr>
          <a:lstStyle/>
          <a:p>
            <a:pPr marL="12681" defTabSz="685800">
              <a:spcBef>
                <a:spcPts val="100"/>
              </a:spcBef>
              <a:defRPr/>
            </a:pPr>
            <a:r>
              <a:rPr lang="ru-RU" sz="1000" b="1" dirty="0">
                <a:solidFill>
                  <a:schemeClr val="tx2"/>
                </a:solidFill>
                <a:cs typeface="Arial" panose="020B0604020202020204" pitchFamily="34" charset="0"/>
              </a:rPr>
              <a:t>Партнерство</a:t>
            </a:r>
            <a:endParaRPr sz="1000" b="1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12" name="object 22">
            <a:extLst>
              <a:ext uri="{FF2B5EF4-FFF2-40B4-BE49-F238E27FC236}">
                <a16:creationId xmlns:a16="http://schemas.microsoft.com/office/drawing/2014/main" id="{C2FC69C3-411B-E742-B249-E8EED96EFFB1}"/>
              </a:ext>
            </a:extLst>
          </p:cNvPr>
          <p:cNvSpPr txBox="1"/>
          <p:nvPr/>
        </p:nvSpPr>
        <p:spPr>
          <a:xfrm>
            <a:off x="3237043" y="4256059"/>
            <a:ext cx="1406488" cy="320580"/>
          </a:xfrm>
          <a:prstGeom prst="rect">
            <a:avLst/>
          </a:prstGeom>
        </p:spPr>
        <p:txBody>
          <a:bodyPr vert="horz" wrap="square" lIns="0" tIns="12680" rIns="0" bIns="0" rtlCol="0">
            <a:spAutoFit/>
          </a:bodyPr>
          <a:lstStyle/>
          <a:p>
            <a:pPr defTabSz="685800">
              <a:defRPr/>
            </a:pPr>
            <a:r>
              <a:rPr lang="ru-RU" sz="1000" b="1" spc="-5" dirty="0">
                <a:solidFill>
                  <a:schemeClr val="tx2"/>
                </a:solidFill>
                <a:cs typeface="Arial" panose="020B0604020202020204" pitchFamily="34" charset="0"/>
              </a:rPr>
              <a:t>Каждый день становимся лучше</a:t>
            </a:r>
          </a:p>
        </p:txBody>
      </p:sp>
      <p:sp>
        <p:nvSpPr>
          <p:cNvPr id="13" name="object 22">
            <a:extLst>
              <a:ext uri="{FF2B5EF4-FFF2-40B4-BE49-F238E27FC236}">
                <a16:creationId xmlns:a16="http://schemas.microsoft.com/office/drawing/2014/main" id="{2E8F36B2-7867-2D48-AE61-393762E3DC76}"/>
              </a:ext>
            </a:extLst>
          </p:cNvPr>
          <p:cNvSpPr txBox="1"/>
          <p:nvPr/>
        </p:nvSpPr>
        <p:spPr>
          <a:xfrm>
            <a:off x="360028" y="4256059"/>
            <a:ext cx="1440037" cy="320580"/>
          </a:xfrm>
          <a:prstGeom prst="rect">
            <a:avLst/>
          </a:prstGeom>
        </p:spPr>
        <p:txBody>
          <a:bodyPr vert="horz" wrap="square" lIns="0" tIns="12680" rIns="0" bIns="0" rtlCol="0">
            <a:spAutoFit/>
          </a:bodyPr>
          <a:lstStyle/>
          <a:p>
            <a:pPr marL="12681" marR="322722" defTabSz="685800">
              <a:spcBef>
                <a:spcPts val="884"/>
              </a:spcBef>
              <a:defRPr/>
            </a:pPr>
            <a:r>
              <a:rPr lang="ru-RU" sz="1000" b="1" spc="-5" dirty="0">
                <a:solidFill>
                  <a:schemeClr val="tx2"/>
                </a:solidFill>
                <a:cs typeface="Arial" panose="020B0604020202020204" pitchFamily="34" charset="0"/>
              </a:rPr>
              <a:t>Сплоченная  команда</a:t>
            </a:r>
            <a:endParaRPr sz="1000" b="1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14" name="object 36">
            <a:extLst>
              <a:ext uri="{FF2B5EF4-FFF2-40B4-BE49-F238E27FC236}">
                <a16:creationId xmlns:a16="http://schemas.microsoft.com/office/drawing/2014/main" id="{2B09253B-8DD7-5842-9FDB-4C9460FAAD95}"/>
              </a:ext>
            </a:extLst>
          </p:cNvPr>
          <p:cNvSpPr txBox="1"/>
          <p:nvPr/>
        </p:nvSpPr>
        <p:spPr>
          <a:xfrm>
            <a:off x="7475304" y="4256059"/>
            <a:ext cx="1368098" cy="333404"/>
          </a:xfrm>
          <a:prstGeom prst="rect">
            <a:avLst/>
          </a:prstGeom>
        </p:spPr>
        <p:txBody>
          <a:bodyPr vert="horz" wrap="square" lIns="0" tIns="12680" rIns="0" bIns="0" rtlCol="0">
            <a:spAutoFit/>
          </a:bodyPr>
          <a:lstStyle/>
          <a:p>
            <a:pPr marL="12681" defTabSz="685800">
              <a:spcBef>
                <a:spcPts val="100"/>
              </a:spcBef>
              <a:defRPr/>
            </a:pPr>
            <a:r>
              <a:rPr lang="ru-RU" sz="1000" b="1" spc="-5" dirty="0">
                <a:solidFill>
                  <a:schemeClr val="tx2"/>
                </a:solidFill>
                <a:cs typeface="Arial" panose="020B0604020202020204" pitchFamily="34" charset="0"/>
              </a:rPr>
              <a:t>Безопасность</a:t>
            </a:r>
          </a:p>
          <a:p>
            <a:pPr marL="12681" defTabSz="685800">
              <a:spcBef>
                <a:spcPts val="100"/>
              </a:spcBef>
              <a:defRPr/>
            </a:pPr>
            <a:r>
              <a:rPr lang="ru-RU" sz="1000" b="1" spc="-5" dirty="0">
                <a:solidFill>
                  <a:schemeClr val="tx2"/>
                </a:solidFill>
                <a:cs typeface="Arial" panose="020B0604020202020204" pitchFamily="34" charset="0"/>
              </a:rPr>
              <a:t>без компромиссов</a:t>
            </a:r>
            <a:endParaRPr sz="1000" b="1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15" name="object 36">
            <a:extLst>
              <a:ext uri="{FF2B5EF4-FFF2-40B4-BE49-F238E27FC236}">
                <a16:creationId xmlns:a16="http://schemas.microsoft.com/office/drawing/2014/main" id="{69F53AD7-5FE9-D943-B20A-47B0D7A5D1DC}"/>
              </a:ext>
            </a:extLst>
          </p:cNvPr>
          <p:cNvSpPr txBox="1"/>
          <p:nvPr/>
        </p:nvSpPr>
        <p:spPr>
          <a:xfrm>
            <a:off x="4660305" y="4256059"/>
            <a:ext cx="1308939" cy="320580"/>
          </a:xfrm>
          <a:prstGeom prst="rect">
            <a:avLst/>
          </a:prstGeom>
        </p:spPr>
        <p:txBody>
          <a:bodyPr vert="horz" wrap="square" lIns="0" tIns="12680" rIns="0" bIns="0" rtlCol="0">
            <a:spAutoFit/>
          </a:bodyPr>
          <a:lstStyle/>
          <a:p>
            <a:pPr marL="12681" marR="424167" defTabSz="685800">
              <a:spcBef>
                <a:spcPts val="884"/>
              </a:spcBef>
              <a:defRPr/>
            </a:pPr>
            <a:r>
              <a:rPr lang="ru-RU" sz="1000" b="1" spc="-10" dirty="0" smtClean="0">
                <a:solidFill>
                  <a:schemeClr val="tx2"/>
                </a:solidFill>
                <a:cs typeface="Arial" panose="020B0604020202020204" pitchFamily="34" charset="0"/>
              </a:rPr>
              <a:t>Умный</a:t>
            </a:r>
            <a:r>
              <a:rPr lang="en-US" sz="1000" b="1" spc="-10" dirty="0" smtClean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000" b="1" spc="-10" dirty="0" smtClean="0">
                <a:solidFill>
                  <a:schemeClr val="tx2"/>
                </a:solidFill>
                <a:cs typeface="Arial" panose="020B0604020202020204" pitchFamily="34" charset="0"/>
              </a:rPr>
              <a:t>результат</a:t>
            </a:r>
            <a:endParaRPr sz="1000" b="1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2465" y="3526820"/>
            <a:ext cx="768891" cy="657126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28772" y="3589303"/>
            <a:ext cx="661687" cy="556595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3935" y="3526416"/>
            <a:ext cx="663280" cy="657778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60305" y="3644022"/>
            <a:ext cx="667463" cy="468562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79840" y="3558077"/>
            <a:ext cx="635661" cy="606838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5304" y="3494081"/>
            <a:ext cx="695760" cy="709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886537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Объект 4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4544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7942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8" name="Прямоугольник 237">
            <a:extLst>
              <a:ext uri="{FF2B5EF4-FFF2-40B4-BE49-F238E27FC236}">
                <a16:creationId xmlns:a16="http://schemas.microsoft.com/office/drawing/2014/main" id="{3EF806B6-A3D2-48FA-9633-07EB58398039}"/>
              </a:ext>
            </a:extLst>
          </p:cNvPr>
          <p:cNvSpPr/>
          <p:nvPr/>
        </p:nvSpPr>
        <p:spPr bwMode="auto">
          <a:xfrm>
            <a:off x="6009119" y="1017177"/>
            <a:ext cx="877671" cy="3528000"/>
          </a:xfrm>
          <a:prstGeom prst="rect">
            <a:avLst/>
          </a:prstGeom>
          <a:solidFill>
            <a:srgbClr val="F7F7F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3EF806B6-A3D2-48FA-9633-07EB58398039}"/>
              </a:ext>
            </a:extLst>
          </p:cNvPr>
          <p:cNvSpPr/>
          <p:nvPr/>
        </p:nvSpPr>
        <p:spPr bwMode="auto">
          <a:xfrm>
            <a:off x="6795430" y="1017177"/>
            <a:ext cx="1087340" cy="3528000"/>
          </a:xfrm>
          <a:prstGeom prst="rect">
            <a:avLst/>
          </a:prstGeom>
          <a:solidFill>
            <a:srgbClr val="F0F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3EF806B6-A3D2-48FA-9633-07EB58398039}"/>
              </a:ext>
            </a:extLst>
          </p:cNvPr>
          <p:cNvSpPr/>
          <p:nvPr/>
        </p:nvSpPr>
        <p:spPr bwMode="auto">
          <a:xfrm>
            <a:off x="7882771" y="1017177"/>
            <a:ext cx="894432" cy="3528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3EF806B6-A3D2-48FA-9633-07EB58398039}"/>
              </a:ext>
            </a:extLst>
          </p:cNvPr>
          <p:cNvSpPr/>
          <p:nvPr/>
        </p:nvSpPr>
        <p:spPr bwMode="auto">
          <a:xfrm>
            <a:off x="358775" y="1017177"/>
            <a:ext cx="2689224" cy="1560667"/>
          </a:xfrm>
          <a:prstGeom prst="rect">
            <a:avLst/>
          </a:prstGeom>
          <a:solidFill>
            <a:srgbClr val="F0F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510C47CF-D267-415F-851C-DB6B7B2088A7}"/>
              </a:ext>
            </a:extLst>
          </p:cNvPr>
          <p:cNvSpPr/>
          <p:nvPr/>
        </p:nvSpPr>
        <p:spPr bwMode="auto">
          <a:xfrm>
            <a:off x="3047999" y="1017177"/>
            <a:ext cx="2977636" cy="352742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510C47CF-D267-415F-851C-DB6B7B2088A7}"/>
              </a:ext>
            </a:extLst>
          </p:cNvPr>
          <p:cNvSpPr/>
          <p:nvPr/>
        </p:nvSpPr>
        <p:spPr bwMode="auto">
          <a:xfrm>
            <a:off x="358775" y="2564988"/>
            <a:ext cx="2689224" cy="197961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Бизнес-модель компании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3</a:t>
            </a:fld>
            <a:endParaRPr lang="ru-RU" dirty="0"/>
          </a:p>
        </p:txBody>
      </p:sp>
      <p:sp>
        <p:nvSpPr>
          <p:cNvPr id="7" name="object 23">
            <a:extLst>
              <a:ext uri="{FF2B5EF4-FFF2-40B4-BE49-F238E27FC236}">
                <a16:creationId xmlns:a16="http://schemas.microsoft.com/office/drawing/2014/main" id="{B9BA4909-E9D2-49A0-8A8D-EB22FB5A4CFE}"/>
              </a:ext>
            </a:extLst>
          </p:cNvPr>
          <p:cNvSpPr txBox="1"/>
          <p:nvPr/>
        </p:nvSpPr>
        <p:spPr>
          <a:xfrm>
            <a:off x="592597" y="1281714"/>
            <a:ext cx="792000" cy="2092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ru-RU"/>
            </a:defPPr>
            <a:lvl1pPr marR="5080" lvl="0" fontAlgn="auto">
              <a:lnSpc>
                <a:spcPct val="1233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cs typeface="Arial"/>
              </a:defRPr>
            </a:lvl1pPr>
          </a:lstStyle>
          <a:p>
            <a:pPr>
              <a:lnSpc>
                <a:spcPct val="85000"/>
              </a:lnSpc>
              <a:spcBef>
                <a:spcPts val="0"/>
              </a:spcBef>
              <a:spcAft>
                <a:spcPts val="300"/>
              </a:spcAft>
            </a:pPr>
            <a:r>
              <a:rPr lang="ru-RU" sz="800" dirty="0"/>
              <a:t>Нефтегазовые компании</a:t>
            </a:r>
            <a:endParaRPr sz="800" dirty="0"/>
          </a:p>
        </p:txBody>
      </p:sp>
      <p:pic>
        <p:nvPicPr>
          <p:cNvPr id="14" name="Рисунок 2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058" y="1553539"/>
            <a:ext cx="413996" cy="396642"/>
          </a:xfrm>
          <a:prstGeom prst="rect">
            <a:avLst/>
          </a:prstGeom>
        </p:spPr>
      </p:pic>
      <p:pic>
        <p:nvPicPr>
          <p:cNvPr id="15" name="Рисунок 2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3342" y="1575264"/>
            <a:ext cx="412078" cy="337791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529581" y="1903456"/>
            <a:ext cx="40409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smtClean="0">
                <a:solidFill>
                  <a:schemeClr val="tx2"/>
                </a:solidFill>
              </a:rPr>
              <a:t>ПНГ</a:t>
            </a:r>
            <a:endParaRPr lang="en-US" sz="800" dirty="0">
              <a:solidFill>
                <a:schemeClr val="tx2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132416" y="1903456"/>
            <a:ext cx="54239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dirty="0" smtClean="0">
                <a:solidFill>
                  <a:schemeClr val="tx2"/>
                </a:solidFill>
              </a:rPr>
              <a:t>ЖУВС</a:t>
            </a:r>
            <a:endParaRPr lang="en-US" sz="800" dirty="0">
              <a:solidFill>
                <a:schemeClr val="tx2"/>
              </a:solidFill>
            </a:endParaRPr>
          </a:p>
        </p:txBody>
      </p:sp>
      <p:sp>
        <p:nvSpPr>
          <p:cNvPr id="19" name="object 25">
            <a:extLst>
              <a:ext uri="{FF2B5EF4-FFF2-40B4-BE49-F238E27FC236}">
                <a16:creationId xmlns:a16="http://schemas.microsoft.com/office/drawing/2014/main" id="{2DCD6FDC-5632-4675-BB87-F0C6EF7B4422}"/>
              </a:ext>
            </a:extLst>
          </p:cNvPr>
          <p:cNvSpPr txBox="1"/>
          <p:nvPr/>
        </p:nvSpPr>
        <p:spPr>
          <a:xfrm>
            <a:off x="765910" y="3088317"/>
            <a:ext cx="635484" cy="2092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080" lvl="0" defTabSz="778986" rtl="0" eaLnBrk="1" fontAlgn="auto" latinLnBrk="0" hangingPunct="1">
              <a:lnSpc>
                <a:spcPct val="85000"/>
              </a:lnSpc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Газопере</a:t>
            </a: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-работка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0" name="object 25">
            <a:extLst>
              <a:ext uri="{FF2B5EF4-FFF2-40B4-BE49-F238E27FC236}">
                <a16:creationId xmlns:a16="http://schemas.microsoft.com/office/drawing/2014/main" id="{2DCD6FDC-5632-4675-BB87-F0C6EF7B4422}"/>
              </a:ext>
            </a:extLst>
          </p:cNvPr>
          <p:cNvSpPr txBox="1"/>
          <p:nvPr/>
        </p:nvSpPr>
        <p:spPr>
          <a:xfrm>
            <a:off x="1898198" y="3094201"/>
            <a:ext cx="894029" cy="2092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ru-RU"/>
            </a:defPPr>
            <a:lvl1pPr marR="5080" lvl="0" fontAlgn="auto">
              <a:lnSpc>
                <a:spcPct val="1233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cs typeface="Arial"/>
              </a:defRPr>
            </a:lvl1pPr>
          </a:lstStyle>
          <a:p>
            <a:pPr>
              <a:lnSpc>
                <a:spcPct val="85000"/>
              </a:lnSpc>
              <a:spcBef>
                <a:spcPts val="0"/>
              </a:spcBef>
              <a:spcAft>
                <a:spcPts val="300"/>
              </a:spcAft>
            </a:pPr>
            <a:r>
              <a:rPr lang="ru-RU" sz="800" dirty="0" err="1"/>
              <a:t>Газофракци-онирование</a:t>
            </a:r>
            <a:endParaRPr sz="800" dirty="0"/>
          </a:p>
        </p:txBody>
      </p:sp>
      <p:sp>
        <p:nvSpPr>
          <p:cNvPr id="22" name="object 36">
            <a:extLst>
              <a:ext uri="{FF2B5EF4-FFF2-40B4-BE49-F238E27FC236}">
                <a16:creationId xmlns:a16="http://schemas.microsoft.com/office/drawing/2014/main" id="{0171F4FA-2F0C-479C-9DD0-D04EB398765F}"/>
              </a:ext>
            </a:extLst>
          </p:cNvPr>
          <p:cNvSpPr txBox="1"/>
          <p:nvPr/>
        </p:nvSpPr>
        <p:spPr>
          <a:xfrm>
            <a:off x="1673716" y="1281714"/>
            <a:ext cx="684000" cy="2092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ru-RU"/>
            </a:defPPr>
            <a:lvl1pPr marR="5080" lvl="0" fontAlgn="auto">
              <a:lnSpc>
                <a:spcPct val="1233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cs typeface="Arial"/>
              </a:defRPr>
            </a:lvl1pPr>
          </a:lstStyle>
          <a:p>
            <a:pPr>
              <a:lnSpc>
                <a:spcPct val="85000"/>
              </a:lnSpc>
              <a:spcBef>
                <a:spcPts val="0"/>
              </a:spcBef>
              <a:spcAft>
                <a:spcPts val="300"/>
              </a:spcAft>
            </a:pPr>
            <a:r>
              <a:rPr lang="ru-RU" sz="800" dirty="0" err="1"/>
              <a:t>Нефте</a:t>
            </a:r>
            <a:r>
              <a:rPr lang="ru-RU" sz="800" dirty="0"/>
              <a:t>-переработка</a:t>
            </a:r>
            <a:endParaRPr sz="800" dirty="0"/>
          </a:p>
        </p:txBody>
      </p:sp>
      <p:sp>
        <p:nvSpPr>
          <p:cNvPr id="24" name="object 25">
            <a:extLst>
              <a:ext uri="{FF2B5EF4-FFF2-40B4-BE49-F238E27FC236}">
                <a16:creationId xmlns:a16="http://schemas.microsoft.com/office/drawing/2014/main" id="{2DCD6FDC-5632-4675-BB87-F0C6EF7B4422}"/>
              </a:ext>
            </a:extLst>
          </p:cNvPr>
          <p:cNvSpPr txBox="1"/>
          <p:nvPr/>
        </p:nvSpPr>
        <p:spPr>
          <a:xfrm>
            <a:off x="3996811" y="1304802"/>
            <a:ext cx="1107489" cy="1046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ru-RU"/>
            </a:defPPr>
            <a:lvl1pPr marR="5080" lvl="0" fontAlgn="auto">
              <a:lnSpc>
                <a:spcPct val="1233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cs typeface="Arial"/>
              </a:defRPr>
            </a:lvl1pPr>
          </a:lstStyle>
          <a:p>
            <a:pPr algn="ctr">
              <a:lnSpc>
                <a:spcPct val="85000"/>
              </a:lnSpc>
              <a:spcBef>
                <a:spcPts val="0"/>
              </a:spcBef>
              <a:spcAft>
                <a:spcPts val="300"/>
              </a:spcAft>
            </a:pPr>
            <a:r>
              <a:rPr lang="ru-RU" sz="800" dirty="0"/>
              <a:t>Полимеризация</a:t>
            </a:r>
            <a:endParaRPr sz="800" dirty="0"/>
          </a:p>
        </p:txBody>
      </p:sp>
      <p:sp>
        <p:nvSpPr>
          <p:cNvPr id="25" name="object 61">
            <a:extLst>
              <a:ext uri="{FF2B5EF4-FFF2-40B4-BE49-F238E27FC236}">
                <a16:creationId xmlns:a16="http://schemas.microsoft.com/office/drawing/2014/main" id="{956A7876-F849-46F4-B0BF-DD0DC6F5C6E7}"/>
              </a:ext>
            </a:extLst>
          </p:cNvPr>
          <p:cNvSpPr txBox="1"/>
          <p:nvPr/>
        </p:nvSpPr>
        <p:spPr>
          <a:xfrm>
            <a:off x="5060749" y="2728289"/>
            <a:ext cx="1120991" cy="3139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0" lvl="0" defTabSz="778986" rtl="0" eaLnBrk="1" fontAlgn="auto" latinLnBrk="0" hangingPunct="1">
              <a:lnSpc>
                <a:spcPct val="85000"/>
              </a:lnSpc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ru-RU" sz="800" b="1" dirty="0" smtClean="0">
                <a:solidFill>
                  <a:schemeClr val="tx2"/>
                </a:solidFill>
                <a:latin typeface="Arial"/>
                <a:cs typeface="Arial"/>
              </a:rPr>
              <a:t>Продукты с содержанием вторсырья (</a:t>
            </a:r>
            <a:r>
              <a:rPr lang="en-US" sz="800" b="1" dirty="0" err="1" smtClean="0">
                <a:solidFill>
                  <a:schemeClr val="tx2"/>
                </a:solidFill>
                <a:latin typeface="Arial"/>
                <a:cs typeface="Arial"/>
              </a:rPr>
              <a:t>Vivilen</a:t>
            </a:r>
            <a:r>
              <a:rPr lang="en-US" sz="800" b="1" dirty="0" smtClean="0">
                <a:solidFill>
                  <a:schemeClr val="tx2"/>
                </a:solidFill>
                <a:latin typeface="Arial"/>
                <a:cs typeface="Arial"/>
              </a:rPr>
              <a:t>)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26" name="object 59">
            <a:extLst>
              <a:ext uri="{FF2B5EF4-FFF2-40B4-BE49-F238E27FC236}">
                <a16:creationId xmlns:a16="http://schemas.microsoft.com/office/drawing/2014/main" id="{A0378C89-9E89-4546-A5C7-72B74CE8F012}"/>
              </a:ext>
            </a:extLst>
          </p:cNvPr>
          <p:cNvSpPr txBox="1"/>
          <p:nvPr/>
        </p:nvSpPr>
        <p:spPr>
          <a:xfrm>
            <a:off x="5060749" y="2154059"/>
            <a:ext cx="1033889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0" lvl="0" defTabSz="778986" rtl="0" eaLnBrk="1" fontAlgn="auto" latinLnBrk="0" hangingPunct="1">
              <a:lnSpc>
                <a:spcPct val="85000"/>
              </a:lnSpc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ластики, эластомеры </a:t>
            </a:r>
            <a:b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 промежуточные продукты</a:t>
            </a:r>
            <a:endParaRPr kumimoji="0" sz="8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8" name="object 58">
            <a:extLst>
              <a:ext uri="{FF2B5EF4-FFF2-40B4-BE49-F238E27FC236}">
                <a16:creationId xmlns:a16="http://schemas.microsoft.com/office/drawing/2014/main" id="{B5F97722-6897-4398-A7CF-6558B24AAEE0}"/>
              </a:ext>
            </a:extLst>
          </p:cNvPr>
          <p:cNvSpPr txBox="1"/>
          <p:nvPr/>
        </p:nvSpPr>
        <p:spPr>
          <a:xfrm>
            <a:off x="5060749" y="1472193"/>
            <a:ext cx="833562" cy="2092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R="0" lvl="0" defTabSz="778986" rtl="0" eaLnBrk="1" fontAlgn="auto" latinLnBrk="0" hangingPunct="1">
              <a:lnSpc>
                <a:spcPct val="85000"/>
              </a:lnSpc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лефины</a:t>
            </a:r>
            <a:r>
              <a:rPr kumimoji="0" lang="ru-RU" sz="800" b="1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br>
              <a:rPr kumimoji="0" lang="ru-RU" sz="800" b="1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ru-RU" sz="800" b="1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 полиолефины</a:t>
            </a:r>
            <a:endParaRPr kumimoji="0" sz="8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9" name="object 25">
            <a:extLst>
              <a:ext uri="{FF2B5EF4-FFF2-40B4-BE49-F238E27FC236}">
                <a16:creationId xmlns:a16="http://schemas.microsoft.com/office/drawing/2014/main" id="{2DCD6FDC-5632-4675-BB87-F0C6EF7B4422}"/>
              </a:ext>
            </a:extLst>
          </p:cNvPr>
          <p:cNvSpPr txBox="1"/>
          <p:nvPr/>
        </p:nvSpPr>
        <p:spPr>
          <a:xfrm>
            <a:off x="3996811" y="1106662"/>
            <a:ext cx="1107489" cy="1177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ru-RU"/>
            </a:defPPr>
            <a:lvl1pPr marR="5080" lvl="0" fontAlgn="auto">
              <a:lnSpc>
                <a:spcPct val="1233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cs typeface="Arial"/>
              </a:defRPr>
            </a:lvl1pPr>
          </a:lstStyle>
          <a:p>
            <a:pPr algn="ctr">
              <a:lnSpc>
                <a:spcPct val="85000"/>
              </a:lnSpc>
              <a:spcBef>
                <a:spcPts val="0"/>
              </a:spcBef>
              <a:spcAft>
                <a:spcPts val="300"/>
              </a:spcAft>
            </a:pPr>
            <a:r>
              <a:rPr lang="ru-RU" dirty="0" smtClean="0">
                <a:solidFill>
                  <a:schemeClr val="accent6"/>
                </a:solidFill>
              </a:rPr>
              <a:t>НЕФТЕХИМИЯ</a:t>
            </a:r>
            <a:endParaRPr lang="ru-RU" dirty="0">
              <a:solidFill>
                <a:schemeClr val="accent6"/>
              </a:solidFill>
            </a:endParaRPr>
          </a:p>
        </p:txBody>
      </p:sp>
      <p:sp>
        <p:nvSpPr>
          <p:cNvPr id="30" name="object 25">
            <a:extLst>
              <a:ext uri="{FF2B5EF4-FFF2-40B4-BE49-F238E27FC236}">
                <a16:creationId xmlns:a16="http://schemas.microsoft.com/office/drawing/2014/main" id="{2DCD6FDC-5632-4675-BB87-F0C6EF7B4422}"/>
              </a:ext>
            </a:extLst>
          </p:cNvPr>
          <p:cNvSpPr txBox="1"/>
          <p:nvPr/>
        </p:nvSpPr>
        <p:spPr>
          <a:xfrm>
            <a:off x="1702189" y="2673120"/>
            <a:ext cx="1252131" cy="2400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ru-RU"/>
            </a:defPPr>
            <a:lvl1pPr marR="5080" lvl="0" fontAlgn="auto">
              <a:lnSpc>
                <a:spcPct val="1233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cs typeface="Arial"/>
              </a:defRPr>
            </a:lvl1pPr>
          </a:lstStyle>
          <a:p>
            <a:pPr algn="r">
              <a:lnSpc>
                <a:spcPct val="85000"/>
              </a:lnSpc>
              <a:spcBef>
                <a:spcPts val="0"/>
              </a:spcBef>
              <a:spcAft>
                <a:spcPts val="300"/>
              </a:spcAft>
            </a:pPr>
            <a:r>
              <a:rPr lang="ru-RU" dirty="0" smtClean="0">
                <a:solidFill>
                  <a:schemeClr val="accent6"/>
                </a:solidFill>
              </a:rPr>
              <a:t>ГАЗОПЕРЕРАБОТКА </a:t>
            </a:r>
            <a:br>
              <a:rPr lang="ru-RU" dirty="0" smtClean="0">
                <a:solidFill>
                  <a:schemeClr val="accent6"/>
                </a:solidFill>
              </a:rPr>
            </a:br>
            <a:r>
              <a:rPr lang="ru-RU" dirty="0" smtClean="0">
                <a:solidFill>
                  <a:schemeClr val="accent6"/>
                </a:solidFill>
              </a:rPr>
              <a:t>И ИНФРАСТРУКТУРА</a:t>
            </a:r>
            <a:endParaRPr lang="ru-RU" dirty="0">
              <a:solidFill>
                <a:schemeClr val="accent6"/>
              </a:solidFill>
            </a:endParaRPr>
          </a:p>
        </p:txBody>
      </p:sp>
      <p:sp>
        <p:nvSpPr>
          <p:cNvPr id="35" name="object 18">
            <a:extLst>
              <a:ext uri="{FF2B5EF4-FFF2-40B4-BE49-F238E27FC236}">
                <a16:creationId xmlns:a16="http://schemas.microsoft.com/office/drawing/2014/main" id="{C575CF59-8EB7-4229-9EF0-88F9F10C430F}"/>
              </a:ext>
            </a:extLst>
          </p:cNvPr>
          <p:cNvSpPr txBox="1"/>
          <p:nvPr/>
        </p:nvSpPr>
        <p:spPr>
          <a:xfrm>
            <a:off x="1202556" y="815319"/>
            <a:ext cx="1083251" cy="16671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778986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оставщики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6" name="object 19">
            <a:extLst>
              <a:ext uri="{FF2B5EF4-FFF2-40B4-BE49-F238E27FC236}">
                <a16:creationId xmlns:a16="http://schemas.microsoft.com/office/drawing/2014/main" id="{9BA3491B-9C33-4F55-810C-381AAF751DC4}"/>
              </a:ext>
            </a:extLst>
          </p:cNvPr>
          <p:cNvSpPr txBox="1"/>
          <p:nvPr/>
        </p:nvSpPr>
        <p:spPr>
          <a:xfrm>
            <a:off x="7004279" y="815319"/>
            <a:ext cx="743330" cy="16671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778986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-5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Клиенты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7" name="object 20">
            <a:extLst>
              <a:ext uri="{FF2B5EF4-FFF2-40B4-BE49-F238E27FC236}">
                <a16:creationId xmlns:a16="http://schemas.microsoft.com/office/drawing/2014/main" id="{F2BE925A-57B9-4596-9EA5-FE47CBB63E22}"/>
              </a:ext>
            </a:extLst>
          </p:cNvPr>
          <p:cNvSpPr txBox="1"/>
          <p:nvPr/>
        </p:nvSpPr>
        <p:spPr>
          <a:xfrm>
            <a:off x="7826843" y="661430"/>
            <a:ext cx="871434" cy="32060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ctr" defTabSz="778986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-5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Управление отходами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44" name="Рисунок 4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1409" y="839522"/>
            <a:ext cx="666742" cy="126000"/>
          </a:xfrm>
          <a:prstGeom prst="rect">
            <a:avLst/>
          </a:prstGeom>
          <a:effectLst/>
        </p:spPr>
      </p:pic>
      <p:pic>
        <p:nvPicPr>
          <p:cNvPr id="51" name="Рисунок 50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8921" y="1454796"/>
            <a:ext cx="589462" cy="600141"/>
          </a:xfrm>
          <a:prstGeom prst="rect">
            <a:avLst/>
          </a:prstGeom>
        </p:spPr>
      </p:pic>
      <p:pic>
        <p:nvPicPr>
          <p:cNvPr id="52" name="Рисунок 5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8921" y="2309109"/>
            <a:ext cx="589462" cy="600141"/>
          </a:xfrm>
          <a:prstGeom prst="rect">
            <a:avLst/>
          </a:prstGeom>
        </p:spPr>
      </p:pic>
      <p:pic>
        <p:nvPicPr>
          <p:cNvPr id="55" name="Рисунок 54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7264" y="3358999"/>
            <a:ext cx="589462" cy="600141"/>
          </a:xfrm>
          <a:prstGeom prst="rect">
            <a:avLst/>
          </a:prstGeom>
        </p:spPr>
      </p:pic>
      <p:pic>
        <p:nvPicPr>
          <p:cNvPr id="58" name="Рисунок 57"/>
          <p:cNvPicPr>
            <a:picLocks noChangeAspect="1"/>
          </p:cNvPicPr>
          <p:nvPr/>
        </p:nvPicPr>
        <p:blipFill>
          <a:blip r:embed="rId11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673" y="3321383"/>
            <a:ext cx="736228" cy="562159"/>
          </a:xfrm>
          <a:prstGeom prst="rect">
            <a:avLst/>
          </a:prstGeom>
        </p:spPr>
      </p:pic>
      <p:cxnSp>
        <p:nvCxnSpPr>
          <p:cNvPr id="60" name="Соединительная линия уступом 59"/>
          <p:cNvCxnSpPr/>
          <p:nvPr/>
        </p:nvCxnSpPr>
        <p:spPr bwMode="auto">
          <a:xfrm rot="5400000">
            <a:off x="644997" y="2848749"/>
            <a:ext cx="1476000" cy="123"/>
          </a:xfrm>
          <a:prstGeom prst="bentConnector3">
            <a:avLst>
              <a:gd name="adj1" fmla="val 50000"/>
            </a:avLst>
          </a:prstGeom>
          <a:solidFill>
            <a:srgbClr val="008C95"/>
          </a:solidFill>
          <a:ln w="28575" cap="flat" cmpd="sng" algn="ctr">
            <a:solidFill>
              <a:sysClr val="window" lastClr="FFFFFF">
                <a:lumMod val="65000"/>
              </a:sysClr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3" name="Соединительная линия уступом 72"/>
          <p:cNvCxnSpPr/>
          <p:nvPr/>
        </p:nvCxnSpPr>
        <p:spPr bwMode="auto">
          <a:xfrm>
            <a:off x="1233856" y="3584840"/>
            <a:ext cx="1804700" cy="288088"/>
          </a:xfrm>
          <a:prstGeom prst="bentConnector3">
            <a:avLst>
              <a:gd name="adj1" fmla="val 177"/>
            </a:avLst>
          </a:prstGeom>
          <a:solidFill>
            <a:srgbClr val="008C95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5" name="Прямая со стрелкой 84"/>
          <p:cNvCxnSpPr/>
          <p:nvPr/>
        </p:nvCxnSpPr>
        <p:spPr bwMode="auto">
          <a:xfrm>
            <a:off x="1026160" y="3584928"/>
            <a:ext cx="873741" cy="0"/>
          </a:xfrm>
          <a:prstGeom prst="straightConnector1">
            <a:avLst/>
          </a:prstGeom>
          <a:solidFill>
            <a:srgbClr val="008C95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59" name="Рисунок 58"/>
          <p:cNvPicPr>
            <a:picLocks noChangeAspect="1"/>
          </p:cNvPicPr>
          <p:nvPr/>
        </p:nvPicPr>
        <p:blipFill>
          <a:blip r:embed="rId11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6213" y="3321383"/>
            <a:ext cx="736228" cy="562159"/>
          </a:xfrm>
          <a:prstGeom prst="rect">
            <a:avLst/>
          </a:prstGeom>
        </p:spPr>
      </p:pic>
      <p:cxnSp>
        <p:nvCxnSpPr>
          <p:cNvPr id="90" name="Прямая со стрелкой 89"/>
          <p:cNvCxnSpPr/>
          <p:nvPr/>
        </p:nvCxnSpPr>
        <p:spPr bwMode="auto">
          <a:xfrm flipH="1">
            <a:off x="712932" y="2126261"/>
            <a:ext cx="0" cy="1212056"/>
          </a:xfrm>
          <a:prstGeom prst="straightConnector1">
            <a:avLst/>
          </a:prstGeom>
          <a:solidFill>
            <a:srgbClr val="008C95"/>
          </a:solidFill>
          <a:ln w="28575" cap="flat" cmpd="sng" algn="ctr">
            <a:solidFill>
              <a:sysClr val="window" lastClr="FFFFFF">
                <a:lumMod val="65000"/>
              </a:sysClr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3" name="Прямая со стрелкой 92"/>
          <p:cNvCxnSpPr/>
          <p:nvPr/>
        </p:nvCxnSpPr>
        <p:spPr bwMode="auto">
          <a:xfrm>
            <a:off x="2442892" y="3584928"/>
            <a:ext cx="612000" cy="0"/>
          </a:xfrm>
          <a:prstGeom prst="straightConnector1">
            <a:avLst/>
          </a:prstGeom>
          <a:solidFill>
            <a:srgbClr val="008C95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9" name="Прямая со стрелкой 98"/>
          <p:cNvCxnSpPr/>
          <p:nvPr/>
        </p:nvCxnSpPr>
        <p:spPr bwMode="auto">
          <a:xfrm>
            <a:off x="4126921" y="2646205"/>
            <a:ext cx="252000" cy="0"/>
          </a:xfrm>
          <a:prstGeom prst="straightConnector1">
            <a:avLst/>
          </a:prstGeom>
          <a:solidFill>
            <a:srgbClr val="008C95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8" name="Прямая со стрелкой 107"/>
          <p:cNvCxnSpPr/>
          <p:nvPr/>
        </p:nvCxnSpPr>
        <p:spPr bwMode="auto">
          <a:xfrm>
            <a:off x="5061259" y="2646205"/>
            <a:ext cx="972000" cy="0"/>
          </a:xfrm>
          <a:prstGeom prst="straightConnector1">
            <a:avLst/>
          </a:prstGeom>
          <a:solidFill>
            <a:srgbClr val="008C95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0" name="Прямая со стрелкой 109"/>
          <p:cNvCxnSpPr/>
          <p:nvPr/>
        </p:nvCxnSpPr>
        <p:spPr bwMode="auto">
          <a:xfrm>
            <a:off x="5061259" y="1751860"/>
            <a:ext cx="972000" cy="0"/>
          </a:xfrm>
          <a:prstGeom prst="straightConnector1">
            <a:avLst/>
          </a:prstGeom>
          <a:solidFill>
            <a:srgbClr val="008C95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11" name="Рисунок 110"/>
          <p:cNvPicPr>
            <a:picLocks noChangeAspect="1"/>
          </p:cNvPicPr>
          <p:nvPr/>
        </p:nvPicPr>
        <p:blipFill>
          <a:blip r:embed="rId11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2100" y="3530584"/>
            <a:ext cx="736228" cy="562159"/>
          </a:xfrm>
          <a:prstGeom prst="rect">
            <a:avLst/>
          </a:prstGeom>
        </p:spPr>
      </p:pic>
      <p:sp>
        <p:nvSpPr>
          <p:cNvPr id="112" name="object 61">
            <a:extLst>
              <a:ext uri="{FF2B5EF4-FFF2-40B4-BE49-F238E27FC236}">
                <a16:creationId xmlns:a16="http://schemas.microsoft.com/office/drawing/2014/main" id="{956A7876-F849-46F4-B0BF-DD0DC6F5C6E7}"/>
              </a:ext>
            </a:extLst>
          </p:cNvPr>
          <p:cNvSpPr txBox="1"/>
          <p:nvPr/>
        </p:nvSpPr>
        <p:spPr>
          <a:xfrm>
            <a:off x="5060749" y="3695487"/>
            <a:ext cx="1120991" cy="1046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0" lvl="0" defTabSz="778986" rtl="0" eaLnBrk="1" fontAlgn="auto" latinLnBrk="0" hangingPunct="1">
              <a:lnSpc>
                <a:spcPct val="85000"/>
              </a:lnSpc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ru-RU" sz="800" b="1" dirty="0" smtClean="0">
                <a:solidFill>
                  <a:schemeClr val="tx2"/>
                </a:solidFill>
                <a:latin typeface="Arial"/>
                <a:cs typeface="Arial"/>
              </a:rPr>
              <a:t>Продукты из СО2</a:t>
            </a:r>
            <a:endParaRPr kumimoji="0" sz="8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cxnSp>
        <p:nvCxnSpPr>
          <p:cNvPr id="123" name="Соединительная линия уступом 122"/>
          <p:cNvCxnSpPr/>
          <p:nvPr/>
        </p:nvCxnSpPr>
        <p:spPr bwMode="auto">
          <a:xfrm rot="5400000">
            <a:off x="5738432" y="1998906"/>
            <a:ext cx="778615" cy="4104000"/>
          </a:xfrm>
          <a:prstGeom prst="bentConnector2">
            <a:avLst/>
          </a:prstGeom>
          <a:solidFill>
            <a:srgbClr val="008C95"/>
          </a:solidFill>
          <a:ln w="28575" cap="rnd" cmpd="sng" algn="ctr">
            <a:solidFill>
              <a:schemeClr val="bg2">
                <a:lumMod val="75000"/>
              </a:schemeClr>
            </a:solidFill>
            <a:prstDash val="sysDash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4" name="Соединительная линия уступом 123"/>
          <p:cNvCxnSpPr/>
          <p:nvPr/>
        </p:nvCxnSpPr>
        <p:spPr bwMode="auto">
          <a:xfrm rot="5400000" flipH="1" flipV="1">
            <a:off x="3424096" y="3500961"/>
            <a:ext cx="1692000" cy="180000"/>
          </a:xfrm>
          <a:prstGeom prst="bentConnector2">
            <a:avLst/>
          </a:prstGeom>
          <a:solidFill>
            <a:srgbClr val="008C95"/>
          </a:solidFill>
          <a:ln w="28575" cap="rnd" cmpd="sng" algn="ctr">
            <a:solidFill>
              <a:schemeClr val="bg2">
                <a:lumMod val="75000"/>
              </a:schemeClr>
            </a:solidFill>
            <a:prstDash val="sysDash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5" name="Straight Arrow Connector 63"/>
          <p:cNvCxnSpPr/>
          <p:nvPr/>
        </p:nvCxnSpPr>
        <p:spPr bwMode="auto">
          <a:xfrm>
            <a:off x="8179740" y="3084492"/>
            <a:ext cx="0" cy="252360"/>
          </a:xfrm>
          <a:prstGeom prst="straightConnector1">
            <a:avLst/>
          </a:prstGeom>
          <a:solidFill>
            <a:srgbClr val="008C95"/>
          </a:solidFill>
          <a:ln w="28575" cap="rnd" cmpd="sng" algn="ctr">
            <a:solidFill>
              <a:schemeClr val="bg2">
                <a:lumMod val="75000"/>
              </a:schemeClr>
            </a:solidFill>
            <a:prstDash val="sysDash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6" name="Соединительная линия уступом 125"/>
          <p:cNvCxnSpPr/>
          <p:nvPr/>
        </p:nvCxnSpPr>
        <p:spPr bwMode="auto">
          <a:xfrm rot="5400000" flipH="1" flipV="1">
            <a:off x="3816305" y="2212548"/>
            <a:ext cx="905295" cy="180000"/>
          </a:xfrm>
          <a:prstGeom prst="bentConnector3">
            <a:avLst>
              <a:gd name="adj1" fmla="val 100082"/>
            </a:avLst>
          </a:prstGeom>
          <a:solidFill>
            <a:srgbClr val="008C95"/>
          </a:solidFill>
          <a:ln w="28575" cap="rnd" cmpd="sng" algn="ctr">
            <a:solidFill>
              <a:schemeClr val="bg2">
                <a:lumMod val="75000"/>
              </a:schemeClr>
            </a:solidFill>
            <a:prstDash val="sysDash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34" name="Рисунок 133"/>
          <p:cNvPicPr>
            <a:picLocks noChangeAspect="1"/>
          </p:cNvPicPr>
          <p:nvPr/>
        </p:nvPicPr>
        <p:blipFill>
          <a:blip r:embed="rId11" cstate="print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8371" y="1453812"/>
            <a:ext cx="736228" cy="562159"/>
          </a:xfrm>
          <a:prstGeom prst="rect">
            <a:avLst/>
          </a:prstGeom>
        </p:spPr>
      </p:pic>
      <p:cxnSp>
        <p:nvCxnSpPr>
          <p:cNvPr id="146" name="Соединительная линия уступом 145"/>
          <p:cNvCxnSpPr/>
          <p:nvPr/>
        </p:nvCxnSpPr>
        <p:spPr bwMode="auto">
          <a:xfrm>
            <a:off x="1962879" y="2108585"/>
            <a:ext cx="1944000" cy="0"/>
          </a:xfrm>
          <a:prstGeom prst="bentConnector3">
            <a:avLst>
              <a:gd name="adj1" fmla="val 50000"/>
            </a:avLst>
          </a:prstGeom>
          <a:solidFill>
            <a:srgbClr val="008C95"/>
          </a:solidFill>
          <a:ln w="28575" cap="flat" cmpd="sng" algn="ctr">
            <a:solidFill>
              <a:sysClr val="window" lastClr="FFFFFF">
                <a:lumMod val="65000"/>
              </a:sysClr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1" name="Прямая со стрелкой 150"/>
          <p:cNvCxnSpPr/>
          <p:nvPr/>
        </p:nvCxnSpPr>
        <p:spPr bwMode="auto">
          <a:xfrm>
            <a:off x="3676944" y="3866159"/>
            <a:ext cx="684000" cy="0"/>
          </a:xfrm>
          <a:prstGeom prst="straightConnector1">
            <a:avLst/>
          </a:prstGeom>
          <a:solidFill>
            <a:srgbClr val="008C95"/>
          </a:solidFill>
          <a:ln w="28575" cap="flat" cmpd="sng" algn="ctr">
            <a:solidFill>
              <a:schemeClr val="accent1"/>
            </a:solidFill>
            <a:prstDash val="sysDot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2" name="TextBox 559"/>
          <p:cNvSpPr txBox="1"/>
          <p:nvPr/>
        </p:nvSpPr>
        <p:spPr bwMode="gray">
          <a:xfrm>
            <a:off x="2592026" y="3376254"/>
            <a:ext cx="411797" cy="17953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3680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7361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1042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74723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184039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620845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057651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494460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defTabSz="629735" rtl="0" eaLnBrk="1" fontAlgn="base" latinLnBrk="0" hangingPunct="1">
              <a:lnSpc>
                <a:spcPts val="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СУГ</a:t>
            </a: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и 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нафта</a:t>
            </a:r>
            <a:endParaRPr kumimoji="0" lang="en-US" sz="700" b="0" i="1" u="none" strike="noStrike" kern="1200" cap="none" spc="0" normalizeH="0" baseline="3000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53" name="TextBox 559"/>
          <p:cNvSpPr txBox="1"/>
          <p:nvPr/>
        </p:nvSpPr>
        <p:spPr bwMode="gray">
          <a:xfrm>
            <a:off x="2535129" y="1502222"/>
            <a:ext cx="576000" cy="1154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3680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7361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1042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74723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184039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620845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057651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494460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defTabSz="629735" rtl="0" eaLnBrk="1" fontAlgn="base" latinLnBrk="0" hangingPunct="1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b="1" dirty="0" err="1" smtClean="0">
                <a:solidFill>
                  <a:schemeClr val="bg2">
                    <a:lumMod val="50000"/>
                  </a:schemeClr>
                </a:solidFill>
              </a:rPr>
              <a:t>Биосырьё</a:t>
            </a:r>
            <a:endParaRPr kumimoji="0" lang="en-US" sz="800" b="1" i="1" u="none" strike="noStrike" kern="1200" cap="none" spc="0" normalizeH="0" baseline="3000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54" name="TextBox 559"/>
          <p:cNvSpPr txBox="1"/>
          <p:nvPr/>
        </p:nvSpPr>
        <p:spPr bwMode="gray">
          <a:xfrm>
            <a:off x="1828721" y="1965845"/>
            <a:ext cx="533198" cy="90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3680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7361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1042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74723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184039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620845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057651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494460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defTabSz="629735" rtl="0" eaLnBrk="1" fontAlgn="base" latinLnBrk="0" hangingPunct="1">
              <a:lnSpc>
                <a:spcPts val="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нафта</a:t>
            </a:r>
            <a:endParaRPr kumimoji="0" lang="en-US" sz="800" b="0" i="1" u="none" strike="noStrike" kern="1200" cap="none" spc="0" normalizeH="0" baseline="3000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55" name="TextBox 559"/>
          <p:cNvSpPr txBox="1"/>
          <p:nvPr/>
        </p:nvSpPr>
        <p:spPr bwMode="gray">
          <a:xfrm>
            <a:off x="3683468" y="3753096"/>
            <a:ext cx="411797" cy="8976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3680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7361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1042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74723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184039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620845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057651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494460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defTabSz="629735" rtl="0" eaLnBrk="1" fontAlgn="base" latinLnBrk="0" hangingPunct="1">
              <a:lnSpc>
                <a:spcPts val="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СО2</a:t>
            </a:r>
            <a:endParaRPr kumimoji="0" lang="en-US" sz="700" b="0" i="1" u="none" strike="noStrike" kern="1200" cap="none" spc="0" normalizeH="0" baseline="3000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56" name="TextBox 559"/>
          <p:cNvSpPr txBox="1"/>
          <p:nvPr/>
        </p:nvSpPr>
        <p:spPr bwMode="gray">
          <a:xfrm>
            <a:off x="3677440" y="3354685"/>
            <a:ext cx="472494" cy="17953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3680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7361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1042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74723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184039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620845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057651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494460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defTabSz="629735" rtl="0" eaLnBrk="1" fontAlgn="base" latinLnBrk="0" hangingPunct="1">
              <a:lnSpc>
                <a:spcPts val="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Полуфаб-рикаты</a:t>
            </a:r>
            <a:endParaRPr kumimoji="0" lang="en-US" sz="700" b="0" i="1" u="none" strike="noStrike" kern="1200" cap="none" spc="0" normalizeH="0" baseline="3000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59" name="TextBox 559"/>
          <p:cNvSpPr txBox="1"/>
          <p:nvPr/>
        </p:nvSpPr>
        <p:spPr bwMode="gray">
          <a:xfrm>
            <a:off x="1036589" y="3441169"/>
            <a:ext cx="411797" cy="8976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3680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7361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1042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74723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184039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620845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057651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494460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defTabSz="629735" rtl="0" eaLnBrk="1" fontAlgn="base" latinLnBrk="0" hangingPunct="1">
              <a:lnSpc>
                <a:spcPts val="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ЖУВС</a:t>
            </a:r>
            <a:endParaRPr kumimoji="0" lang="en-US" sz="700" b="0" i="1" u="none" strike="noStrike" kern="1200" cap="none" spc="0" normalizeH="0" baseline="3000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60" name="TextBox 559"/>
          <p:cNvSpPr txBox="1"/>
          <p:nvPr/>
        </p:nvSpPr>
        <p:spPr bwMode="gray">
          <a:xfrm>
            <a:off x="1321148" y="3748604"/>
            <a:ext cx="411797" cy="8976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3680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7361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1042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74723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184039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620845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057651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494460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defTabSz="629735" rtl="0" eaLnBrk="1" fontAlgn="base" latinLnBrk="0" hangingPunct="1">
              <a:lnSpc>
                <a:spcPts val="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ЖУВС</a:t>
            </a:r>
            <a:endParaRPr kumimoji="0" lang="en-US" sz="700" b="0" i="1" u="none" strike="noStrike" kern="1200" cap="none" spc="0" normalizeH="0" baseline="3000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3" name="object 25">
            <a:extLst>
              <a:ext uri="{FF2B5EF4-FFF2-40B4-BE49-F238E27FC236}">
                <a16:creationId xmlns:a16="http://schemas.microsoft.com/office/drawing/2014/main" id="{2DCD6FDC-5632-4675-BB87-F0C6EF7B4422}"/>
              </a:ext>
            </a:extLst>
          </p:cNvPr>
          <p:cNvSpPr txBox="1"/>
          <p:nvPr/>
        </p:nvSpPr>
        <p:spPr>
          <a:xfrm>
            <a:off x="3037794" y="3094201"/>
            <a:ext cx="1106324" cy="2092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ru-RU"/>
            </a:defPPr>
            <a:lvl1pPr marR="5080" lvl="0" fontAlgn="auto">
              <a:lnSpc>
                <a:spcPct val="1233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cs typeface="Arial"/>
              </a:defRPr>
            </a:lvl1pPr>
          </a:lstStyle>
          <a:p>
            <a:pPr>
              <a:lnSpc>
                <a:spcPct val="85000"/>
              </a:lnSpc>
              <a:spcBef>
                <a:spcPts val="0"/>
              </a:spcBef>
              <a:spcAft>
                <a:spcPts val="300"/>
              </a:spcAft>
            </a:pPr>
            <a:r>
              <a:rPr lang="ru-RU" sz="800" dirty="0" smtClean="0"/>
              <a:t>Пиролиз</a:t>
            </a:r>
            <a:br>
              <a:rPr lang="ru-RU" sz="800" dirty="0" smtClean="0"/>
            </a:br>
            <a:r>
              <a:rPr lang="ru-RU" sz="800" dirty="0" smtClean="0"/>
              <a:t>Дегидрирование</a:t>
            </a:r>
            <a:endParaRPr sz="800" dirty="0"/>
          </a:p>
        </p:txBody>
      </p:sp>
      <p:cxnSp>
        <p:nvCxnSpPr>
          <p:cNvPr id="166" name="Соединительная линия уступом 165"/>
          <p:cNvCxnSpPr/>
          <p:nvPr/>
        </p:nvCxnSpPr>
        <p:spPr bwMode="auto">
          <a:xfrm rot="10800000">
            <a:off x="3382475" y="3962391"/>
            <a:ext cx="638184" cy="477821"/>
          </a:xfrm>
          <a:prstGeom prst="bentConnector2">
            <a:avLst/>
          </a:prstGeom>
          <a:solidFill>
            <a:srgbClr val="008C95"/>
          </a:solidFill>
          <a:ln w="28575" cap="rnd" cmpd="sng" algn="ctr">
            <a:solidFill>
              <a:schemeClr val="bg2">
                <a:lumMod val="75000"/>
              </a:schemeClr>
            </a:solidFill>
            <a:prstDash val="sysDash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9" name="TextBox 559"/>
          <p:cNvSpPr txBox="1"/>
          <p:nvPr/>
        </p:nvSpPr>
        <p:spPr bwMode="gray">
          <a:xfrm>
            <a:off x="3620759" y="4374747"/>
            <a:ext cx="871567" cy="115416"/>
          </a:xfrm>
          <a:prstGeom prst="rect">
            <a:avLst/>
          </a:prstGeom>
          <a:solidFill>
            <a:srgbClr val="C9F3E7"/>
          </a:solidFill>
          <a:ln>
            <a:noFill/>
          </a:ln>
        </p:spPr>
        <p:txBody>
          <a:bodyPr wrap="none" lIns="72000" tIns="0" rIns="72000" bIns="0" rtlCol="0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3680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7361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1042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74723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184039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620845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057651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494460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629735" rtl="0" eaLnBrk="1" fontAlgn="base" latinLnBrk="0" hangingPunct="1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Вторичное сырьё</a:t>
            </a:r>
          </a:p>
        </p:txBody>
      </p:sp>
      <p:cxnSp>
        <p:nvCxnSpPr>
          <p:cNvPr id="172" name="Прямая со стрелкой 171"/>
          <p:cNvCxnSpPr/>
          <p:nvPr/>
        </p:nvCxnSpPr>
        <p:spPr bwMode="auto">
          <a:xfrm>
            <a:off x="5061259" y="3866159"/>
            <a:ext cx="972000" cy="0"/>
          </a:xfrm>
          <a:prstGeom prst="straightConnector1">
            <a:avLst/>
          </a:prstGeom>
          <a:solidFill>
            <a:srgbClr val="008C95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4" name="TextBox 559"/>
          <p:cNvSpPr txBox="1"/>
          <p:nvPr/>
        </p:nvSpPr>
        <p:spPr bwMode="gray">
          <a:xfrm>
            <a:off x="5060749" y="3959140"/>
            <a:ext cx="720101" cy="1046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ru-RU"/>
            </a:defPPr>
            <a:lvl1pPr marR="0" lvl="0" fontAlgn="auto">
              <a:lnSpc>
                <a:spcPct val="85000"/>
              </a:lnSpc>
              <a:spcAft>
                <a:spcPts val="300"/>
              </a:spcAft>
              <a:buClrTx/>
              <a:buSzTx/>
              <a:buFontTx/>
              <a:buNone/>
              <a:tabLst/>
              <a:defRPr sz="900" b="1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r>
              <a:rPr lang="ru-RU" sz="800" dirty="0"/>
              <a:t>СУГ</a:t>
            </a:r>
            <a:r>
              <a:rPr lang="en-US" sz="800" dirty="0"/>
              <a:t> </a:t>
            </a:r>
            <a:r>
              <a:rPr lang="ru-RU" sz="800" dirty="0"/>
              <a:t>и нафта</a:t>
            </a:r>
            <a:endParaRPr lang="en-US" sz="800" dirty="0"/>
          </a:p>
        </p:txBody>
      </p:sp>
      <p:sp>
        <p:nvSpPr>
          <p:cNvPr id="175" name="TextBox 444"/>
          <p:cNvSpPr txBox="1"/>
          <p:nvPr/>
        </p:nvSpPr>
        <p:spPr bwMode="gray">
          <a:xfrm>
            <a:off x="5060749" y="4172277"/>
            <a:ext cx="984220" cy="1046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ru-RU"/>
            </a:defPPr>
            <a:lvl1pPr marR="0" lvl="0" fontAlgn="auto">
              <a:lnSpc>
                <a:spcPct val="85000"/>
              </a:lnSpc>
              <a:spcAft>
                <a:spcPts val="300"/>
              </a:spcAft>
              <a:buClrTx/>
              <a:buSzTx/>
              <a:buFontTx/>
              <a:buNone/>
              <a:tabLst/>
              <a:defRPr sz="900" b="1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r>
              <a:rPr lang="ru-RU" sz="800" dirty="0"/>
              <a:t>Природный газ</a:t>
            </a:r>
            <a:endParaRPr lang="en-US" sz="800" dirty="0"/>
          </a:p>
        </p:txBody>
      </p:sp>
      <p:cxnSp>
        <p:nvCxnSpPr>
          <p:cNvPr id="176" name="Соединительная линия уступом 175"/>
          <p:cNvCxnSpPr/>
          <p:nvPr/>
        </p:nvCxnSpPr>
        <p:spPr bwMode="auto">
          <a:xfrm>
            <a:off x="2535129" y="1657398"/>
            <a:ext cx="1800000" cy="0"/>
          </a:xfrm>
          <a:prstGeom prst="bentConnector3">
            <a:avLst>
              <a:gd name="adj1" fmla="val 50000"/>
            </a:avLst>
          </a:prstGeom>
          <a:solidFill>
            <a:srgbClr val="008C95"/>
          </a:solidFill>
          <a:ln w="28575" cap="rnd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1" name="Соединительная линия уступом 180"/>
          <p:cNvCxnSpPr/>
          <p:nvPr/>
        </p:nvCxnSpPr>
        <p:spPr bwMode="auto">
          <a:xfrm rot="16200000" flipH="1">
            <a:off x="3775064" y="1954577"/>
            <a:ext cx="864000" cy="324000"/>
          </a:xfrm>
          <a:prstGeom prst="bentConnector3">
            <a:avLst>
              <a:gd name="adj1" fmla="val 100131"/>
            </a:avLst>
          </a:prstGeom>
          <a:solidFill>
            <a:srgbClr val="008C95"/>
          </a:solidFill>
          <a:ln w="28575" cap="rnd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4" name="Прямая соединительная линия 193"/>
          <p:cNvCxnSpPr/>
          <p:nvPr/>
        </p:nvCxnSpPr>
        <p:spPr bwMode="auto">
          <a:xfrm>
            <a:off x="4369064" y="1501970"/>
            <a:ext cx="0" cy="2412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3" name="TextBox 559"/>
          <p:cNvSpPr txBox="1"/>
          <p:nvPr/>
        </p:nvSpPr>
        <p:spPr bwMode="gray">
          <a:xfrm>
            <a:off x="4243465" y="3205380"/>
            <a:ext cx="607066" cy="2308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3680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7361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1042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74723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184039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620845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057651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494460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defTabSz="629735" rtl="0" eaLnBrk="1" fontAlgn="base" latinLnBrk="0" hangingPunct="1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Вторичное сырьё</a:t>
            </a:r>
          </a:p>
        </p:txBody>
      </p:sp>
      <p:pic>
        <p:nvPicPr>
          <p:cNvPr id="198" name="Рисунок 197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1741" y="3900840"/>
            <a:ext cx="324000" cy="324000"/>
          </a:xfrm>
          <a:prstGeom prst="rect">
            <a:avLst/>
          </a:prstGeom>
        </p:spPr>
      </p:pic>
      <p:pic>
        <p:nvPicPr>
          <p:cNvPr id="199" name="Рисунок 198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1741" y="3492638"/>
            <a:ext cx="324000" cy="324000"/>
          </a:xfrm>
          <a:prstGeom prst="rect">
            <a:avLst/>
          </a:prstGeom>
        </p:spPr>
      </p:pic>
      <p:pic>
        <p:nvPicPr>
          <p:cNvPr id="200" name="Рисунок 199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5566" y="3492638"/>
            <a:ext cx="324000" cy="324000"/>
          </a:xfrm>
          <a:prstGeom prst="rect">
            <a:avLst/>
          </a:prstGeom>
        </p:spPr>
      </p:pic>
      <p:pic>
        <p:nvPicPr>
          <p:cNvPr id="201" name="Рисунок 200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1741" y="2268032"/>
            <a:ext cx="324000" cy="324000"/>
          </a:xfrm>
          <a:prstGeom prst="rect">
            <a:avLst/>
          </a:prstGeom>
        </p:spPr>
      </p:pic>
      <p:pic>
        <p:nvPicPr>
          <p:cNvPr id="202" name="Рисунок 201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5566" y="2268032"/>
            <a:ext cx="324000" cy="324000"/>
          </a:xfrm>
          <a:prstGeom prst="rect">
            <a:avLst/>
          </a:prstGeom>
        </p:spPr>
      </p:pic>
      <p:pic>
        <p:nvPicPr>
          <p:cNvPr id="203" name="Рисунок 202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5566" y="2676234"/>
            <a:ext cx="324000" cy="324000"/>
          </a:xfrm>
          <a:prstGeom prst="rect">
            <a:avLst/>
          </a:prstGeom>
        </p:spPr>
      </p:pic>
      <p:pic>
        <p:nvPicPr>
          <p:cNvPr id="204" name="Рисунок 203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5566" y="3900840"/>
            <a:ext cx="324000" cy="324000"/>
          </a:xfrm>
          <a:prstGeom prst="rect">
            <a:avLst/>
          </a:prstGeom>
        </p:spPr>
      </p:pic>
      <p:pic>
        <p:nvPicPr>
          <p:cNvPr id="205" name="Рисунок 204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1741" y="3084436"/>
            <a:ext cx="324000" cy="324000"/>
          </a:xfrm>
          <a:prstGeom prst="rect">
            <a:avLst/>
          </a:prstGeom>
        </p:spPr>
      </p:pic>
      <p:pic>
        <p:nvPicPr>
          <p:cNvPr id="206" name="Рисунок 205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5566" y="3084436"/>
            <a:ext cx="324000" cy="324000"/>
          </a:xfrm>
          <a:prstGeom prst="rect">
            <a:avLst/>
          </a:prstGeom>
        </p:spPr>
      </p:pic>
      <p:pic>
        <p:nvPicPr>
          <p:cNvPr id="207" name="Рисунок 206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1741" y="1859830"/>
            <a:ext cx="324000" cy="324000"/>
          </a:xfrm>
          <a:prstGeom prst="rect">
            <a:avLst/>
          </a:prstGeom>
        </p:spPr>
      </p:pic>
      <p:pic>
        <p:nvPicPr>
          <p:cNvPr id="208" name="Рисунок 207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5566" y="1859830"/>
            <a:ext cx="324000" cy="324000"/>
          </a:xfrm>
          <a:prstGeom prst="rect">
            <a:avLst/>
          </a:prstGeom>
        </p:spPr>
      </p:pic>
      <p:pic>
        <p:nvPicPr>
          <p:cNvPr id="209" name="Рисунок 208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1741" y="1451628"/>
            <a:ext cx="324000" cy="324000"/>
          </a:xfrm>
          <a:prstGeom prst="rect">
            <a:avLst/>
          </a:prstGeom>
        </p:spPr>
      </p:pic>
      <p:pic>
        <p:nvPicPr>
          <p:cNvPr id="210" name="Рисунок 209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5566" y="1451628"/>
            <a:ext cx="324000" cy="324000"/>
          </a:xfrm>
          <a:prstGeom prst="rect">
            <a:avLst/>
          </a:prstGeom>
        </p:spPr>
      </p:pic>
      <p:pic>
        <p:nvPicPr>
          <p:cNvPr id="211" name="Рисунок 210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1741" y="2676234"/>
            <a:ext cx="324000" cy="324000"/>
          </a:xfrm>
          <a:prstGeom prst="rect">
            <a:avLst/>
          </a:prstGeom>
        </p:spPr>
      </p:pic>
      <p:sp>
        <p:nvSpPr>
          <p:cNvPr id="214" name="object 36">
            <a:extLst>
              <a:ext uri="{FF2B5EF4-FFF2-40B4-BE49-F238E27FC236}">
                <a16:creationId xmlns:a16="http://schemas.microsoft.com/office/drawing/2014/main" id="{0171F4FA-2F0C-479C-9DD0-D04EB398765F}"/>
              </a:ext>
            </a:extLst>
          </p:cNvPr>
          <p:cNvSpPr txBox="1"/>
          <p:nvPr/>
        </p:nvSpPr>
        <p:spPr>
          <a:xfrm>
            <a:off x="2529659" y="1281714"/>
            <a:ext cx="546968" cy="2092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ru-RU"/>
            </a:defPPr>
            <a:lvl1pPr marR="5080" lvl="0" fontAlgn="auto">
              <a:lnSpc>
                <a:spcPct val="1233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cs typeface="Arial"/>
              </a:defRPr>
            </a:lvl1pPr>
          </a:lstStyle>
          <a:p>
            <a:pPr>
              <a:lnSpc>
                <a:spcPct val="85000"/>
              </a:lnSpc>
              <a:spcBef>
                <a:spcPts val="0"/>
              </a:spcBef>
              <a:spcAft>
                <a:spcPts val="300"/>
              </a:spcAft>
            </a:pPr>
            <a:r>
              <a:rPr lang="ru-RU" sz="800" dirty="0" smtClean="0"/>
              <a:t>Внешние рынки</a:t>
            </a:r>
            <a:endParaRPr sz="800" dirty="0"/>
          </a:p>
        </p:txBody>
      </p:sp>
      <p:cxnSp>
        <p:nvCxnSpPr>
          <p:cNvPr id="217" name="Соединительная линия уступом 216"/>
          <p:cNvCxnSpPr/>
          <p:nvPr/>
        </p:nvCxnSpPr>
        <p:spPr bwMode="auto">
          <a:xfrm rot="10800000" flipV="1">
            <a:off x="4356364" y="1943854"/>
            <a:ext cx="12700" cy="504000"/>
          </a:xfrm>
          <a:prstGeom prst="bentConnector3">
            <a:avLst>
              <a:gd name="adj1" fmla="val 3542063"/>
            </a:avLst>
          </a:prstGeom>
          <a:solidFill>
            <a:srgbClr val="008C95"/>
          </a:solidFill>
          <a:ln w="28575" cap="flat" cmpd="sng" algn="ctr">
            <a:solidFill>
              <a:sysClr val="window" lastClr="FFFFFF">
                <a:lumMod val="65000"/>
              </a:sysClr>
            </a:solidFill>
            <a:prstDash val="solid"/>
            <a:round/>
            <a:headEnd type="triangl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224" name="Рисунок 297"/>
          <p:cNvPicPr>
            <a:picLocks noChangeAspect="1"/>
          </p:cNvPicPr>
          <p:nvPr/>
        </p:nvPicPr>
        <p:blipFill>
          <a:blip r:embed="rId2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015551" y="2685779"/>
            <a:ext cx="316054" cy="309443"/>
          </a:xfrm>
          <a:prstGeom prst="rect">
            <a:avLst/>
          </a:prstGeom>
        </p:spPr>
      </p:pic>
      <p:sp>
        <p:nvSpPr>
          <p:cNvPr id="225" name="TextBox 559"/>
          <p:cNvSpPr txBox="1"/>
          <p:nvPr/>
        </p:nvSpPr>
        <p:spPr bwMode="gray">
          <a:xfrm>
            <a:off x="7909304" y="3365468"/>
            <a:ext cx="773969" cy="344796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marR="0" lvl="0" indent="0" algn="r" defTabSz="629735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800" b="1" i="0" u="none" strike="noStrike" cap="none" spc="0" normalizeH="0" baseline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charset="0"/>
              </a:defRPr>
            </a:lvl1pPr>
            <a:lvl2pPr marL="43680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2pPr>
            <a:lvl3pPr marL="873614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3pPr>
            <a:lvl4pPr marL="1310423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4pPr>
            <a:lvl5pPr marL="1747233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5pPr>
            <a:lvl6pPr marL="2184039" defTabSz="873614">
              <a:defRPr>
                <a:latin typeface="Arial" charset="0"/>
              </a:defRPr>
            </a:lvl6pPr>
            <a:lvl7pPr marL="2620845" defTabSz="873614">
              <a:defRPr>
                <a:latin typeface="Arial" charset="0"/>
              </a:defRPr>
            </a:lvl7pPr>
            <a:lvl8pPr marL="3057651" defTabSz="873614">
              <a:defRPr>
                <a:latin typeface="Arial" charset="0"/>
              </a:defRPr>
            </a:lvl8pPr>
            <a:lvl9pPr marL="3494460" defTabSz="873614">
              <a:defRPr>
                <a:latin typeface="Arial" charset="0"/>
              </a:defRPr>
            </a:lvl9pPr>
          </a:lstStyle>
          <a:p>
            <a:pPr algn="l"/>
            <a:r>
              <a:rPr lang="ru-RU" dirty="0"/>
              <a:t>Химическая / механическая переработка</a:t>
            </a:r>
            <a:endParaRPr lang="en-US" dirty="0"/>
          </a:p>
        </p:txBody>
      </p:sp>
      <p:cxnSp>
        <p:nvCxnSpPr>
          <p:cNvPr id="226" name="Straight Arrow Connector 63"/>
          <p:cNvCxnSpPr/>
          <p:nvPr/>
        </p:nvCxnSpPr>
        <p:spPr bwMode="auto">
          <a:xfrm>
            <a:off x="7909304" y="2447855"/>
            <a:ext cx="264274" cy="0"/>
          </a:xfrm>
          <a:prstGeom prst="straightConnector1">
            <a:avLst/>
          </a:prstGeom>
          <a:solidFill>
            <a:srgbClr val="008C95"/>
          </a:solidFill>
          <a:ln w="28575" cap="rnd" cmpd="sng" algn="ctr">
            <a:solidFill>
              <a:schemeClr val="bg2">
                <a:lumMod val="75000"/>
              </a:schemeClr>
            </a:solidFill>
            <a:prstDash val="sysDash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5" name="Соединительная линия уступом 94"/>
          <p:cNvCxnSpPr/>
          <p:nvPr/>
        </p:nvCxnSpPr>
        <p:spPr bwMode="auto">
          <a:xfrm flipV="1">
            <a:off x="3677206" y="1754867"/>
            <a:ext cx="691200" cy="1836000"/>
          </a:xfrm>
          <a:prstGeom prst="bentConnector3">
            <a:avLst>
              <a:gd name="adj1" fmla="val 65261"/>
            </a:avLst>
          </a:prstGeom>
          <a:solidFill>
            <a:srgbClr val="008C95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8" name="Соединительная линия уступом 87"/>
          <p:cNvCxnSpPr/>
          <p:nvPr/>
        </p:nvCxnSpPr>
        <p:spPr bwMode="auto">
          <a:xfrm rot="16200000" flipH="1">
            <a:off x="3905638" y="1986597"/>
            <a:ext cx="316800" cy="3938400"/>
          </a:xfrm>
          <a:prstGeom prst="bentConnector2">
            <a:avLst/>
          </a:prstGeom>
          <a:solidFill>
            <a:srgbClr val="008C95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7" name="Соединительная линия уступом 86"/>
          <p:cNvCxnSpPr/>
          <p:nvPr/>
        </p:nvCxnSpPr>
        <p:spPr bwMode="auto">
          <a:xfrm rot="16200000" flipH="1">
            <a:off x="3106933" y="1396198"/>
            <a:ext cx="540000" cy="5328000"/>
          </a:xfrm>
          <a:prstGeom prst="bentConnector2">
            <a:avLst/>
          </a:prstGeom>
          <a:solidFill>
            <a:srgbClr val="008C95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228" name="Рисунок 227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415097">
            <a:off x="6032869" y="3752287"/>
            <a:ext cx="563520" cy="487346"/>
          </a:xfrm>
          <a:prstGeom prst="rect">
            <a:avLst/>
          </a:prstGeom>
        </p:spPr>
      </p:pic>
      <p:pic>
        <p:nvPicPr>
          <p:cNvPr id="229" name="Рисунок 228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7810" y="2464965"/>
            <a:ext cx="335723" cy="245967"/>
          </a:xfrm>
          <a:prstGeom prst="rect">
            <a:avLst/>
          </a:prstGeom>
        </p:spPr>
      </p:pic>
      <p:pic>
        <p:nvPicPr>
          <p:cNvPr id="230" name="Рисунок 229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419435">
            <a:off x="6369476" y="3987760"/>
            <a:ext cx="227262" cy="202671"/>
          </a:xfrm>
          <a:prstGeom prst="rect">
            <a:avLst/>
          </a:prstGeom>
        </p:spPr>
      </p:pic>
      <p:pic>
        <p:nvPicPr>
          <p:cNvPr id="231" name="Рисунок 230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5664" y="2498771"/>
            <a:ext cx="209968" cy="208388"/>
          </a:xfrm>
          <a:prstGeom prst="rect">
            <a:avLst/>
          </a:prstGeom>
        </p:spPr>
      </p:pic>
      <p:pic>
        <p:nvPicPr>
          <p:cNvPr id="232" name="Рисунок 231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360" y="2588762"/>
            <a:ext cx="209968" cy="208388"/>
          </a:xfrm>
          <a:prstGeom prst="rect">
            <a:avLst/>
          </a:prstGeom>
        </p:spPr>
      </p:pic>
      <p:pic>
        <p:nvPicPr>
          <p:cNvPr id="233" name="Рисунок 232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4742" y="1591512"/>
            <a:ext cx="335723" cy="245967"/>
          </a:xfrm>
          <a:prstGeom prst="rect">
            <a:avLst/>
          </a:prstGeom>
        </p:spPr>
      </p:pic>
      <p:pic>
        <p:nvPicPr>
          <p:cNvPr id="234" name="Рисунок 233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2595" y="1625319"/>
            <a:ext cx="209968" cy="208388"/>
          </a:xfrm>
          <a:prstGeom prst="rect">
            <a:avLst/>
          </a:prstGeom>
        </p:spPr>
      </p:pic>
      <p:pic>
        <p:nvPicPr>
          <p:cNvPr id="235" name="Рисунок 234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0292" y="1715309"/>
            <a:ext cx="209968" cy="208388"/>
          </a:xfrm>
          <a:prstGeom prst="rect">
            <a:avLst/>
          </a:prstGeom>
        </p:spPr>
      </p:pic>
      <p:pic>
        <p:nvPicPr>
          <p:cNvPr id="236" name="Рисунок 235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445191">
            <a:off x="6211840" y="4089396"/>
            <a:ext cx="227262" cy="202671"/>
          </a:xfrm>
          <a:prstGeom prst="rect">
            <a:avLst/>
          </a:prstGeom>
        </p:spPr>
      </p:pic>
      <p:sp>
        <p:nvSpPr>
          <p:cNvPr id="239" name="object 19">
            <a:extLst>
              <a:ext uri="{FF2B5EF4-FFF2-40B4-BE49-F238E27FC236}">
                <a16:creationId xmlns:a16="http://schemas.microsoft.com/office/drawing/2014/main" id="{9BA3491B-9C33-4F55-810C-381AAF751DC4}"/>
              </a:ext>
            </a:extLst>
          </p:cNvPr>
          <p:cNvSpPr txBox="1"/>
          <p:nvPr/>
        </p:nvSpPr>
        <p:spPr>
          <a:xfrm>
            <a:off x="6082222" y="815319"/>
            <a:ext cx="743330" cy="16671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778986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-5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Логистика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03" name="object 61">
            <a:extLst>
              <a:ext uri="{FF2B5EF4-FFF2-40B4-BE49-F238E27FC236}">
                <a16:creationId xmlns:a16="http://schemas.microsoft.com/office/drawing/2014/main" id="{956A7876-F849-46F4-B0BF-DD0DC6F5C6E7}"/>
              </a:ext>
            </a:extLst>
          </p:cNvPr>
          <p:cNvSpPr txBox="1"/>
          <p:nvPr/>
        </p:nvSpPr>
        <p:spPr>
          <a:xfrm>
            <a:off x="5060749" y="3084892"/>
            <a:ext cx="1120991" cy="2092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0" lvl="0" defTabSz="778986" rtl="0" eaLnBrk="1" fontAlgn="auto" latinLnBrk="0" hangingPunct="1">
              <a:lnSpc>
                <a:spcPct val="85000"/>
              </a:lnSpc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ru-RU" sz="800" b="1" dirty="0" smtClean="0">
                <a:solidFill>
                  <a:schemeClr val="tx2"/>
                </a:solidFill>
                <a:latin typeface="Arial"/>
                <a:cs typeface="Arial"/>
              </a:rPr>
              <a:t>Продукты </a:t>
            </a:r>
            <a:br>
              <a:rPr lang="ru-RU" sz="800" b="1" dirty="0" smtClean="0">
                <a:solidFill>
                  <a:schemeClr val="tx2"/>
                </a:solidFill>
                <a:latin typeface="Arial"/>
                <a:cs typeface="Arial"/>
              </a:rPr>
            </a:br>
            <a:r>
              <a:rPr lang="ru-RU" sz="800" b="1" dirty="0" smtClean="0">
                <a:solidFill>
                  <a:schemeClr val="tx2"/>
                </a:solidFill>
                <a:latin typeface="Arial"/>
                <a:cs typeface="Arial"/>
              </a:rPr>
              <a:t>из </a:t>
            </a:r>
            <a:r>
              <a:rPr lang="ru-RU" sz="800" b="1" dirty="0" err="1" smtClean="0">
                <a:solidFill>
                  <a:schemeClr val="tx2"/>
                </a:solidFill>
                <a:latin typeface="Arial"/>
                <a:cs typeface="Arial"/>
              </a:rPr>
              <a:t>биосырья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cxnSp>
        <p:nvCxnSpPr>
          <p:cNvPr id="106" name="Straight Arrow Connector 63"/>
          <p:cNvCxnSpPr/>
          <p:nvPr/>
        </p:nvCxnSpPr>
        <p:spPr bwMode="auto">
          <a:xfrm>
            <a:off x="8173578" y="2454311"/>
            <a:ext cx="0" cy="218556"/>
          </a:xfrm>
          <a:prstGeom prst="straightConnector1">
            <a:avLst/>
          </a:prstGeom>
          <a:solidFill>
            <a:srgbClr val="008C95"/>
          </a:solidFill>
          <a:ln w="28575" cap="rnd" cmpd="sng" algn="ctr">
            <a:solidFill>
              <a:schemeClr val="bg2">
                <a:lumMod val="75000"/>
              </a:schemeClr>
            </a:solidFill>
            <a:prstDash val="sysDash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85135776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8553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62" name="Слайд think-cell" r:id="rId22" imgW="530" imgH="531" progId="TCLayout.ActiveDocument.1">
                  <p:embed/>
                </p:oleObj>
              </mc:Choice>
              <mc:Fallback>
                <p:oleObj name="Слайд think-cell" r:id="rId22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Группа 6"/>
          <p:cNvGrpSpPr>
            <a:grpSpLocks noChangeAspect="1"/>
          </p:cNvGrpSpPr>
          <p:nvPr/>
        </p:nvGrpSpPr>
        <p:grpSpPr>
          <a:xfrm>
            <a:off x="2316146" y="-979536"/>
            <a:ext cx="8796845" cy="6646087"/>
            <a:chOff x="951053" y="-1373964"/>
            <a:chExt cx="10289894" cy="7774097"/>
          </a:xfrm>
        </p:grpSpPr>
        <p:grpSp>
          <p:nvGrpSpPr>
            <p:cNvPr id="116" name="Группа 115"/>
            <p:cNvGrpSpPr>
              <a:grpSpLocks noChangeAspect="1"/>
            </p:cNvGrpSpPr>
            <p:nvPr/>
          </p:nvGrpSpPr>
          <p:grpSpPr>
            <a:xfrm>
              <a:off x="951053" y="-1373964"/>
              <a:ext cx="10289894" cy="7774097"/>
              <a:chOff x="970986" y="-1394454"/>
              <a:chExt cx="10289894" cy="7774097"/>
            </a:xfrm>
          </p:grpSpPr>
          <p:grpSp>
            <p:nvGrpSpPr>
              <p:cNvPr id="420" name="Группа 419"/>
              <p:cNvGrpSpPr/>
              <p:nvPr/>
            </p:nvGrpSpPr>
            <p:grpSpPr>
              <a:xfrm>
                <a:off x="970986" y="-1394454"/>
                <a:ext cx="10289894" cy="7774097"/>
                <a:chOff x="3884504" y="339725"/>
                <a:chExt cx="4150089" cy="3398750"/>
              </a:xfrm>
            </p:grpSpPr>
            <p:sp>
              <p:nvSpPr>
                <p:cNvPr id="421" name="Freeform 5"/>
                <p:cNvSpPr>
                  <a:spLocks/>
                </p:cNvSpPr>
                <p:nvPr/>
              </p:nvSpPr>
              <p:spPr bwMode="gray">
                <a:xfrm>
                  <a:off x="5166573" y="2779052"/>
                  <a:ext cx="27625" cy="36692"/>
                </a:xfrm>
                <a:custGeom>
                  <a:avLst/>
                  <a:gdLst>
                    <a:gd name="T0" fmla="*/ 5581 w 83"/>
                    <a:gd name="T1" fmla="*/ 0 h 106"/>
                    <a:gd name="T2" fmla="*/ 3864 w 83"/>
                    <a:gd name="T3" fmla="*/ 815 h 106"/>
                    <a:gd name="T4" fmla="*/ 2576 w 83"/>
                    <a:gd name="T5" fmla="*/ 1629 h 106"/>
                    <a:gd name="T6" fmla="*/ 2147 w 83"/>
                    <a:gd name="T7" fmla="*/ 2037 h 106"/>
                    <a:gd name="T8" fmla="*/ 1717 w 83"/>
                    <a:gd name="T9" fmla="*/ 2444 h 106"/>
                    <a:gd name="T10" fmla="*/ 1288 w 83"/>
                    <a:gd name="T11" fmla="*/ 4073 h 106"/>
                    <a:gd name="T12" fmla="*/ 1288 w 83"/>
                    <a:gd name="T13" fmla="*/ 4888 h 106"/>
                    <a:gd name="T14" fmla="*/ 859 w 83"/>
                    <a:gd name="T15" fmla="*/ 6110 h 106"/>
                    <a:gd name="T16" fmla="*/ 0 w 83"/>
                    <a:gd name="T17" fmla="*/ 6924 h 106"/>
                    <a:gd name="T18" fmla="*/ 0 w 83"/>
                    <a:gd name="T19" fmla="*/ 6924 h 106"/>
                    <a:gd name="T20" fmla="*/ 0 w 83"/>
                    <a:gd name="T21" fmla="*/ 7739 h 106"/>
                    <a:gd name="T22" fmla="*/ 429 w 83"/>
                    <a:gd name="T23" fmla="*/ 8146 h 106"/>
                    <a:gd name="T24" fmla="*/ 1717 w 83"/>
                    <a:gd name="T25" fmla="*/ 8554 h 106"/>
                    <a:gd name="T26" fmla="*/ 2147 w 83"/>
                    <a:gd name="T27" fmla="*/ 8146 h 106"/>
                    <a:gd name="T28" fmla="*/ 2576 w 83"/>
                    <a:gd name="T29" fmla="*/ 8554 h 106"/>
                    <a:gd name="T30" fmla="*/ 2576 w 83"/>
                    <a:gd name="T31" fmla="*/ 8146 h 106"/>
                    <a:gd name="T32" fmla="*/ 2576 w 83"/>
                    <a:gd name="T33" fmla="*/ 8146 h 106"/>
                    <a:gd name="T34" fmla="*/ 3864 w 83"/>
                    <a:gd name="T35" fmla="*/ 7739 h 106"/>
                    <a:gd name="T36" fmla="*/ 4293 w 83"/>
                    <a:gd name="T37" fmla="*/ 7739 h 106"/>
                    <a:gd name="T38" fmla="*/ 4723 w 83"/>
                    <a:gd name="T39" fmla="*/ 8554 h 106"/>
                    <a:gd name="T40" fmla="*/ 4723 w 83"/>
                    <a:gd name="T41" fmla="*/ 8554 h 106"/>
                    <a:gd name="T42" fmla="*/ 5152 w 83"/>
                    <a:gd name="T43" fmla="*/ 8146 h 106"/>
                    <a:gd name="T44" fmla="*/ 6011 w 83"/>
                    <a:gd name="T45" fmla="*/ 6924 h 106"/>
                    <a:gd name="T46" fmla="*/ 6440 w 83"/>
                    <a:gd name="T47" fmla="*/ 6110 h 106"/>
                    <a:gd name="T48" fmla="*/ 6440 w 83"/>
                    <a:gd name="T49" fmla="*/ 6110 h 106"/>
                    <a:gd name="T50" fmla="*/ 6440 w 83"/>
                    <a:gd name="T51" fmla="*/ 5702 h 106"/>
                    <a:gd name="T52" fmla="*/ 6011 w 83"/>
                    <a:gd name="T53" fmla="*/ 5702 h 106"/>
                    <a:gd name="T54" fmla="*/ 6011 w 83"/>
                    <a:gd name="T55" fmla="*/ 5702 h 106"/>
                    <a:gd name="T56" fmla="*/ 5152 w 83"/>
                    <a:gd name="T57" fmla="*/ 5702 h 106"/>
                    <a:gd name="T58" fmla="*/ 4723 w 83"/>
                    <a:gd name="T59" fmla="*/ 5702 h 106"/>
                    <a:gd name="T60" fmla="*/ 3864 w 83"/>
                    <a:gd name="T61" fmla="*/ 5702 h 106"/>
                    <a:gd name="T62" fmla="*/ 3864 w 83"/>
                    <a:gd name="T63" fmla="*/ 6110 h 106"/>
                    <a:gd name="T64" fmla="*/ 3435 w 83"/>
                    <a:gd name="T65" fmla="*/ 6110 h 106"/>
                    <a:gd name="T66" fmla="*/ 3435 w 83"/>
                    <a:gd name="T67" fmla="*/ 6110 h 106"/>
                    <a:gd name="T68" fmla="*/ 3005 w 83"/>
                    <a:gd name="T69" fmla="*/ 5702 h 106"/>
                    <a:gd name="T70" fmla="*/ 3435 w 83"/>
                    <a:gd name="T71" fmla="*/ 5702 h 106"/>
                    <a:gd name="T72" fmla="*/ 3435 w 83"/>
                    <a:gd name="T73" fmla="*/ 5702 h 106"/>
                    <a:gd name="T74" fmla="*/ 3864 w 83"/>
                    <a:gd name="T75" fmla="*/ 5702 h 106"/>
                    <a:gd name="T76" fmla="*/ 3864 w 83"/>
                    <a:gd name="T77" fmla="*/ 5295 h 106"/>
                    <a:gd name="T78" fmla="*/ 4293 w 83"/>
                    <a:gd name="T79" fmla="*/ 4888 h 106"/>
                    <a:gd name="T80" fmla="*/ 4723 w 83"/>
                    <a:gd name="T81" fmla="*/ 4481 h 106"/>
                    <a:gd name="T82" fmla="*/ 5152 w 83"/>
                    <a:gd name="T83" fmla="*/ 4481 h 106"/>
                    <a:gd name="T84" fmla="*/ 5581 w 83"/>
                    <a:gd name="T85" fmla="*/ 4073 h 106"/>
                    <a:gd name="T86" fmla="*/ 6440 w 83"/>
                    <a:gd name="T87" fmla="*/ 4073 h 106"/>
                    <a:gd name="T88" fmla="*/ 6869 w 83"/>
                    <a:gd name="T89" fmla="*/ 3666 h 106"/>
                    <a:gd name="T90" fmla="*/ 6869 w 83"/>
                    <a:gd name="T91" fmla="*/ 3259 h 106"/>
                    <a:gd name="T92" fmla="*/ 6869 w 83"/>
                    <a:gd name="T93" fmla="*/ 1629 h 106"/>
                    <a:gd name="T94" fmla="*/ 6440 w 83"/>
                    <a:gd name="T95" fmla="*/ 1629 h 106"/>
                    <a:gd name="T96" fmla="*/ 6011 w 83"/>
                    <a:gd name="T97" fmla="*/ 1222 h 106"/>
                    <a:gd name="T98" fmla="*/ 6011 w 83"/>
                    <a:gd name="T99" fmla="*/ 815 h 106"/>
                    <a:gd name="T100" fmla="*/ 5581 w 83"/>
                    <a:gd name="T101" fmla="*/ 407 h 106"/>
                    <a:gd name="T102" fmla="*/ 5581 w 83"/>
                    <a:gd name="T103" fmla="*/ 0 h 10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83"/>
                    <a:gd name="T157" fmla="*/ 0 h 106"/>
                    <a:gd name="T158" fmla="*/ 83 w 83"/>
                    <a:gd name="T159" fmla="*/ 106 h 106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83" h="106">
                      <a:moveTo>
                        <a:pt x="65" y="0"/>
                      </a:moveTo>
                      <a:lnTo>
                        <a:pt x="48" y="11"/>
                      </a:lnTo>
                      <a:lnTo>
                        <a:pt x="33" y="19"/>
                      </a:lnTo>
                      <a:lnTo>
                        <a:pt x="28" y="25"/>
                      </a:lnTo>
                      <a:lnTo>
                        <a:pt x="22" y="29"/>
                      </a:lnTo>
                      <a:lnTo>
                        <a:pt x="17" y="51"/>
                      </a:lnTo>
                      <a:lnTo>
                        <a:pt x="15" y="62"/>
                      </a:lnTo>
                      <a:lnTo>
                        <a:pt x="9" y="74"/>
                      </a:lnTo>
                      <a:lnTo>
                        <a:pt x="0" y="85"/>
                      </a:lnTo>
                      <a:lnTo>
                        <a:pt x="0" y="88"/>
                      </a:lnTo>
                      <a:lnTo>
                        <a:pt x="1" y="97"/>
                      </a:lnTo>
                      <a:lnTo>
                        <a:pt x="7" y="103"/>
                      </a:lnTo>
                      <a:lnTo>
                        <a:pt x="20" y="105"/>
                      </a:lnTo>
                      <a:lnTo>
                        <a:pt x="24" y="102"/>
                      </a:lnTo>
                      <a:lnTo>
                        <a:pt x="31" y="105"/>
                      </a:lnTo>
                      <a:lnTo>
                        <a:pt x="32" y="103"/>
                      </a:lnTo>
                      <a:lnTo>
                        <a:pt x="33" y="100"/>
                      </a:lnTo>
                      <a:lnTo>
                        <a:pt x="45" y="96"/>
                      </a:lnTo>
                      <a:lnTo>
                        <a:pt x="50" y="97"/>
                      </a:lnTo>
                      <a:lnTo>
                        <a:pt x="59" y="105"/>
                      </a:lnTo>
                      <a:lnTo>
                        <a:pt x="59" y="106"/>
                      </a:lnTo>
                      <a:lnTo>
                        <a:pt x="61" y="100"/>
                      </a:lnTo>
                      <a:lnTo>
                        <a:pt x="71" y="88"/>
                      </a:lnTo>
                      <a:lnTo>
                        <a:pt x="76" y="76"/>
                      </a:lnTo>
                      <a:lnTo>
                        <a:pt x="79" y="74"/>
                      </a:lnTo>
                      <a:lnTo>
                        <a:pt x="76" y="72"/>
                      </a:lnTo>
                      <a:lnTo>
                        <a:pt x="74" y="72"/>
                      </a:lnTo>
                      <a:lnTo>
                        <a:pt x="71" y="69"/>
                      </a:lnTo>
                      <a:lnTo>
                        <a:pt x="64" y="70"/>
                      </a:lnTo>
                      <a:lnTo>
                        <a:pt x="56" y="69"/>
                      </a:lnTo>
                      <a:lnTo>
                        <a:pt x="48" y="72"/>
                      </a:lnTo>
                      <a:lnTo>
                        <a:pt x="47" y="74"/>
                      </a:lnTo>
                      <a:lnTo>
                        <a:pt x="44" y="75"/>
                      </a:lnTo>
                      <a:lnTo>
                        <a:pt x="40" y="74"/>
                      </a:lnTo>
                      <a:lnTo>
                        <a:pt x="38" y="70"/>
                      </a:lnTo>
                      <a:lnTo>
                        <a:pt x="39" y="69"/>
                      </a:lnTo>
                      <a:lnTo>
                        <a:pt x="44" y="70"/>
                      </a:lnTo>
                      <a:lnTo>
                        <a:pt x="47" y="70"/>
                      </a:lnTo>
                      <a:lnTo>
                        <a:pt x="48" y="67"/>
                      </a:lnTo>
                      <a:lnTo>
                        <a:pt x="53" y="59"/>
                      </a:lnTo>
                      <a:lnTo>
                        <a:pt x="56" y="57"/>
                      </a:lnTo>
                      <a:lnTo>
                        <a:pt x="61" y="57"/>
                      </a:lnTo>
                      <a:lnTo>
                        <a:pt x="66" y="51"/>
                      </a:lnTo>
                      <a:lnTo>
                        <a:pt x="77" y="48"/>
                      </a:lnTo>
                      <a:lnTo>
                        <a:pt x="83" y="45"/>
                      </a:lnTo>
                      <a:lnTo>
                        <a:pt x="83" y="38"/>
                      </a:lnTo>
                      <a:lnTo>
                        <a:pt x="81" y="22"/>
                      </a:lnTo>
                      <a:lnTo>
                        <a:pt x="80" y="20"/>
                      </a:lnTo>
                      <a:lnTo>
                        <a:pt x="75" y="16"/>
                      </a:lnTo>
                      <a:lnTo>
                        <a:pt x="71" y="9"/>
                      </a:lnTo>
                      <a:lnTo>
                        <a:pt x="67" y="5"/>
                      </a:lnTo>
                      <a:lnTo>
                        <a:pt x="65" y="0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grpSp>
              <p:nvGrpSpPr>
                <p:cNvPr id="422" name="Group 6"/>
                <p:cNvGrpSpPr>
                  <a:grpSpLocks/>
                </p:cNvGrpSpPr>
                <p:nvPr/>
              </p:nvGrpSpPr>
              <p:grpSpPr bwMode="auto">
                <a:xfrm>
                  <a:off x="4020119" y="2253136"/>
                  <a:ext cx="1328531" cy="1485339"/>
                  <a:chOff x="2324" y="2047"/>
                  <a:chExt cx="754" cy="844"/>
                </a:xfrm>
                <a:solidFill>
                  <a:srgbClr val="D9D9D9"/>
                </a:solidFill>
              </p:grpSpPr>
              <p:sp>
                <p:nvSpPr>
                  <p:cNvPr id="557" name="Freeform 7"/>
                  <p:cNvSpPr>
                    <a:spLocks/>
                  </p:cNvSpPr>
                  <p:nvPr/>
                </p:nvSpPr>
                <p:spPr bwMode="gray">
                  <a:xfrm>
                    <a:off x="2481" y="2364"/>
                    <a:ext cx="49" cy="72"/>
                  </a:xfrm>
                  <a:custGeom>
                    <a:avLst/>
                    <a:gdLst>
                      <a:gd name="T0" fmla="*/ 10 w 242"/>
                      <a:gd name="T1" fmla="*/ 11 h 356"/>
                      <a:gd name="T2" fmla="*/ 9 w 242"/>
                      <a:gd name="T3" fmla="*/ 10 h 356"/>
                      <a:gd name="T4" fmla="*/ 9 w 242"/>
                      <a:gd name="T5" fmla="*/ 10 h 356"/>
                      <a:gd name="T6" fmla="*/ 9 w 242"/>
                      <a:gd name="T7" fmla="*/ 8 h 356"/>
                      <a:gd name="T8" fmla="*/ 8 w 242"/>
                      <a:gd name="T9" fmla="*/ 5 h 356"/>
                      <a:gd name="T10" fmla="*/ 8 w 242"/>
                      <a:gd name="T11" fmla="*/ 4 h 356"/>
                      <a:gd name="T12" fmla="*/ 8 w 242"/>
                      <a:gd name="T13" fmla="*/ 3 h 356"/>
                      <a:gd name="T14" fmla="*/ 8 w 242"/>
                      <a:gd name="T15" fmla="*/ 2 h 356"/>
                      <a:gd name="T16" fmla="*/ 7 w 242"/>
                      <a:gd name="T17" fmla="*/ 1 h 356"/>
                      <a:gd name="T18" fmla="*/ 7 w 242"/>
                      <a:gd name="T19" fmla="*/ 1 h 356"/>
                      <a:gd name="T20" fmla="*/ 7 w 242"/>
                      <a:gd name="T21" fmla="*/ 0 h 356"/>
                      <a:gd name="T22" fmla="*/ 7 w 242"/>
                      <a:gd name="T23" fmla="*/ 0 h 356"/>
                      <a:gd name="T24" fmla="*/ 7 w 242"/>
                      <a:gd name="T25" fmla="*/ 0 h 356"/>
                      <a:gd name="T26" fmla="*/ 6 w 242"/>
                      <a:gd name="T27" fmla="*/ 0 h 356"/>
                      <a:gd name="T28" fmla="*/ 5 w 242"/>
                      <a:gd name="T29" fmla="*/ 0 h 356"/>
                      <a:gd name="T30" fmla="*/ 3 w 242"/>
                      <a:gd name="T31" fmla="*/ 0 h 356"/>
                      <a:gd name="T32" fmla="*/ 2 w 242"/>
                      <a:gd name="T33" fmla="*/ 0 h 356"/>
                      <a:gd name="T34" fmla="*/ 1 w 242"/>
                      <a:gd name="T35" fmla="*/ 0 h 356"/>
                      <a:gd name="T36" fmla="*/ 1 w 242"/>
                      <a:gd name="T37" fmla="*/ 1 h 356"/>
                      <a:gd name="T38" fmla="*/ 1 w 242"/>
                      <a:gd name="T39" fmla="*/ 1 h 356"/>
                      <a:gd name="T40" fmla="*/ 1 w 242"/>
                      <a:gd name="T41" fmla="*/ 2 h 356"/>
                      <a:gd name="T42" fmla="*/ 1 w 242"/>
                      <a:gd name="T43" fmla="*/ 3 h 356"/>
                      <a:gd name="T44" fmla="*/ 1 w 242"/>
                      <a:gd name="T45" fmla="*/ 3 h 356"/>
                      <a:gd name="T46" fmla="*/ 1 w 242"/>
                      <a:gd name="T47" fmla="*/ 4 h 356"/>
                      <a:gd name="T48" fmla="*/ 1 w 242"/>
                      <a:gd name="T49" fmla="*/ 4 h 356"/>
                      <a:gd name="T50" fmla="*/ 1 w 242"/>
                      <a:gd name="T51" fmla="*/ 4 h 356"/>
                      <a:gd name="T52" fmla="*/ 1 w 242"/>
                      <a:gd name="T53" fmla="*/ 5 h 356"/>
                      <a:gd name="T54" fmla="*/ 2 w 242"/>
                      <a:gd name="T55" fmla="*/ 6 h 356"/>
                      <a:gd name="T56" fmla="*/ 1 w 242"/>
                      <a:gd name="T57" fmla="*/ 7 h 356"/>
                      <a:gd name="T58" fmla="*/ 1 w 242"/>
                      <a:gd name="T59" fmla="*/ 7 h 356"/>
                      <a:gd name="T60" fmla="*/ 1 w 242"/>
                      <a:gd name="T61" fmla="*/ 7 h 356"/>
                      <a:gd name="T62" fmla="*/ 1 w 242"/>
                      <a:gd name="T63" fmla="*/ 8 h 356"/>
                      <a:gd name="T64" fmla="*/ 0 w 242"/>
                      <a:gd name="T65" fmla="*/ 9 h 356"/>
                      <a:gd name="T66" fmla="*/ 0 w 242"/>
                      <a:gd name="T67" fmla="*/ 10 h 356"/>
                      <a:gd name="T68" fmla="*/ 0 w 242"/>
                      <a:gd name="T69" fmla="*/ 11 h 356"/>
                      <a:gd name="T70" fmla="*/ 0 w 242"/>
                      <a:gd name="T71" fmla="*/ 12 h 356"/>
                      <a:gd name="T72" fmla="*/ 1 w 242"/>
                      <a:gd name="T73" fmla="*/ 12 h 356"/>
                      <a:gd name="T74" fmla="*/ 1 w 242"/>
                      <a:gd name="T75" fmla="*/ 13 h 356"/>
                      <a:gd name="T76" fmla="*/ 1 w 242"/>
                      <a:gd name="T77" fmla="*/ 14 h 356"/>
                      <a:gd name="T78" fmla="*/ 0 w 242"/>
                      <a:gd name="T79" fmla="*/ 13 h 356"/>
                      <a:gd name="T80" fmla="*/ 0 w 242"/>
                      <a:gd name="T81" fmla="*/ 14 h 356"/>
                      <a:gd name="T82" fmla="*/ 3 w 242"/>
                      <a:gd name="T83" fmla="*/ 15 h 356"/>
                      <a:gd name="T84" fmla="*/ 4 w 242"/>
                      <a:gd name="T85" fmla="*/ 14 h 356"/>
                      <a:gd name="T86" fmla="*/ 6 w 242"/>
                      <a:gd name="T87" fmla="*/ 13 h 356"/>
                      <a:gd name="T88" fmla="*/ 7 w 242"/>
                      <a:gd name="T89" fmla="*/ 12 h 356"/>
                      <a:gd name="T90" fmla="*/ 8 w 242"/>
                      <a:gd name="T91" fmla="*/ 12 h 356"/>
                      <a:gd name="T92" fmla="*/ 9 w 242"/>
                      <a:gd name="T93" fmla="*/ 12 h 356"/>
                      <a:gd name="T94" fmla="*/ 10 w 242"/>
                      <a:gd name="T95" fmla="*/ 12 h 35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242"/>
                      <a:gd name="T145" fmla="*/ 0 h 356"/>
                      <a:gd name="T146" fmla="*/ 242 w 242"/>
                      <a:gd name="T147" fmla="*/ 356 h 356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242" h="356">
                        <a:moveTo>
                          <a:pt x="242" y="281"/>
                        </a:moveTo>
                        <a:lnTo>
                          <a:pt x="239" y="279"/>
                        </a:lnTo>
                        <a:lnTo>
                          <a:pt x="223" y="262"/>
                        </a:lnTo>
                        <a:lnTo>
                          <a:pt x="215" y="252"/>
                        </a:lnTo>
                        <a:lnTo>
                          <a:pt x="210" y="241"/>
                        </a:lnTo>
                        <a:lnTo>
                          <a:pt x="209" y="231"/>
                        </a:lnTo>
                        <a:lnTo>
                          <a:pt x="208" y="209"/>
                        </a:lnTo>
                        <a:lnTo>
                          <a:pt x="209" y="188"/>
                        </a:lnTo>
                        <a:lnTo>
                          <a:pt x="205" y="148"/>
                        </a:lnTo>
                        <a:lnTo>
                          <a:pt x="204" y="114"/>
                        </a:lnTo>
                        <a:lnTo>
                          <a:pt x="203" y="101"/>
                        </a:lnTo>
                        <a:lnTo>
                          <a:pt x="200" y="95"/>
                        </a:lnTo>
                        <a:lnTo>
                          <a:pt x="196" y="89"/>
                        </a:lnTo>
                        <a:lnTo>
                          <a:pt x="194" y="68"/>
                        </a:lnTo>
                        <a:lnTo>
                          <a:pt x="191" y="53"/>
                        </a:lnTo>
                        <a:lnTo>
                          <a:pt x="187" y="48"/>
                        </a:lnTo>
                        <a:lnTo>
                          <a:pt x="180" y="41"/>
                        </a:lnTo>
                        <a:lnTo>
                          <a:pt x="176" y="33"/>
                        </a:lnTo>
                        <a:lnTo>
                          <a:pt x="167" y="27"/>
                        </a:lnTo>
                        <a:lnTo>
                          <a:pt x="166" y="21"/>
                        </a:lnTo>
                        <a:lnTo>
                          <a:pt x="170" y="16"/>
                        </a:lnTo>
                        <a:lnTo>
                          <a:pt x="170" y="11"/>
                        </a:lnTo>
                        <a:lnTo>
                          <a:pt x="173" y="6"/>
                        </a:lnTo>
                        <a:lnTo>
                          <a:pt x="172" y="5"/>
                        </a:lnTo>
                        <a:lnTo>
                          <a:pt x="164" y="4"/>
                        </a:lnTo>
                        <a:lnTo>
                          <a:pt x="162" y="3"/>
                        </a:lnTo>
                        <a:lnTo>
                          <a:pt x="162" y="0"/>
                        </a:lnTo>
                        <a:lnTo>
                          <a:pt x="145" y="3"/>
                        </a:lnTo>
                        <a:lnTo>
                          <a:pt x="133" y="11"/>
                        </a:lnTo>
                        <a:lnTo>
                          <a:pt x="129" y="12"/>
                        </a:lnTo>
                        <a:lnTo>
                          <a:pt x="112" y="11"/>
                        </a:lnTo>
                        <a:lnTo>
                          <a:pt x="86" y="6"/>
                        </a:lnTo>
                        <a:lnTo>
                          <a:pt x="58" y="8"/>
                        </a:lnTo>
                        <a:lnTo>
                          <a:pt x="47" y="5"/>
                        </a:lnTo>
                        <a:lnTo>
                          <a:pt x="36" y="5"/>
                        </a:lnTo>
                        <a:lnTo>
                          <a:pt x="19" y="8"/>
                        </a:lnTo>
                        <a:lnTo>
                          <a:pt x="14" y="16"/>
                        </a:lnTo>
                        <a:lnTo>
                          <a:pt x="14" y="24"/>
                        </a:lnTo>
                        <a:lnTo>
                          <a:pt x="17" y="32"/>
                        </a:lnTo>
                        <a:lnTo>
                          <a:pt x="20" y="35"/>
                        </a:lnTo>
                        <a:lnTo>
                          <a:pt x="20" y="43"/>
                        </a:lnTo>
                        <a:lnTo>
                          <a:pt x="24" y="44"/>
                        </a:lnTo>
                        <a:lnTo>
                          <a:pt x="22" y="57"/>
                        </a:lnTo>
                        <a:lnTo>
                          <a:pt x="25" y="65"/>
                        </a:lnTo>
                        <a:lnTo>
                          <a:pt x="25" y="76"/>
                        </a:lnTo>
                        <a:lnTo>
                          <a:pt x="25" y="82"/>
                        </a:lnTo>
                        <a:lnTo>
                          <a:pt x="28" y="89"/>
                        </a:lnTo>
                        <a:lnTo>
                          <a:pt x="28" y="95"/>
                        </a:lnTo>
                        <a:lnTo>
                          <a:pt x="27" y="98"/>
                        </a:lnTo>
                        <a:lnTo>
                          <a:pt x="30" y="103"/>
                        </a:lnTo>
                        <a:lnTo>
                          <a:pt x="25" y="108"/>
                        </a:lnTo>
                        <a:lnTo>
                          <a:pt x="25" y="111"/>
                        </a:lnTo>
                        <a:lnTo>
                          <a:pt x="28" y="112"/>
                        </a:lnTo>
                        <a:lnTo>
                          <a:pt x="31" y="116"/>
                        </a:lnTo>
                        <a:lnTo>
                          <a:pt x="38" y="143"/>
                        </a:lnTo>
                        <a:lnTo>
                          <a:pt x="41" y="159"/>
                        </a:lnTo>
                        <a:lnTo>
                          <a:pt x="36" y="160"/>
                        </a:lnTo>
                        <a:lnTo>
                          <a:pt x="36" y="165"/>
                        </a:lnTo>
                        <a:lnTo>
                          <a:pt x="32" y="166"/>
                        </a:lnTo>
                        <a:lnTo>
                          <a:pt x="28" y="171"/>
                        </a:lnTo>
                        <a:lnTo>
                          <a:pt x="26" y="173"/>
                        </a:lnTo>
                        <a:lnTo>
                          <a:pt x="22" y="182"/>
                        </a:lnTo>
                        <a:lnTo>
                          <a:pt x="16" y="195"/>
                        </a:lnTo>
                        <a:lnTo>
                          <a:pt x="14" y="204"/>
                        </a:lnTo>
                        <a:lnTo>
                          <a:pt x="14" y="215"/>
                        </a:lnTo>
                        <a:lnTo>
                          <a:pt x="11" y="220"/>
                        </a:lnTo>
                        <a:lnTo>
                          <a:pt x="5" y="227"/>
                        </a:lnTo>
                        <a:lnTo>
                          <a:pt x="1" y="234"/>
                        </a:lnTo>
                        <a:lnTo>
                          <a:pt x="0" y="251"/>
                        </a:lnTo>
                        <a:lnTo>
                          <a:pt x="0" y="259"/>
                        </a:lnTo>
                        <a:lnTo>
                          <a:pt x="8" y="279"/>
                        </a:lnTo>
                        <a:lnTo>
                          <a:pt x="11" y="295"/>
                        </a:lnTo>
                        <a:lnTo>
                          <a:pt x="15" y="300"/>
                        </a:lnTo>
                        <a:lnTo>
                          <a:pt x="22" y="301"/>
                        </a:lnTo>
                        <a:lnTo>
                          <a:pt x="25" y="302"/>
                        </a:lnTo>
                        <a:lnTo>
                          <a:pt x="27" y="315"/>
                        </a:lnTo>
                        <a:lnTo>
                          <a:pt x="27" y="329"/>
                        </a:lnTo>
                        <a:lnTo>
                          <a:pt x="21" y="331"/>
                        </a:lnTo>
                        <a:lnTo>
                          <a:pt x="17" y="328"/>
                        </a:lnTo>
                        <a:lnTo>
                          <a:pt x="11" y="328"/>
                        </a:lnTo>
                        <a:lnTo>
                          <a:pt x="9" y="329"/>
                        </a:lnTo>
                        <a:lnTo>
                          <a:pt x="5" y="336"/>
                        </a:lnTo>
                        <a:lnTo>
                          <a:pt x="41" y="345"/>
                        </a:lnTo>
                        <a:lnTo>
                          <a:pt x="67" y="356"/>
                        </a:lnTo>
                        <a:lnTo>
                          <a:pt x="87" y="345"/>
                        </a:lnTo>
                        <a:lnTo>
                          <a:pt x="95" y="338"/>
                        </a:lnTo>
                        <a:lnTo>
                          <a:pt x="103" y="336"/>
                        </a:lnTo>
                        <a:lnTo>
                          <a:pt x="137" y="328"/>
                        </a:lnTo>
                        <a:lnTo>
                          <a:pt x="166" y="311"/>
                        </a:lnTo>
                        <a:lnTo>
                          <a:pt x="183" y="302"/>
                        </a:lnTo>
                        <a:lnTo>
                          <a:pt x="188" y="300"/>
                        </a:lnTo>
                        <a:lnTo>
                          <a:pt x="196" y="300"/>
                        </a:lnTo>
                        <a:lnTo>
                          <a:pt x="215" y="296"/>
                        </a:lnTo>
                        <a:lnTo>
                          <a:pt x="219" y="300"/>
                        </a:lnTo>
                        <a:lnTo>
                          <a:pt x="229" y="299"/>
                        </a:lnTo>
                        <a:lnTo>
                          <a:pt x="240" y="283"/>
                        </a:lnTo>
                        <a:lnTo>
                          <a:pt x="242" y="281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58" name="Freeform 8"/>
                  <p:cNvSpPr>
                    <a:spLocks/>
                  </p:cNvSpPr>
                  <p:nvPr/>
                </p:nvSpPr>
                <p:spPr bwMode="gray">
                  <a:xfrm>
                    <a:off x="2459" y="2321"/>
                    <a:ext cx="83" cy="62"/>
                  </a:xfrm>
                  <a:custGeom>
                    <a:avLst/>
                    <a:gdLst>
                      <a:gd name="T0" fmla="*/ 10 w 417"/>
                      <a:gd name="T1" fmla="*/ 0 h 307"/>
                      <a:gd name="T2" fmla="*/ 7 w 417"/>
                      <a:gd name="T3" fmla="*/ 2 h 307"/>
                      <a:gd name="T4" fmla="*/ 4 w 417"/>
                      <a:gd name="T5" fmla="*/ 4 h 307"/>
                      <a:gd name="T6" fmla="*/ 3 w 417"/>
                      <a:gd name="T7" fmla="*/ 4 h 307"/>
                      <a:gd name="T8" fmla="*/ 3 w 417"/>
                      <a:gd name="T9" fmla="*/ 5 h 307"/>
                      <a:gd name="T10" fmla="*/ 2 w 417"/>
                      <a:gd name="T11" fmla="*/ 7 h 307"/>
                      <a:gd name="T12" fmla="*/ 1 w 417"/>
                      <a:gd name="T13" fmla="*/ 8 h 307"/>
                      <a:gd name="T14" fmla="*/ 0 w 417"/>
                      <a:gd name="T15" fmla="*/ 9 h 307"/>
                      <a:gd name="T16" fmla="*/ 0 w 417"/>
                      <a:gd name="T17" fmla="*/ 11 h 307"/>
                      <a:gd name="T18" fmla="*/ 0 w 417"/>
                      <a:gd name="T19" fmla="*/ 11 h 307"/>
                      <a:gd name="T20" fmla="*/ 0 w 417"/>
                      <a:gd name="T21" fmla="*/ 11 h 307"/>
                      <a:gd name="T22" fmla="*/ 1 w 417"/>
                      <a:gd name="T23" fmla="*/ 12 h 307"/>
                      <a:gd name="T24" fmla="*/ 1 w 417"/>
                      <a:gd name="T25" fmla="*/ 12 h 307"/>
                      <a:gd name="T26" fmla="*/ 1 w 417"/>
                      <a:gd name="T27" fmla="*/ 12 h 307"/>
                      <a:gd name="T28" fmla="*/ 2 w 417"/>
                      <a:gd name="T29" fmla="*/ 12 h 307"/>
                      <a:gd name="T30" fmla="*/ 2 w 417"/>
                      <a:gd name="T31" fmla="*/ 12 h 307"/>
                      <a:gd name="T32" fmla="*/ 3 w 417"/>
                      <a:gd name="T33" fmla="*/ 12 h 307"/>
                      <a:gd name="T34" fmla="*/ 4 w 417"/>
                      <a:gd name="T35" fmla="*/ 12 h 307"/>
                      <a:gd name="T36" fmla="*/ 5 w 417"/>
                      <a:gd name="T37" fmla="*/ 12 h 307"/>
                      <a:gd name="T38" fmla="*/ 5 w 417"/>
                      <a:gd name="T39" fmla="*/ 13 h 307"/>
                      <a:gd name="T40" fmla="*/ 6 w 417"/>
                      <a:gd name="T41" fmla="*/ 13 h 307"/>
                      <a:gd name="T42" fmla="*/ 5 w 417"/>
                      <a:gd name="T43" fmla="*/ 12 h 307"/>
                      <a:gd name="T44" fmla="*/ 5 w 417"/>
                      <a:gd name="T45" fmla="*/ 11 h 307"/>
                      <a:gd name="T46" fmla="*/ 5 w 417"/>
                      <a:gd name="T47" fmla="*/ 10 h 307"/>
                      <a:gd name="T48" fmla="*/ 6 w 417"/>
                      <a:gd name="T49" fmla="*/ 9 h 307"/>
                      <a:gd name="T50" fmla="*/ 8 w 417"/>
                      <a:gd name="T51" fmla="*/ 9 h 307"/>
                      <a:gd name="T52" fmla="*/ 10 w 417"/>
                      <a:gd name="T53" fmla="*/ 9 h 307"/>
                      <a:gd name="T54" fmla="*/ 11 w 417"/>
                      <a:gd name="T55" fmla="*/ 9 h 307"/>
                      <a:gd name="T56" fmla="*/ 13 w 417"/>
                      <a:gd name="T57" fmla="*/ 9 h 307"/>
                      <a:gd name="T58" fmla="*/ 13 w 417"/>
                      <a:gd name="T59" fmla="*/ 9 h 307"/>
                      <a:gd name="T60" fmla="*/ 14 w 417"/>
                      <a:gd name="T61" fmla="*/ 9 h 307"/>
                      <a:gd name="T62" fmla="*/ 14 w 417"/>
                      <a:gd name="T63" fmla="*/ 8 h 307"/>
                      <a:gd name="T64" fmla="*/ 14 w 417"/>
                      <a:gd name="T65" fmla="*/ 8 h 307"/>
                      <a:gd name="T66" fmla="*/ 15 w 417"/>
                      <a:gd name="T67" fmla="*/ 8 h 307"/>
                      <a:gd name="T68" fmla="*/ 16 w 417"/>
                      <a:gd name="T69" fmla="*/ 7 h 307"/>
                      <a:gd name="T70" fmla="*/ 17 w 417"/>
                      <a:gd name="T71" fmla="*/ 7 h 307"/>
                      <a:gd name="T72" fmla="*/ 17 w 417"/>
                      <a:gd name="T73" fmla="*/ 7 h 307"/>
                      <a:gd name="T74" fmla="*/ 16 w 417"/>
                      <a:gd name="T75" fmla="*/ 6 h 307"/>
                      <a:gd name="T76" fmla="*/ 16 w 417"/>
                      <a:gd name="T77" fmla="*/ 6 h 307"/>
                      <a:gd name="T78" fmla="*/ 16 w 417"/>
                      <a:gd name="T79" fmla="*/ 5 h 307"/>
                      <a:gd name="T80" fmla="*/ 15 w 417"/>
                      <a:gd name="T81" fmla="*/ 5 h 307"/>
                      <a:gd name="T82" fmla="*/ 15 w 417"/>
                      <a:gd name="T83" fmla="*/ 5 h 307"/>
                      <a:gd name="T84" fmla="*/ 14 w 417"/>
                      <a:gd name="T85" fmla="*/ 4 h 307"/>
                      <a:gd name="T86" fmla="*/ 13 w 417"/>
                      <a:gd name="T87" fmla="*/ 3 h 307"/>
                      <a:gd name="T88" fmla="*/ 12 w 417"/>
                      <a:gd name="T89" fmla="*/ 2 h 307"/>
                      <a:gd name="T90" fmla="*/ 12 w 417"/>
                      <a:gd name="T91" fmla="*/ 1 h 307"/>
                      <a:gd name="T92" fmla="*/ 12 w 417"/>
                      <a:gd name="T93" fmla="*/ 0 h 307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w 417"/>
                      <a:gd name="T142" fmla="*/ 0 h 307"/>
                      <a:gd name="T143" fmla="*/ 417 w 417"/>
                      <a:gd name="T144" fmla="*/ 307 h 307"/>
                    </a:gdLst>
                    <a:ahLst/>
                    <a:cxnLst>
                      <a:cxn ang="T94">
                        <a:pos x="T0" y="T1"/>
                      </a:cxn>
                      <a:cxn ang="T95">
                        <a:pos x="T2" y="T3"/>
                      </a:cxn>
                      <a:cxn ang="T96">
                        <a:pos x="T4" y="T5"/>
                      </a:cxn>
                      <a:cxn ang="T97">
                        <a:pos x="T6" y="T7"/>
                      </a:cxn>
                      <a:cxn ang="T98">
                        <a:pos x="T8" y="T9"/>
                      </a:cxn>
                      <a:cxn ang="T99">
                        <a:pos x="T10" y="T11"/>
                      </a:cxn>
                      <a:cxn ang="T100">
                        <a:pos x="T12" y="T13"/>
                      </a:cxn>
                      <a:cxn ang="T101">
                        <a:pos x="T14" y="T15"/>
                      </a:cxn>
                      <a:cxn ang="T102">
                        <a:pos x="T16" y="T17"/>
                      </a:cxn>
                      <a:cxn ang="T103">
                        <a:pos x="T18" y="T19"/>
                      </a:cxn>
                      <a:cxn ang="T104">
                        <a:pos x="T20" y="T21"/>
                      </a:cxn>
                      <a:cxn ang="T105">
                        <a:pos x="T22" y="T23"/>
                      </a:cxn>
                      <a:cxn ang="T106">
                        <a:pos x="T24" y="T25"/>
                      </a:cxn>
                      <a:cxn ang="T107">
                        <a:pos x="T26" y="T27"/>
                      </a:cxn>
                      <a:cxn ang="T108">
                        <a:pos x="T28" y="T29"/>
                      </a:cxn>
                      <a:cxn ang="T109">
                        <a:pos x="T30" y="T31"/>
                      </a:cxn>
                      <a:cxn ang="T110">
                        <a:pos x="T32" y="T33"/>
                      </a:cxn>
                      <a:cxn ang="T111">
                        <a:pos x="T34" y="T35"/>
                      </a:cxn>
                      <a:cxn ang="T112">
                        <a:pos x="T36" y="T37"/>
                      </a:cxn>
                      <a:cxn ang="T113">
                        <a:pos x="T38" y="T39"/>
                      </a:cxn>
                      <a:cxn ang="T114">
                        <a:pos x="T40" y="T41"/>
                      </a:cxn>
                      <a:cxn ang="T115">
                        <a:pos x="T42" y="T43"/>
                      </a:cxn>
                      <a:cxn ang="T116">
                        <a:pos x="T44" y="T45"/>
                      </a:cxn>
                      <a:cxn ang="T117">
                        <a:pos x="T46" y="T47"/>
                      </a:cxn>
                      <a:cxn ang="T118">
                        <a:pos x="T48" y="T49"/>
                      </a:cxn>
                      <a:cxn ang="T119">
                        <a:pos x="T50" y="T51"/>
                      </a:cxn>
                      <a:cxn ang="T120">
                        <a:pos x="T52" y="T53"/>
                      </a:cxn>
                      <a:cxn ang="T121">
                        <a:pos x="T54" y="T55"/>
                      </a:cxn>
                      <a:cxn ang="T122">
                        <a:pos x="T56" y="T57"/>
                      </a:cxn>
                      <a:cxn ang="T123">
                        <a:pos x="T58" y="T59"/>
                      </a:cxn>
                      <a:cxn ang="T124">
                        <a:pos x="T60" y="T61"/>
                      </a:cxn>
                      <a:cxn ang="T125">
                        <a:pos x="T62" y="T63"/>
                      </a:cxn>
                      <a:cxn ang="T126">
                        <a:pos x="T64" y="T65"/>
                      </a:cxn>
                      <a:cxn ang="T127">
                        <a:pos x="T66" y="T67"/>
                      </a:cxn>
                      <a:cxn ang="T128">
                        <a:pos x="T68" y="T69"/>
                      </a:cxn>
                      <a:cxn ang="T129">
                        <a:pos x="T70" y="T71"/>
                      </a:cxn>
                      <a:cxn ang="T130">
                        <a:pos x="T72" y="T73"/>
                      </a:cxn>
                      <a:cxn ang="T131">
                        <a:pos x="T74" y="T75"/>
                      </a:cxn>
                      <a:cxn ang="T132">
                        <a:pos x="T76" y="T77"/>
                      </a:cxn>
                      <a:cxn ang="T133">
                        <a:pos x="T78" y="T79"/>
                      </a:cxn>
                      <a:cxn ang="T134">
                        <a:pos x="T80" y="T81"/>
                      </a:cxn>
                      <a:cxn ang="T135">
                        <a:pos x="T82" y="T83"/>
                      </a:cxn>
                      <a:cxn ang="T136">
                        <a:pos x="T84" y="T85"/>
                      </a:cxn>
                      <a:cxn ang="T137">
                        <a:pos x="T86" y="T87"/>
                      </a:cxn>
                      <a:cxn ang="T138">
                        <a:pos x="T88" y="T89"/>
                      </a:cxn>
                      <a:cxn ang="T139">
                        <a:pos x="T90" y="T91"/>
                      </a:cxn>
                      <a:cxn ang="T140">
                        <a:pos x="T92" y="T93"/>
                      </a:cxn>
                    </a:cxnLst>
                    <a:rect l="T141" t="T142" r="T143" b="T144"/>
                    <a:pathLst>
                      <a:path w="417" h="307">
                        <a:moveTo>
                          <a:pt x="295" y="0"/>
                        </a:moveTo>
                        <a:lnTo>
                          <a:pt x="262" y="1"/>
                        </a:lnTo>
                        <a:lnTo>
                          <a:pt x="242" y="9"/>
                        </a:lnTo>
                        <a:lnTo>
                          <a:pt x="234" y="12"/>
                        </a:lnTo>
                        <a:lnTo>
                          <a:pt x="219" y="25"/>
                        </a:lnTo>
                        <a:lnTo>
                          <a:pt x="182" y="49"/>
                        </a:lnTo>
                        <a:lnTo>
                          <a:pt x="170" y="65"/>
                        </a:lnTo>
                        <a:lnTo>
                          <a:pt x="151" y="79"/>
                        </a:lnTo>
                        <a:lnTo>
                          <a:pt x="113" y="91"/>
                        </a:lnTo>
                        <a:lnTo>
                          <a:pt x="101" y="93"/>
                        </a:lnTo>
                        <a:lnTo>
                          <a:pt x="89" y="95"/>
                        </a:lnTo>
                        <a:lnTo>
                          <a:pt x="83" y="96"/>
                        </a:lnTo>
                        <a:lnTo>
                          <a:pt x="74" y="102"/>
                        </a:lnTo>
                        <a:lnTo>
                          <a:pt x="69" y="108"/>
                        </a:lnTo>
                        <a:lnTo>
                          <a:pt x="64" y="119"/>
                        </a:lnTo>
                        <a:lnTo>
                          <a:pt x="60" y="134"/>
                        </a:lnTo>
                        <a:lnTo>
                          <a:pt x="53" y="152"/>
                        </a:lnTo>
                        <a:lnTo>
                          <a:pt x="46" y="162"/>
                        </a:lnTo>
                        <a:lnTo>
                          <a:pt x="30" y="174"/>
                        </a:lnTo>
                        <a:lnTo>
                          <a:pt x="20" y="183"/>
                        </a:lnTo>
                        <a:lnTo>
                          <a:pt x="16" y="188"/>
                        </a:lnTo>
                        <a:lnTo>
                          <a:pt x="11" y="197"/>
                        </a:lnTo>
                        <a:lnTo>
                          <a:pt x="10" y="206"/>
                        </a:lnTo>
                        <a:lnTo>
                          <a:pt x="1" y="224"/>
                        </a:lnTo>
                        <a:lnTo>
                          <a:pt x="0" y="235"/>
                        </a:lnTo>
                        <a:lnTo>
                          <a:pt x="0" y="248"/>
                        </a:lnTo>
                        <a:lnTo>
                          <a:pt x="1" y="259"/>
                        </a:lnTo>
                        <a:lnTo>
                          <a:pt x="4" y="260"/>
                        </a:lnTo>
                        <a:lnTo>
                          <a:pt x="4" y="262"/>
                        </a:lnTo>
                        <a:lnTo>
                          <a:pt x="5" y="267"/>
                        </a:lnTo>
                        <a:lnTo>
                          <a:pt x="6" y="268"/>
                        </a:lnTo>
                        <a:lnTo>
                          <a:pt x="8" y="269"/>
                        </a:lnTo>
                        <a:lnTo>
                          <a:pt x="11" y="275"/>
                        </a:lnTo>
                        <a:lnTo>
                          <a:pt x="14" y="276"/>
                        </a:lnTo>
                        <a:lnTo>
                          <a:pt x="15" y="279"/>
                        </a:lnTo>
                        <a:lnTo>
                          <a:pt x="15" y="284"/>
                        </a:lnTo>
                        <a:lnTo>
                          <a:pt x="19" y="284"/>
                        </a:lnTo>
                        <a:lnTo>
                          <a:pt x="22" y="287"/>
                        </a:lnTo>
                        <a:lnTo>
                          <a:pt x="24" y="291"/>
                        </a:lnTo>
                        <a:lnTo>
                          <a:pt x="31" y="295"/>
                        </a:lnTo>
                        <a:lnTo>
                          <a:pt x="31" y="294"/>
                        </a:lnTo>
                        <a:lnTo>
                          <a:pt x="35" y="294"/>
                        </a:lnTo>
                        <a:lnTo>
                          <a:pt x="37" y="291"/>
                        </a:lnTo>
                        <a:lnTo>
                          <a:pt x="38" y="291"/>
                        </a:lnTo>
                        <a:lnTo>
                          <a:pt x="40" y="295"/>
                        </a:lnTo>
                        <a:lnTo>
                          <a:pt x="47" y="298"/>
                        </a:lnTo>
                        <a:lnTo>
                          <a:pt x="51" y="296"/>
                        </a:lnTo>
                        <a:lnTo>
                          <a:pt x="53" y="290"/>
                        </a:lnTo>
                        <a:lnTo>
                          <a:pt x="59" y="289"/>
                        </a:lnTo>
                        <a:lnTo>
                          <a:pt x="67" y="286"/>
                        </a:lnTo>
                        <a:lnTo>
                          <a:pt x="79" y="283"/>
                        </a:lnTo>
                        <a:lnTo>
                          <a:pt x="89" y="280"/>
                        </a:lnTo>
                        <a:lnTo>
                          <a:pt x="96" y="280"/>
                        </a:lnTo>
                        <a:lnTo>
                          <a:pt x="107" y="285"/>
                        </a:lnTo>
                        <a:lnTo>
                          <a:pt x="112" y="280"/>
                        </a:lnTo>
                        <a:lnTo>
                          <a:pt x="113" y="280"/>
                        </a:lnTo>
                        <a:lnTo>
                          <a:pt x="119" y="290"/>
                        </a:lnTo>
                        <a:lnTo>
                          <a:pt x="124" y="291"/>
                        </a:lnTo>
                        <a:lnTo>
                          <a:pt x="125" y="296"/>
                        </a:lnTo>
                        <a:lnTo>
                          <a:pt x="130" y="306"/>
                        </a:lnTo>
                        <a:lnTo>
                          <a:pt x="133" y="307"/>
                        </a:lnTo>
                        <a:lnTo>
                          <a:pt x="139" y="307"/>
                        </a:lnTo>
                        <a:lnTo>
                          <a:pt x="141" y="305"/>
                        </a:lnTo>
                        <a:lnTo>
                          <a:pt x="138" y="298"/>
                        </a:lnTo>
                        <a:lnTo>
                          <a:pt x="138" y="292"/>
                        </a:lnTo>
                        <a:lnTo>
                          <a:pt x="138" y="281"/>
                        </a:lnTo>
                        <a:lnTo>
                          <a:pt x="135" y="273"/>
                        </a:lnTo>
                        <a:lnTo>
                          <a:pt x="137" y="260"/>
                        </a:lnTo>
                        <a:lnTo>
                          <a:pt x="133" y="259"/>
                        </a:lnTo>
                        <a:lnTo>
                          <a:pt x="133" y="251"/>
                        </a:lnTo>
                        <a:lnTo>
                          <a:pt x="130" y="248"/>
                        </a:lnTo>
                        <a:lnTo>
                          <a:pt x="127" y="240"/>
                        </a:lnTo>
                        <a:lnTo>
                          <a:pt x="128" y="232"/>
                        </a:lnTo>
                        <a:lnTo>
                          <a:pt x="132" y="224"/>
                        </a:lnTo>
                        <a:lnTo>
                          <a:pt x="149" y="221"/>
                        </a:lnTo>
                        <a:lnTo>
                          <a:pt x="160" y="221"/>
                        </a:lnTo>
                        <a:lnTo>
                          <a:pt x="171" y="224"/>
                        </a:lnTo>
                        <a:lnTo>
                          <a:pt x="199" y="222"/>
                        </a:lnTo>
                        <a:lnTo>
                          <a:pt x="225" y="227"/>
                        </a:lnTo>
                        <a:lnTo>
                          <a:pt x="242" y="228"/>
                        </a:lnTo>
                        <a:lnTo>
                          <a:pt x="246" y="227"/>
                        </a:lnTo>
                        <a:lnTo>
                          <a:pt x="258" y="219"/>
                        </a:lnTo>
                        <a:lnTo>
                          <a:pt x="275" y="216"/>
                        </a:lnTo>
                        <a:lnTo>
                          <a:pt x="275" y="217"/>
                        </a:lnTo>
                        <a:lnTo>
                          <a:pt x="310" y="222"/>
                        </a:lnTo>
                        <a:lnTo>
                          <a:pt x="313" y="227"/>
                        </a:lnTo>
                        <a:lnTo>
                          <a:pt x="317" y="227"/>
                        </a:lnTo>
                        <a:lnTo>
                          <a:pt x="320" y="225"/>
                        </a:lnTo>
                        <a:lnTo>
                          <a:pt x="334" y="225"/>
                        </a:lnTo>
                        <a:lnTo>
                          <a:pt x="336" y="224"/>
                        </a:lnTo>
                        <a:lnTo>
                          <a:pt x="339" y="220"/>
                        </a:lnTo>
                        <a:lnTo>
                          <a:pt x="343" y="220"/>
                        </a:lnTo>
                        <a:lnTo>
                          <a:pt x="344" y="214"/>
                        </a:lnTo>
                        <a:lnTo>
                          <a:pt x="347" y="211"/>
                        </a:lnTo>
                        <a:lnTo>
                          <a:pt x="348" y="210"/>
                        </a:lnTo>
                        <a:lnTo>
                          <a:pt x="350" y="208"/>
                        </a:lnTo>
                        <a:lnTo>
                          <a:pt x="354" y="209"/>
                        </a:lnTo>
                        <a:lnTo>
                          <a:pt x="361" y="197"/>
                        </a:lnTo>
                        <a:lnTo>
                          <a:pt x="364" y="195"/>
                        </a:lnTo>
                        <a:lnTo>
                          <a:pt x="370" y="195"/>
                        </a:lnTo>
                        <a:lnTo>
                          <a:pt x="379" y="199"/>
                        </a:lnTo>
                        <a:lnTo>
                          <a:pt x="387" y="197"/>
                        </a:lnTo>
                        <a:lnTo>
                          <a:pt x="393" y="199"/>
                        </a:lnTo>
                        <a:lnTo>
                          <a:pt x="398" y="197"/>
                        </a:lnTo>
                        <a:lnTo>
                          <a:pt x="410" y="185"/>
                        </a:lnTo>
                        <a:lnTo>
                          <a:pt x="412" y="182"/>
                        </a:lnTo>
                        <a:lnTo>
                          <a:pt x="412" y="181"/>
                        </a:lnTo>
                        <a:lnTo>
                          <a:pt x="415" y="177"/>
                        </a:lnTo>
                        <a:lnTo>
                          <a:pt x="417" y="172"/>
                        </a:lnTo>
                        <a:lnTo>
                          <a:pt x="417" y="170"/>
                        </a:lnTo>
                        <a:lnTo>
                          <a:pt x="417" y="171"/>
                        </a:lnTo>
                        <a:lnTo>
                          <a:pt x="406" y="161"/>
                        </a:lnTo>
                        <a:lnTo>
                          <a:pt x="399" y="154"/>
                        </a:lnTo>
                        <a:lnTo>
                          <a:pt x="398" y="150"/>
                        </a:lnTo>
                        <a:lnTo>
                          <a:pt x="399" y="146"/>
                        </a:lnTo>
                        <a:lnTo>
                          <a:pt x="403" y="145"/>
                        </a:lnTo>
                        <a:lnTo>
                          <a:pt x="408" y="145"/>
                        </a:lnTo>
                        <a:lnTo>
                          <a:pt x="409" y="142"/>
                        </a:lnTo>
                        <a:lnTo>
                          <a:pt x="408" y="140"/>
                        </a:lnTo>
                        <a:lnTo>
                          <a:pt x="402" y="130"/>
                        </a:lnTo>
                        <a:lnTo>
                          <a:pt x="396" y="127"/>
                        </a:lnTo>
                        <a:lnTo>
                          <a:pt x="392" y="128"/>
                        </a:lnTo>
                        <a:lnTo>
                          <a:pt x="387" y="133"/>
                        </a:lnTo>
                        <a:lnTo>
                          <a:pt x="382" y="134"/>
                        </a:lnTo>
                        <a:lnTo>
                          <a:pt x="379" y="134"/>
                        </a:lnTo>
                        <a:lnTo>
                          <a:pt x="368" y="131"/>
                        </a:lnTo>
                        <a:lnTo>
                          <a:pt x="360" y="127"/>
                        </a:lnTo>
                        <a:lnTo>
                          <a:pt x="349" y="114"/>
                        </a:lnTo>
                        <a:lnTo>
                          <a:pt x="345" y="108"/>
                        </a:lnTo>
                        <a:lnTo>
                          <a:pt x="339" y="93"/>
                        </a:lnTo>
                        <a:lnTo>
                          <a:pt x="334" y="84"/>
                        </a:lnTo>
                        <a:lnTo>
                          <a:pt x="317" y="70"/>
                        </a:lnTo>
                        <a:lnTo>
                          <a:pt x="305" y="55"/>
                        </a:lnTo>
                        <a:lnTo>
                          <a:pt x="301" y="48"/>
                        </a:lnTo>
                        <a:lnTo>
                          <a:pt x="302" y="39"/>
                        </a:lnTo>
                        <a:lnTo>
                          <a:pt x="301" y="37"/>
                        </a:lnTo>
                        <a:lnTo>
                          <a:pt x="291" y="28"/>
                        </a:lnTo>
                        <a:lnTo>
                          <a:pt x="290" y="26"/>
                        </a:lnTo>
                        <a:lnTo>
                          <a:pt x="293" y="16"/>
                        </a:lnTo>
                        <a:lnTo>
                          <a:pt x="294" y="5"/>
                        </a:lnTo>
                        <a:lnTo>
                          <a:pt x="295" y="0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59" name="Freeform 9"/>
                  <p:cNvSpPr>
                    <a:spLocks/>
                  </p:cNvSpPr>
                  <p:nvPr/>
                </p:nvSpPr>
                <p:spPr bwMode="gray">
                  <a:xfrm>
                    <a:off x="2608" y="2346"/>
                    <a:ext cx="84" cy="123"/>
                  </a:xfrm>
                  <a:custGeom>
                    <a:avLst/>
                    <a:gdLst>
                      <a:gd name="T0" fmla="*/ 9 w 420"/>
                      <a:gd name="T1" fmla="*/ 23 h 615"/>
                      <a:gd name="T2" fmla="*/ 7 w 420"/>
                      <a:gd name="T3" fmla="*/ 23 h 615"/>
                      <a:gd name="T4" fmla="*/ 3 w 420"/>
                      <a:gd name="T5" fmla="*/ 23 h 615"/>
                      <a:gd name="T6" fmla="*/ 3 w 420"/>
                      <a:gd name="T7" fmla="*/ 21 h 615"/>
                      <a:gd name="T8" fmla="*/ 3 w 420"/>
                      <a:gd name="T9" fmla="*/ 21 h 615"/>
                      <a:gd name="T10" fmla="*/ 3 w 420"/>
                      <a:gd name="T11" fmla="*/ 20 h 615"/>
                      <a:gd name="T12" fmla="*/ 3 w 420"/>
                      <a:gd name="T13" fmla="*/ 20 h 615"/>
                      <a:gd name="T14" fmla="*/ 2 w 420"/>
                      <a:gd name="T15" fmla="*/ 19 h 615"/>
                      <a:gd name="T16" fmla="*/ 1 w 420"/>
                      <a:gd name="T17" fmla="*/ 19 h 615"/>
                      <a:gd name="T18" fmla="*/ 0 w 420"/>
                      <a:gd name="T19" fmla="*/ 18 h 615"/>
                      <a:gd name="T20" fmla="*/ 0 w 420"/>
                      <a:gd name="T21" fmla="*/ 18 h 615"/>
                      <a:gd name="T22" fmla="*/ 0 w 420"/>
                      <a:gd name="T23" fmla="*/ 17 h 615"/>
                      <a:gd name="T24" fmla="*/ 1 w 420"/>
                      <a:gd name="T25" fmla="*/ 16 h 615"/>
                      <a:gd name="T26" fmla="*/ 2 w 420"/>
                      <a:gd name="T27" fmla="*/ 14 h 615"/>
                      <a:gd name="T28" fmla="*/ 2 w 420"/>
                      <a:gd name="T29" fmla="*/ 13 h 615"/>
                      <a:gd name="T30" fmla="*/ 4 w 420"/>
                      <a:gd name="T31" fmla="*/ 13 h 615"/>
                      <a:gd name="T32" fmla="*/ 5 w 420"/>
                      <a:gd name="T33" fmla="*/ 14 h 615"/>
                      <a:gd name="T34" fmla="*/ 6 w 420"/>
                      <a:gd name="T35" fmla="*/ 14 h 615"/>
                      <a:gd name="T36" fmla="*/ 7 w 420"/>
                      <a:gd name="T37" fmla="*/ 14 h 615"/>
                      <a:gd name="T38" fmla="*/ 8 w 420"/>
                      <a:gd name="T39" fmla="*/ 11 h 615"/>
                      <a:gd name="T40" fmla="*/ 8 w 420"/>
                      <a:gd name="T41" fmla="*/ 10 h 615"/>
                      <a:gd name="T42" fmla="*/ 10 w 420"/>
                      <a:gd name="T43" fmla="*/ 9 h 615"/>
                      <a:gd name="T44" fmla="*/ 10 w 420"/>
                      <a:gd name="T45" fmla="*/ 7 h 615"/>
                      <a:gd name="T46" fmla="*/ 11 w 420"/>
                      <a:gd name="T47" fmla="*/ 5 h 615"/>
                      <a:gd name="T48" fmla="*/ 11 w 420"/>
                      <a:gd name="T49" fmla="*/ 4 h 615"/>
                      <a:gd name="T50" fmla="*/ 12 w 420"/>
                      <a:gd name="T51" fmla="*/ 3 h 615"/>
                      <a:gd name="T52" fmla="*/ 13 w 420"/>
                      <a:gd name="T53" fmla="*/ 2 h 615"/>
                      <a:gd name="T54" fmla="*/ 13 w 420"/>
                      <a:gd name="T55" fmla="*/ 1 h 615"/>
                      <a:gd name="T56" fmla="*/ 12 w 420"/>
                      <a:gd name="T57" fmla="*/ 1 h 615"/>
                      <a:gd name="T58" fmla="*/ 13 w 420"/>
                      <a:gd name="T59" fmla="*/ 0 h 615"/>
                      <a:gd name="T60" fmla="*/ 14 w 420"/>
                      <a:gd name="T61" fmla="*/ 0 h 615"/>
                      <a:gd name="T62" fmla="*/ 14 w 420"/>
                      <a:gd name="T63" fmla="*/ 2 h 615"/>
                      <a:gd name="T64" fmla="*/ 14 w 420"/>
                      <a:gd name="T65" fmla="*/ 4 h 615"/>
                      <a:gd name="T66" fmla="*/ 15 w 420"/>
                      <a:gd name="T67" fmla="*/ 6 h 615"/>
                      <a:gd name="T68" fmla="*/ 15 w 420"/>
                      <a:gd name="T69" fmla="*/ 6 h 615"/>
                      <a:gd name="T70" fmla="*/ 13 w 420"/>
                      <a:gd name="T71" fmla="*/ 6 h 615"/>
                      <a:gd name="T72" fmla="*/ 13 w 420"/>
                      <a:gd name="T73" fmla="*/ 6 h 615"/>
                      <a:gd name="T74" fmla="*/ 12 w 420"/>
                      <a:gd name="T75" fmla="*/ 8 h 615"/>
                      <a:gd name="T76" fmla="*/ 14 w 420"/>
                      <a:gd name="T77" fmla="*/ 9 h 615"/>
                      <a:gd name="T78" fmla="*/ 14 w 420"/>
                      <a:gd name="T79" fmla="*/ 9 h 615"/>
                      <a:gd name="T80" fmla="*/ 15 w 420"/>
                      <a:gd name="T81" fmla="*/ 12 h 615"/>
                      <a:gd name="T82" fmla="*/ 15 w 420"/>
                      <a:gd name="T83" fmla="*/ 13 h 615"/>
                      <a:gd name="T84" fmla="*/ 14 w 420"/>
                      <a:gd name="T85" fmla="*/ 15 h 615"/>
                      <a:gd name="T86" fmla="*/ 13 w 420"/>
                      <a:gd name="T87" fmla="*/ 16 h 615"/>
                      <a:gd name="T88" fmla="*/ 14 w 420"/>
                      <a:gd name="T89" fmla="*/ 18 h 615"/>
                      <a:gd name="T90" fmla="*/ 16 w 420"/>
                      <a:gd name="T91" fmla="*/ 21 h 615"/>
                      <a:gd name="T92" fmla="*/ 17 w 420"/>
                      <a:gd name="T93" fmla="*/ 22 h 615"/>
                      <a:gd name="T94" fmla="*/ 17 w 420"/>
                      <a:gd name="T95" fmla="*/ 25 h 615"/>
                      <a:gd name="T96" fmla="*/ 15 w 420"/>
                      <a:gd name="T97" fmla="*/ 24 h 615"/>
                      <a:gd name="T98" fmla="*/ 11 w 420"/>
                      <a:gd name="T99" fmla="*/ 23 h 615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w 420"/>
                      <a:gd name="T151" fmla="*/ 0 h 615"/>
                      <a:gd name="T152" fmla="*/ 420 w 420"/>
                      <a:gd name="T153" fmla="*/ 615 h 615"/>
                    </a:gdLst>
                    <a:ahLst/>
                    <a:cxnLst>
                      <a:cxn ang="T100">
                        <a:pos x="T0" y="T1"/>
                      </a:cxn>
                      <a:cxn ang="T101">
                        <a:pos x="T2" y="T3"/>
                      </a:cxn>
                      <a:cxn ang="T102">
                        <a:pos x="T4" y="T5"/>
                      </a:cxn>
                      <a:cxn ang="T103">
                        <a:pos x="T6" y="T7"/>
                      </a:cxn>
                      <a:cxn ang="T104">
                        <a:pos x="T8" y="T9"/>
                      </a:cxn>
                      <a:cxn ang="T105">
                        <a:pos x="T10" y="T11"/>
                      </a:cxn>
                      <a:cxn ang="T106">
                        <a:pos x="T12" y="T13"/>
                      </a:cxn>
                      <a:cxn ang="T107">
                        <a:pos x="T14" y="T15"/>
                      </a:cxn>
                      <a:cxn ang="T108">
                        <a:pos x="T16" y="T17"/>
                      </a:cxn>
                      <a:cxn ang="T109">
                        <a:pos x="T18" y="T19"/>
                      </a:cxn>
                      <a:cxn ang="T110">
                        <a:pos x="T20" y="T21"/>
                      </a:cxn>
                      <a:cxn ang="T111">
                        <a:pos x="T22" y="T23"/>
                      </a:cxn>
                      <a:cxn ang="T112">
                        <a:pos x="T24" y="T25"/>
                      </a:cxn>
                      <a:cxn ang="T113">
                        <a:pos x="T26" y="T27"/>
                      </a:cxn>
                      <a:cxn ang="T114">
                        <a:pos x="T28" y="T29"/>
                      </a:cxn>
                      <a:cxn ang="T115">
                        <a:pos x="T30" y="T31"/>
                      </a:cxn>
                      <a:cxn ang="T116">
                        <a:pos x="T32" y="T33"/>
                      </a:cxn>
                      <a:cxn ang="T117">
                        <a:pos x="T34" y="T35"/>
                      </a:cxn>
                      <a:cxn ang="T118">
                        <a:pos x="T36" y="T37"/>
                      </a:cxn>
                      <a:cxn ang="T119">
                        <a:pos x="T38" y="T39"/>
                      </a:cxn>
                      <a:cxn ang="T120">
                        <a:pos x="T40" y="T41"/>
                      </a:cxn>
                      <a:cxn ang="T121">
                        <a:pos x="T42" y="T43"/>
                      </a:cxn>
                      <a:cxn ang="T122">
                        <a:pos x="T44" y="T45"/>
                      </a:cxn>
                      <a:cxn ang="T123">
                        <a:pos x="T46" y="T47"/>
                      </a:cxn>
                      <a:cxn ang="T124">
                        <a:pos x="T48" y="T49"/>
                      </a:cxn>
                      <a:cxn ang="T125">
                        <a:pos x="T50" y="T51"/>
                      </a:cxn>
                      <a:cxn ang="T126">
                        <a:pos x="T52" y="T53"/>
                      </a:cxn>
                      <a:cxn ang="T127">
                        <a:pos x="T54" y="T55"/>
                      </a:cxn>
                      <a:cxn ang="T128">
                        <a:pos x="T56" y="T57"/>
                      </a:cxn>
                      <a:cxn ang="T129">
                        <a:pos x="T58" y="T59"/>
                      </a:cxn>
                      <a:cxn ang="T130">
                        <a:pos x="T60" y="T61"/>
                      </a:cxn>
                      <a:cxn ang="T131">
                        <a:pos x="T62" y="T63"/>
                      </a:cxn>
                      <a:cxn ang="T132">
                        <a:pos x="T64" y="T65"/>
                      </a:cxn>
                      <a:cxn ang="T133">
                        <a:pos x="T66" y="T67"/>
                      </a:cxn>
                      <a:cxn ang="T134">
                        <a:pos x="T68" y="T69"/>
                      </a:cxn>
                      <a:cxn ang="T135">
                        <a:pos x="T70" y="T71"/>
                      </a:cxn>
                      <a:cxn ang="T136">
                        <a:pos x="T72" y="T73"/>
                      </a:cxn>
                      <a:cxn ang="T137">
                        <a:pos x="T74" y="T75"/>
                      </a:cxn>
                      <a:cxn ang="T138">
                        <a:pos x="T76" y="T77"/>
                      </a:cxn>
                      <a:cxn ang="T139">
                        <a:pos x="T78" y="T79"/>
                      </a:cxn>
                      <a:cxn ang="T140">
                        <a:pos x="T80" y="T81"/>
                      </a:cxn>
                      <a:cxn ang="T141">
                        <a:pos x="T82" y="T83"/>
                      </a:cxn>
                      <a:cxn ang="T142">
                        <a:pos x="T84" y="T85"/>
                      </a:cxn>
                      <a:cxn ang="T143">
                        <a:pos x="T86" y="T87"/>
                      </a:cxn>
                      <a:cxn ang="T144">
                        <a:pos x="T88" y="T89"/>
                      </a:cxn>
                      <a:cxn ang="T145">
                        <a:pos x="T90" y="T91"/>
                      </a:cxn>
                      <a:cxn ang="T146">
                        <a:pos x="T92" y="T93"/>
                      </a:cxn>
                      <a:cxn ang="T147">
                        <a:pos x="T94" y="T95"/>
                      </a:cxn>
                      <a:cxn ang="T148">
                        <a:pos x="T96" y="T97"/>
                      </a:cxn>
                      <a:cxn ang="T149">
                        <a:pos x="T98" y="T99"/>
                      </a:cxn>
                    </a:cxnLst>
                    <a:rect l="T150" t="T151" r="T152" b="T153"/>
                    <a:pathLst>
                      <a:path w="420" h="615">
                        <a:moveTo>
                          <a:pt x="264" y="585"/>
                        </a:moveTo>
                        <a:lnTo>
                          <a:pt x="256" y="582"/>
                        </a:lnTo>
                        <a:lnTo>
                          <a:pt x="220" y="581"/>
                        </a:lnTo>
                        <a:lnTo>
                          <a:pt x="204" y="577"/>
                        </a:lnTo>
                        <a:lnTo>
                          <a:pt x="184" y="581"/>
                        </a:lnTo>
                        <a:lnTo>
                          <a:pt x="170" y="579"/>
                        </a:lnTo>
                        <a:lnTo>
                          <a:pt x="156" y="582"/>
                        </a:lnTo>
                        <a:lnTo>
                          <a:pt x="116" y="582"/>
                        </a:lnTo>
                        <a:lnTo>
                          <a:pt x="74" y="585"/>
                        </a:lnTo>
                        <a:lnTo>
                          <a:pt x="70" y="586"/>
                        </a:lnTo>
                        <a:lnTo>
                          <a:pt x="74" y="552"/>
                        </a:lnTo>
                        <a:lnTo>
                          <a:pt x="79" y="536"/>
                        </a:lnTo>
                        <a:lnTo>
                          <a:pt x="79" y="529"/>
                        </a:lnTo>
                        <a:lnTo>
                          <a:pt x="81" y="527"/>
                        </a:lnTo>
                        <a:lnTo>
                          <a:pt x="75" y="520"/>
                        </a:lnTo>
                        <a:lnTo>
                          <a:pt x="69" y="513"/>
                        </a:lnTo>
                        <a:lnTo>
                          <a:pt x="66" y="509"/>
                        </a:lnTo>
                        <a:lnTo>
                          <a:pt x="63" y="502"/>
                        </a:lnTo>
                        <a:lnTo>
                          <a:pt x="63" y="500"/>
                        </a:lnTo>
                        <a:lnTo>
                          <a:pt x="66" y="499"/>
                        </a:lnTo>
                        <a:lnTo>
                          <a:pt x="68" y="494"/>
                        </a:lnTo>
                        <a:lnTo>
                          <a:pt x="68" y="485"/>
                        </a:lnTo>
                        <a:lnTo>
                          <a:pt x="64" y="483"/>
                        </a:lnTo>
                        <a:lnTo>
                          <a:pt x="58" y="484"/>
                        </a:lnTo>
                        <a:lnTo>
                          <a:pt x="57" y="488"/>
                        </a:lnTo>
                        <a:lnTo>
                          <a:pt x="52" y="489"/>
                        </a:lnTo>
                        <a:lnTo>
                          <a:pt x="32" y="480"/>
                        </a:lnTo>
                        <a:lnTo>
                          <a:pt x="27" y="471"/>
                        </a:lnTo>
                        <a:lnTo>
                          <a:pt x="21" y="456"/>
                        </a:lnTo>
                        <a:lnTo>
                          <a:pt x="11" y="456"/>
                        </a:lnTo>
                        <a:lnTo>
                          <a:pt x="6" y="458"/>
                        </a:lnTo>
                        <a:lnTo>
                          <a:pt x="1" y="455"/>
                        </a:lnTo>
                        <a:lnTo>
                          <a:pt x="3" y="448"/>
                        </a:lnTo>
                        <a:lnTo>
                          <a:pt x="0" y="446"/>
                        </a:lnTo>
                        <a:lnTo>
                          <a:pt x="0" y="439"/>
                        </a:lnTo>
                        <a:lnTo>
                          <a:pt x="7" y="432"/>
                        </a:lnTo>
                        <a:lnTo>
                          <a:pt x="14" y="423"/>
                        </a:lnTo>
                        <a:lnTo>
                          <a:pt x="17" y="414"/>
                        </a:lnTo>
                        <a:lnTo>
                          <a:pt x="19" y="400"/>
                        </a:lnTo>
                        <a:lnTo>
                          <a:pt x="22" y="385"/>
                        </a:lnTo>
                        <a:lnTo>
                          <a:pt x="31" y="369"/>
                        </a:lnTo>
                        <a:lnTo>
                          <a:pt x="39" y="358"/>
                        </a:lnTo>
                        <a:lnTo>
                          <a:pt x="47" y="350"/>
                        </a:lnTo>
                        <a:lnTo>
                          <a:pt x="58" y="345"/>
                        </a:lnTo>
                        <a:lnTo>
                          <a:pt x="62" y="328"/>
                        </a:lnTo>
                        <a:lnTo>
                          <a:pt x="64" y="328"/>
                        </a:lnTo>
                        <a:lnTo>
                          <a:pt x="79" y="328"/>
                        </a:lnTo>
                        <a:lnTo>
                          <a:pt x="101" y="323"/>
                        </a:lnTo>
                        <a:lnTo>
                          <a:pt x="116" y="324"/>
                        </a:lnTo>
                        <a:lnTo>
                          <a:pt x="127" y="334"/>
                        </a:lnTo>
                        <a:lnTo>
                          <a:pt x="130" y="339"/>
                        </a:lnTo>
                        <a:lnTo>
                          <a:pt x="130" y="340"/>
                        </a:lnTo>
                        <a:lnTo>
                          <a:pt x="134" y="343"/>
                        </a:lnTo>
                        <a:lnTo>
                          <a:pt x="143" y="350"/>
                        </a:lnTo>
                        <a:lnTo>
                          <a:pt x="156" y="351"/>
                        </a:lnTo>
                        <a:lnTo>
                          <a:pt x="165" y="348"/>
                        </a:lnTo>
                        <a:lnTo>
                          <a:pt x="168" y="342"/>
                        </a:lnTo>
                        <a:lnTo>
                          <a:pt x="170" y="333"/>
                        </a:lnTo>
                        <a:lnTo>
                          <a:pt x="188" y="302"/>
                        </a:lnTo>
                        <a:lnTo>
                          <a:pt x="198" y="280"/>
                        </a:lnTo>
                        <a:lnTo>
                          <a:pt x="200" y="273"/>
                        </a:lnTo>
                        <a:lnTo>
                          <a:pt x="204" y="257"/>
                        </a:lnTo>
                        <a:lnTo>
                          <a:pt x="210" y="241"/>
                        </a:lnTo>
                        <a:lnTo>
                          <a:pt x="221" y="229"/>
                        </a:lnTo>
                        <a:lnTo>
                          <a:pt x="236" y="222"/>
                        </a:lnTo>
                        <a:lnTo>
                          <a:pt x="238" y="217"/>
                        </a:lnTo>
                        <a:lnTo>
                          <a:pt x="240" y="211"/>
                        </a:lnTo>
                        <a:lnTo>
                          <a:pt x="241" y="199"/>
                        </a:lnTo>
                        <a:lnTo>
                          <a:pt x="249" y="171"/>
                        </a:lnTo>
                        <a:lnTo>
                          <a:pt x="251" y="160"/>
                        </a:lnTo>
                        <a:lnTo>
                          <a:pt x="254" y="149"/>
                        </a:lnTo>
                        <a:lnTo>
                          <a:pt x="263" y="131"/>
                        </a:lnTo>
                        <a:lnTo>
                          <a:pt x="270" y="108"/>
                        </a:lnTo>
                        <a:lnTo>
                          <a:pt x="274" y="101"/>
                        </a:lnTo>
                        <a:lnTo>
                          <a:pt x="279" y="95"/>
                        </a:lnTo>
                        <a:lnTo>
                          <a:pt x="288" y="85"/>
                        </a:lnTo>
                        <a:lnTo>
                          <a:pt x="291" y="84"/>
                        </a:lnTo>
                        <a:lnTo>
                          <a:pt x="307" y="77"/>
                        </a:lnTo>
                        <a:lnTo>
                          <a:pt x="310" y="74"/>
                        </a:lnTo>
                        <a:lnTo>
                          <a:pt x="329" y="61"/>
                        </a:lnTo>
                        <a:lnTo>
                          <a:pt x="327" y="48"/>
                        </a:lnTo>
                        <a:lnTo>
                          <a:pt x="328" y="31"/>
                        </a:lnTo>
                        <a:lnTo>
                          <a:pt x="326" y="26"/>
                        </a:lnTo>
                        <a:lnTo>
                          <a:pt x="323" y="23"/>
                        </a:lnTo>
                        <a:lnTo>
                          <a:pt x="322" y="22"/>
                        </a:lnTo>
                        <a:lnTo>
                          <a:pt x="311" y="18"/>
                        </a:lnTo>
                        <a:lnTo>
                          <a:pt x="310" y="15"/>
                        </a:lnTo>
                        <a:lnTo>
                          <a:pt x="315" y="15"/>
                        </a:lnTo>
                        <a:lnTo>
                          <a:pt x="323" y="3"/>
                        </a:lnTo>
                        <a:lnTo>
                          <a:pt x="332" y="0"/>
                        </a:lnTo>
                        <a:lnTo>
                          <a:pt x="338" y="0"/>
                        </a:lnTo>
                        <a:lnTo>
                          <a:pt x="340" y="1"/>
                        </a:lnTo>
                        <a:lnTo>
                          <a:pt x="340" y="4"/>
                        </a:lnTo>
                        <a:lnTo>
                          <a:pt x="347" y="32"/>
                        </a:lnTo>
                        <a:lnTo>
                          <a:pt x="353" y="41"/>
                        </a:lnTo>
                        <a:lnTo>
                          <a:pt x="355" y="48"/>
                        </a:lnTo>
                        <a:lnTo>
                          <a:pt x="354" y="68"/>
                        </a:lnTo>
                        <a:lnTo>
                          <a:pt x="353" y="79"/>
                        </a:lnTo>
                        <a:lnTo>
                          <a:pt x="349" y="90"/>
                        </a:lnTo>
                        <a:lnTo>
                          <a:pt x="349" y="98"/>
                        </a:lnTo>
                        <a:lnTo>
                          <a:pt x="359" y="119"/>
                        </a:lnTo>
                        <a:lnTo>
                          <a:pt x="374" y="140"/>
                        </a:lnTo>
                        <a:lnTo>
                          <a:pt x="376" y="146"/>
                        </a:lnTo>
                        <a:lnTo>
                          <a:pt x="377" y="155"/>
                        </a:lnTo>
                        <a:lnTo>
                          <a:pt x="376" y="157"/>
                        </a:lnTo>
                        <a:lnTo>
                          <a:pt x="372" y="160"/>
                        </a:lnTo>
                        <a:lnTo>
                          <a:pt x="353" y="156"/>
                        </a:lnTo>
                        <a:lnTo>
                          <a:pt x="337" y="154"/>
                        </a:lnTo>
                        <a:lnTo>
                          <a:pt x="322" y="155"/>
                        </a:lnTo>
                        <a:lnTo>
                          <a:pt x="318" y="156"/>
                        </a:lnTo>
                        <a:lnTo>
                          <a:pt x="315" y="159"/>
                        </a:lnTo>
                        <a:lnTo>
                          <a:pt x="310" y="165"/>
                        </a:lnTo>
                        <a:lnTo>
                          <a:pt x="310" y="179"/>
                        </a:lnTo>
                        <a:lnTo>
                          <a:pt x="311" y="192"/>
                        </a:lnTo>
                        <a:lnTo>
                          <a:pt x="322" y="205"/>
                        </a:lnTo>
                        <a:lnTo>
                          <a:pt x="329" y="211"/>
                        </a:lnTo>
                        <a:lnTo>
                          <a:pt x="338" y="215"/>
                        </a:lnTo>
                        <a:lnTo>
                          <a:pt x="350" y="217"/>
                        </a:lnTo>
                        <a:lnTo>
                          <a:pt x="354" y="220"/>
                        </a:lnTo>
                        <a:lnTo>
                          <a:pt x="360" y="230"/>
                        </a:lnTo>
                        <a:lnTo>
                          <a:pt x="370" y="257"/>
                        </a:lnTo>
                        <a:lnTo>
                          <a:pt x="375" y="275"/>
                        </a:lnTo>
                        <a:lnTo>
                          <a:pt x="376" y="292"/>
                        </a:lnTo>
                        <a:lnTo>
                          <a:pt x="377" y="295"/>
                        </a:lnTo>
                        <a:lnTo>
                          <a:pt x="380" y="297"/>
                        </a:lnTo>
                        <a:lnTo>
                          <a:pt x="370" y="323"/>
                        </a:lnTo>
                        <a:lnTo>
                          <a:pt x="360" y="338"/>
                        </a:lnTo>
                        <a:lnTo>
                          <a:pt x="353" y="354"/>
                        </a:lnTo>
                        <a:lnTo>
                          <a:pt x="343" y="369"/>
                        </a:lnTo>
                        <a:lnTo>
                          <a:pt x="332" y="380"/>
                        </a:lnTo>
                        <a:lnTo>
                          <a:pt x="332" y="393"/>
                        </a:lnTo>
                        <a:lnTo>
                          <a:pt x="335" y="407"/>
                        </a:lnTo>
                        <a:lnTo>
                          <a:pt x="334" y="424"/>
                        </a:lnTo>
                        <a:lnTo>
                          <a:pt x="335" y="440"/>
                        </a:lnTo>
                        <a:lnTo>
                          <a:pt x="345" y="458"/>
                        </a:lnTo>
                        <a:lnTo>
                          <a:pt x="354" y="469"/>
                        </a:lnTo>
                        <a:lnTo>
                          <a:pt x="378" y="516"/>
                        </a:lnTo>
                        <a:lnTo>
                          <a:pt x="390" y="528"/>
                        </a:lnTo>
                        <a:lnTo>
                          <a:pt x="413" y="548"/>
                        </a:lnTo>
                        <a:lnTo>
                          <a:pt x="420" y="548"/>
                        </a:lnTo>
                        <a:lnTo>
                          <a:pt x="418" y="559"/>
                        </a:lnTo>
                        <a:lnTo>
                          <a:pt x="420" y="602"/>
                        </a:lnTo>
                        <a:lnTo>
                          <a:pt x="418" y="612"/>
                        </a:lnTo>
                        <a:lnTo>
                          <a:pt x="413" y="615"/>
                        </a:lnTo>
                        <a:lnTo>
                          <a:pt x="390" y="597"/>
                        </a:lnTo>
                        <a:lnTo>
                          <a:pt x="380" y="597"/>
                        </a:lnTo>
                        <a:lnTo>
                          <a:pt x="366" y="592"/>
                        </a:lnTo>
                        <a:lnTo>
                          <a:pt x="351" y="591"/>
                        </a:lnTo>
                        <a:lnTo>
                          <a:pt x="340" y="585"/>
                        </a:lnTo>
                        <a:lnTo>
                          <a:pt x="264" y="585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60" name="Freeform 10"/>
                  <p:cNvSpPr>
                    <a:spLocks/>
                  </p:cNvSpPr>
                  <p:nvPr/>
                </p:nvSpPr>
                <p:spPr bwMode="gray">
                  <a:xfrm>
                    <a:off x="2524" y="2350"/>
                    <a:ext cx="33" cy="68"/>
                  </a:xfrm>
                  <a:custGeom>
                    <a:avLst/>
                    <a:gdLst>
                      <a:gd name="T0" fmla="*/ 6 w 166"/>
                      <a:gd name="T1" fmla="*/ 1 h 340"/>
                      <a:gd name="T2" fmla="*/ 5 w 166"/>
                      <a:gd name="T3" fmla="*/ 0 h 340"/>
                      <a:gd name="T4" fmla="*/ 5 w 166"/>
                      <a:gd name="T5" fmla="*/ 0 h 340"/>
                      <a:gd name="T6" fmla="*/ 4 w 166"/>
                      <a:gd name="T7" fmla="*/ 0 h 340"/>
                      <a:gd name="T8" fmla="*/ 4 w 166"/>
                      <a:gd name="T9" fmla="*/ 0 h 340"/>
                      <a:gd name="T10" fmla="*/ 4 w 166"/>
                      <a:gd name="T11" fmla="*/ 1 h 340"/>
                      <a:gd name="T12" fmla="*/ 4 w 166"/>
                      <a:gd name="T13" fmla="*/ 1 h 340"/>
                      <a:gd name="T14" fmla="*/ 3 w 166"/>
                      <a:gd name="T15" fmla="*/ 1 h 340"/>
                      <a:gd name="T16" fmla="*/ 3 w 166"/>
                      <a:gd name="T17" fmla="*/ 2 h 340"/>
                      <a:gd name="T18" fmla="*/ 3 w 166"/>
                      <a:gd name="T19" fmla="*/ 2 h 340"/>
                      <a:gd name="T20" fmla="*/ 2 w 166"/>
                      <a:gd name="T21" fmla="*/ 2 h 340"/>
                      <a:gd name="T22" fmla="*/ 1 w 166"/>
                      <a:gd name="T23" fmla="*/ 2 h 340"/>
                      <a:gd name="T24" fmla="*/ 1 w 166"/>
                      <a:gd name="T25" fmla="*/ 3 h 340"/>
                      <a:gd name="T26" fmla="*/ 1 w 166"/>
                      <a:gd name="T27" fmla="*/ 3 h 340"/>
                      <a:gd name="T28" fmla="*/ 1 w 166"/>
                      <a:gd name="T29" fmla="*/ 3 h 340"/>
                      <a:gd name="T30" fmla="*/ 0 w 166"/>
                      <a:gd name="T31" fmla="*/ 3 h 340"/>
                      <a:gd name="T32" fmla="*/ 0 w 166"/>
                      <a:gd name="T33" fmla="*/ 3 h 340"/>
                      <a:gd name="T34" fmla="*/ 0 w 166"/>
                      <a:gd name="T35" fmla="*/ 4 h 340"/>
                      <a:gd name="T36" fmla="*/ 0 w 166"/>
                      <a:gd name="T37" fmla="*/ 5 h 340"/>
                      <a:gd name="T38" fmla="*/ 0 w 166"/>
                      <a:gd name="T39" fmla="*/ 5 h 340"/>
                      <a:gd name="T40" fmla="*/ 1 w 166"/>
                      <a:gd name="T41" fmla="*/ 5 h 340"/>
                      <a:gd name="T42" fmla="*/ 2 w 166"/>
                      <a:gd name="T43" fmla="*/ 6 h 340"/>
                      <a:gd name="T44" fmla="*/ 2 w 166"/>
                      <a:gd name="T45" fmla="*/ 8 h 340"/>
                      <a:gd name="T46" fmla="*/ 2 w 166"/>
                      <a:gd name="T47" fmla="*/ 8 h 340"/>
                      <a:gd name="T48" fmla="*/ 2 w 166"/>
                      <a:gd name="T49" fmla="*/ 9 h 340"/>
                      <a:gd name="T50" fmla="*/ 2 w 166"/>
                      <a:gd name="T51" fmla="*/ 12 h 340"/>
                      <a:gd name="T52" fmla="*/ 2 w 166"/>
                      <a:gd name="T53" fmla="*/ 13 h 340"/>
                      <a:gd name="T54" fmla="*/ 2 w 166"/>
                      <a:gd name="T55" fmla="*/ 14 h 340"/>
                      <a:gd name="T56" fmla="*/ 4 w 166"/>
                      <a:gd name="T57" fmla="*/ 13 h 340"/>
                      <a:gd name="T58" fmla="*/ 4 w 166"/>
                      <a:gd name="T59" fmla="*/ 12 h 340"/>
                      <a:gd name="T60" fmla="*/ 4 w 166"/>
                      <a:gd name="T61" fmla="*/ 11 h 340"/>
                      <a:gd name="T62" fmla="*/ 4 w 166"/>
                      <a:gd name="T63" fmla="*/ 9 h 340"/>
                      <a:gd name="T64" fmla="*/ 5 w 166"/>
                      <a:gd name="T65" fmla="*/ 7 h 340"/>
                      <a:gd name="T66" fmla="*/ 5 w 166"/>
                      <a:gd name="T67" fmla="*/ 6 h 340"/>
                      <a:gd name="T68" fmla="*/ 6 w 166"/>
                      <a:gd name="T69" fmla="*/ 6 h 340"/>
                      <a:gd name="T70" fmla="*/ 6 w 166"/>
                      <a:gd name="T71" fmla="*/ 5 h 340"/>
                      <a:gd name="T72" fmla="*/ 6 w 166"/>
                      <a:gd name="T73" fmla="*/ 5 h 340"/>
                      <a:gd name="T74" fmla="*/ 6 w 166"/>
                      <a:gd name="T75" fmla="*/ 5 h 340"/>
                      <a:gd name="T76" fmla="*/ 6 w 166"/>
                      <a:gd name="T77" fmla="*/ 4 h 340"/>
                      <a:gd name="T78" fmla="*/ 7 w 166"/>
                      <a:gd name="T79" fmla="*/ 4 h 340"/>
                      <a:gd name="T80" fmla="*/ 6 w 166"/>
                      <a:gd name="T81" fmla="*/ 3 h 340"/>
                      <a:gd name="T82" fmla="*/ 6 w 166"/>
                      <a:gd name="T83" fmla="*/ 2 h 340"/>
                      <a:gd name="T84" fmla="*/ 6 w 166"/>
                      <a:gd name="T85" fmla="*/ 2 h 340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66"/>
                      <a:gd name="T130" fmla="*/ 0 h 340"/>
                      <a:gd name="T131" fmla="*/ 166 w 166"/>
                      <a:gd name="T132" fmla="*/ 340 h 340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66" h="340">
                        <a:moveTo>
                          <a:pt x="156" y="37"/>
                        </a:moveTo>
                        <a:lnTo>
                          <a:pt x="147" y="30"/>
                        </a:lnTo>
                        <a:lnTo>
                          <a:pt x="140" y="25"/>
                        </a:lnTo>
                        <a:lnTo>
                          <a:pt x="128" y="12"/>
                        </a:lnTo>
                        <a:lnTo>
                          <a:pt x="117" y="1"/>
                        </a:lnTo>
                        <a:lnTo>
                          <a:pt x="114" y="0"/>
                        </a:lnTo>
                        <a:lnTo>
                          <a:pt x="106" y="4"/>
                        </a:lnTo>
                        <a:lnTo>
                          <a:pt x="101" y="5"/>
                        </a:lnTo>
                        <a:lnTo>
                          <a:pt x="90" y="8"/>
                        </a:lnTo>
                        <a:lnTo>
                          <a:pt x="90" y="12"/>
                        </a:lnTo>
                        <a:lnTo>
                          <a:pt x="97" y="21"/>
                        </a:lnTo>
                        <a:lnTo>
                          <a:pt x="90" y="25"/>
                        </a:lnTo>
                        <a:lnTo>
                          <a:pt x="90" y="24"/>
                        </a:lnTo>
                        <a:lnTo>
                          <a:pt x="90" y="26"/>
                        </a:lnTo>
                        <a:lnTo>
                          <a:pt x="88" y="31"/>
                        </a:lnTo>
                        <a:lnTo>
                          <a:pt x="85" y="35"/>
                        </a:lnTo>
                        <a:lnTo>
                          <a:pt x="85" y="36"/>
                        </a:lnTo>
                        <a:lnTo>
                          <a:pt x="83" y="39"/>
                        </a:lnTo>
                        <a:lnTo>
                          <a:pt x="71" y="51"/>
                        </a:lnTo>
                        <a:lnTo>
                          <a:pt x="66" y="53"/>
                        </a:lnTo>
                        <a:lnTo>
                          <a:pt x="60" y="51"/>
                        </a:lnTo>
                        <a:lnTo>
                          <a:pt x="52" y="53"/>
                        </a:lnTo>
                        <a:lnTo>
                          <a:pt x="43" y="49"/>
                        </a:lnTo>
                        <a:lnTo>
                          <a:pt x="37" y="49"/>
                        </a:lnTo>
                        <a:lnTo>
                          <a:pt x="34" y="51"/>
                        </a:lnTo>
                        <a:lnTo>
                          <a:pt x="27" y="63"/>
                        </a:lnTo>
                        <a:lnTo>
                          <a:pt x="23" y="62"/>
                        </a:lnTo>
                        <a:lnTo>
                          <a:pt x="21" y="64"/>
                        </a:lnTo>
                        <a:lnTo>
                          <a:pt x="20" y="65"/>
                        </a:lnTo>
                        <a:lnTo>
                          <a:pt x="17" y="68"/>
                        </a:lnTo>
                        <a:lnTo>
                          <a:pt x="16" y="74"/>
                        </a:lnTo>
                        <a:lnTo>
                          <a:pt x="12" y="74"/>
                        </a:lnTo>
                        <a:lnTo>
                          <a:pt x="9" y="78"/>
                        </a:lnTo>
                        <a:lnTo>
                          <a:pt x="6" y="80"/>
                        </a:lnTo>
                        <a:lnTo>
                          <a:pt x="5" y="87"/>
                        </a:lnTo>
                        <a:lnTo>
                          <a:pt x="1" y="95"/>
                        </a:lnTo>
                        <a:lnTo>
                          <a:pt x="0" y="105"/>
                        </a:lnTo>
                        <a:lnTo>
                          <a:pt x="0" y="113"/>
                        </a:lnTo>
                        <a:lnTo>
                          <a:pt x="5" y="117"/>
                        </a:lnTo>
                        <a:lnTo>
                          <a:pt x="11" y="121"/>
                        </a:lnTo>
                        <a:lnTo>
                          <a:pt x="15" y="121"/>
                        </a:lnTo>
                        <a:lnTo>
                          <a:pt x="20" y="124"/>
                        </a:lnTo>
                        <a:lnTo>
                          <a:pt x="32" y="139"/>
                        </a:lnTo>
                        <a:lnTo>
                          <a:pt x="41" y="159"/>
                        </a:lnTo>
                        <a:lnTo>
                          <a:pt x="47" y="180"/>
                        </a:lnTo>
                        <a:lnTo>
                          <a:pt x="50" y="189"/>
                        </a:lnTo>
                        <a:lnTo>
                          <a:pt x="52" y="195"/>
                        </a:lnTo>
                        <a:lnTo>
                          <a:pt x="54" y="204"/>
                        </a:lnTo>
                        <a:lnTo>
                          <a:pt x="56" y="215"/>
                        </a:lnTo>
                        <a:lnTo>
                          <a:pt x="58" y="234"/>
                        </a:lnTo>
                        <a:lnTo>
                          <a:pt x="58" y="285"/>
                        </a:lnTo>
                        <a:lnTo>
                          <a:pt x="54" y="308"/>
                        </a:lnTo>
                        <a:lnTo>
                          <a:pt x="54" y="318"/>
                        </a:lnTo>
                        <a:lnTo>
                          <a:pt x="58" y="331"/>
                        </a:lnTo>
                        <a:lnTo>
                          <a:pt x="60" y="338"/>
                        </a:lnTo>
                        <a:lnTo>
                          <a:pt x="61" y="339"/>
                        </a:lnTo>
                        <a:lnTo>
                          <a:pt x="68" y="340"/>
                        </a:lnTo>
                        <a:lnTo>
                          <a:pt x="112" y="337"/>
                        </a:lnTo>
                        <a:lnTo>
                          <a:pt x="109" y="334"/>
                        </a:lnTo>
                        <a:lnTo>
                          <a:pt x="107" y="295"/>
                        </a:lnTo>
                        <a:lnTo>
                          <a:pt x="108" y="286"/>
                        </a:lnTo>
                        <a:lnTo>
                          <a:pt x="113" y="265"/>
                        </a:lnTo>
                        <a:lnTo>
                          <a:pt x="112" y="235"/>
                        </a:lnTo>
                        <a:lnTo>
                          <a:pt x="113" y="215"/>
                        </a:lnTo>
                        <a:lnTo>
                          <a:pt x="117" y="203"/>
                        </a:lnTo>
                        <a:lnTo>
                          <a:pt x="129" y="183"/>
                        </a:lnTo>
                        <a:lnTo>
                          <a:pt x="130" y="168"/>
                        </a:lnTo>
                        <a:lnTo>
                          <a:pt x="133" y="159"/>
                        </a:lnTo>
                        <a:lnTo>
                          <a:pt x="141" y="149"/>
                        </a:lnTo>
                        <a:lnTo>
                          <a:pt x="156" y="138"/>
                        </a:lnTo>
                        <a:lnTo>
                          <a:pt x="156" y="132"/>
                        </a:lnTo>
                        <a:lnTo>
                          <a:pt x="160" y="129"/>
                        </a:lnTo>
                        <a:lnTo>
                          <a:pt x="160" y="128"/>
                        </a:lnTo>
                        <a:lnTo>
                          <a:pt x="160" y="124"/>
                        </a:lnTo>
                        <a:lnTo>
                          <a:pt x="155" y="119"/>
                        </a:lnTo>
                        <a:lnTo>
                          <a:pt x="155" y="117"/>
                        </a:lnTo>
                        <a:lnTo>
                          <a:pt x="157" y="111"/>
                        </a:lnTo>
                        <a:lnTo>
                          <a:pt x="160" y="109"/>
                        </a:lnTo>
                        <a:lnTo>
                          <a:pt x="165" y="109"/>
                        </a:lnTo>
                        <a:lnTo>
                          <a:pt x="166" y="107"/>
                        </a:lnTo>
                        <a:lnTo>
                          <a:pt x="166" y="89"/>
                        </a:lnTo>
                        <a:lnTo>
                          <a:pt x="162" y="74"/>
                        </a:lnTo>
                        <a:lnTo>
                          <a:pt x="161" y="69"/>
                        </a:lnTo>
                        <a:lnTo>
                          <a:pt x="151" y="59"/>
                        </a:lnTo>
                        <a:lnTo>
                          <a:pt x="150" y="54"/>
                        </a:lnTo>
                        <a:lnTo>
                          <a:pt x="151" y="43"/>
                        </a:lnTo>
                        <a:lnTo>
                          <a:pt x="156" y="37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61" name="Freeform 11"/>
                  <p:cNvSpPr>
                    <a:spLocks/>
                  </p:cNvSpPr>
                  <p:nvPr/>
                </p:nvSpPr>
                <p:spPr bwMode="gray">
                  <a:xfrm>
                    <a:off x="2662" y="2224"/>
                    <a:ext cx="118" cy="181"/>
                  </a:xfrm>
                  <a:custGeom>
                    <a:avLst/>
                    <a:gdLst>
                      <a:gd name="T0" fmla="*/ 4 w 588"/>
                      <a:gd name="T1" fmla="*/ 5 h 905"/>
                      <a:gd name="T2" fmla="*/ 4 w 588"/>
                      <a:gd name="T3" fmla="*/ 6 h 905"/>
                      <a:gd name="T4" fmla="*/ 5 w 588"/>
                      <a:gd name="T5" fmla="*/ 6 h 905"/>
                      <a:gd name="T6" fmla="*/ 5 w 588"/>
                      <a:gd name="T7" fmla="*/ 11 h 905"/>
                      <a:gd name="T8" fmla="*/ 1 w 588"/>
                      <a:gd name="T9" fmla="*/ 19 h 905"/>
                      <a:gd name="T10" fmla="*/ 1 w 588"/>
                      <a:gd name="T11" fmla="*/ 20 h 905"/>
                      <a:gd name="T12" fmla="*/ 0 w 588"/>
                      <a:gd name="T13" fmla="*/ 21 h 905"/>
                      <a:gd name="T14" fmla="*/ 1 w 588"/>
                      <a:gd name="T15" fmla="*/ 21 h 905"/>
                      <a:gd name="T16" fmla="*/ 2 w 588"/>
                      <a:gd name="T17" fmla="*/ 23 h 905"/>
                      <a:gd name="T18" fmla="*/ 3 w 588"/>
                      <a:gd name="T19" fmla="*/ 23 h 905"/>
                      <a:gd name="T20" fmla="*/ 4 w 588"/>
                      <a:gd name="T21" fmla="*/ 23 h 905"/>
                      <a:gd name="T22" fmla="*/ 3 w 588"/>
                      <a:gd name="T23" fmla="*/ 24 h 905"/>
                      <a:gd name="T24" fmla="*/ 3 w 588"/>
                      <a:gd name="T25" fmla="*/ 26 h 905"/>
                      <a:gd name="T26" fmla="*/ 3 w 588"/>
                      <a:gd name="T27" fmla="*/ 27 h 905"/>
                      <a:gd name="T28" fmla="*/ 3 w 588"/>
                      <a:gd name="T29" fmla="*/ 28 h 905"/>
                      <a:gd name="T30" fmla="*/ 4 w 588"/>
                      <a:gd name="T31" fmla="*/ 30 h 905"/>
                      <a:gd name="T32" fmla="*/ 4 w 588"/>
                      <a:gd name="T33" fmla="*/ 31 h 905"/>
                      <a:gd name="T34" fmla="*/ 2 w 588"/>
                      <a:gd name="T35" fmla="*/ 31 h 905"/>
                      <a:gd name="T36" fmla="*/ 2 w 588"/>
                      <a:gd name="T37" fmla="*/ 31 h 905"/>
                      <a:gd name="T38" fmla="*/ 2 w 588"/>
                      <a:gd name="T39" fmla="*/ 33 h 905"/>
                      <a:gd name="T40" fmla="*/ 3 w 588"/>
                      <a:gd name="T41" fmla="*/ 33 h 905"/>
                      <a:gd name="T42" fmla="*/ 4 w 588"/>
                      <a:gd name="T43" fmla="*/ 35 h 905"/>
                      <a:gd name="T44" fmla="*/ 4 w 588"/>
                      <a:gd name="T45" fmla="*/ 36 h 905"/>
                      <a:gd name="T46" fmla="*/ 5 w 588"/>
                      <a:gd name="T47" fmla="*/ 36 h 905"/>
                      <a:gd name="T48" fmla="*/ 6 w 588"/>
                      <a:gd name="T49" fmla="*/ 36 h 905"/>
                      <a:gd name="T50" fmla="*/ 7 w 588"/>
                      <a:gd name="T51" fmla="*/ 36 h 905"/>
                      <a:gd name="T52" fmla="*/ 7 w 588"/>
                      <a:gd name="T53" fmla="*/ 35 h 905"/>
                      <a:gd name="T54" fmla="*/ 7 w 588"/>
                      <a:gd name="T55" fmla="*/ 36 h 905"/>
                      <a:gd name="T56" fmla="*/ 8 w 588"/>
                      <a:gd name="T57" fmla="*/ 36 h 905"/>
                      <a:gd name="T58" fmla="*/ 9 w 588"/>
                      <a:gd name="T59" fmla="*/ 36 h 905"/>
                      <a:gd name="T60" fmla="*/ 10 w 588"/>
                      <a:gd name="T61" fmla="*/ 35 h 905"/>
                      <a:gd name="T62" fmla="*/ 11 w 588"/>
                      <a:gd name="T63" fmla="*/ 35 h 905"/>
                      <a:gd name="T64" fmla="*/ 12 w 588"/>
                      <a:gd name="T65" fmla="*/ 35 h 905"/>
                      <a:gd name="T66" fmla="*/ 12 w 588"/>
                      <a:gd name="T67" fmla="*/ 34 h 905"/>
                      <a:gd name="T68" fmla="*/ 13 w 588"/>
                      <a:gd name="T69" fmla="*/ 34 h 905"/>
                      <a:gd name="T70" fmla="*/ 12 w 588"/>
                      <a:gd name="T71" fmla="*/ 33 h 905"/>
                      <a:gd name="T72" fmla="*/ 13 w 588"/>
                      <a:gd name="T73" fmla="*/ 33 h 905"/>
                      <a:gd name="T74" fmla="*/ 14 w 588"/>
                      <a:gd name="T75" fmla="*/ 33 h 905"/>
                      <a:gd name="T76" fmla="*/ 15 w 588"/>
                      <a:gd name="T77" fmla="*/ 32 h 905"/>
                      <a:gd name="T78" fmla="*/ 16 w 588"/>
                      <a:gd name="T79" fmla="*/ 32 h 905"/>
                      <a:gd name="T80" fmla="*/ 17 w 588"/>
                      <a:gd name="T81" fmla="*/ 32 h 905"/>
                      <a:gd name="T82" fmla="*/ 18 w 588"/>
                      <a:gd name="T83" fmla="*/ 31 h 905"/>
                      <a:gd name="T84" fmla="*/ 18 w 588"/>
                      <a:gd name="T85" fmla="*/ 30 h 905"/>
                      <a:gd name="T86" fmla="*/ 19 w 588"/>
                      <a:gd name="T87" fmla="*/ 29 h 905"/>
                      <a:gd name="T88" fmla="*/ 20 w 588"/>
                      <a:gd name="T89" fmla="*/ 28 h 905"/>
                      <a:gd name="T90" fmla="*/ 21 w 588"/>
                      <a:gd name="T91" fmla="*/ 28 h 905"/>
                      <a:gd name="T92" fmla="*/ 21 w 588"/>
                      <a:gd name="T93" fmla="*/ 27 h 905"/>
                      <a:gd name="T94" fmla="*/ 20 w 588"/>
                      <a:gd name="T95" fmla="*/ 26 h 905"/>
                      <a:gd name="T96" fmla="*/ 19 w 588"/>
                      <a:gd name="T97" fmla="*/ 24 h 905"/>
                      <a:gd name="T98" fmla="*/ 19 w 588"/>
                      <a:gd name="T99" fmla="*/ 24 h 905"/>
                      <a:gd name="T100" fmla="*/ 19 w 588"/>
                      <a:gd name="T101" fmla="*/ 23 h 905"/>
                      <a:gd name="T102" fmla="*/ 19 w 588"/>
                      <a:gd name="T103" fmla="*/ 22 h 905"/>
                      <a:gd name="T104" fmla="*/ 20 w 588"/>
                      <a:gd name="T105" fmla="*/ 21 h 905"/>
                      <a:gd name="T106" fmla="*/ 20 w 588"/>
                      <a:gd name="T107" fmla="*/ 20 h 905"/>
                      <a:gd name="T108" fmla="*/ 21 w 588"/>
                      <a:gd name="T109" fmla="*/ 18 h 905"/>
                      <a:gd name="T110" fmla="*/ 22 w 588"/>
                      <a:gd name="T111" fmla="*/ 18 h 905"/>
                      <a:gd name="T112" fmla="*/ 24 w 588"/>
                      <a:gd name="T113" fmla="*/ 18 h 905"/>
                      <a:gd name="T114" fmla="*/ 24 w 588"/>
                      <a:gd name="T115" fmla="*/ 11 h 905"/>
                      <a:gd name="T116" fmla="*/ 21 w 588"/>
                      <a:gd name="T117" fmla="*/ 8 h 905"/>
                      <a:gd name="T118" fmla="*/ 16 w 588"/>
                      <a:gd name="T119" fmla="*/ 5 h 905"/>
                      <a:gd name="T120" fmla="*/ 10 w 588"/>
                      <a:gd name="T121" fmla="*/ 2 h 905"/>
                      <a:gd name="T122" fmla="*/ 6 w 588"/>
                      <a:gd name="T123" fmla="*/ 0 h 905"/>
                      <a:gd name="T124" fmla="*/ 4 w 588"/>
                      <a:gd name="T125" fmla="*/ 4 h 905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60000 65536"/>
                      <a:gd name="T184" fmla="*/ 0 60000 65536"/>
                      <a:gd name="T185" fmla="*/ 0 60000 65536"/>
                      <a:gd name="T186" fmla="*/ 0 60000 65536"/>
                      <a:gd name="T187" fmla="*/ 0 60000 65536"/>
                      <a:gd name="T188" fmla="*/ 0 60000 65536"/>
                      <a:gd name="T189" fmla="*/ 0 w 588"/>
                      <a:gd name="T190" fmla="*/ 0 h 905"/>
                      <a:gd name="T191" fmla="*/ 588 w 588"/>
                      <a:gd name="T192" fmla="*/ 905 h 905"/>
                    </a:gdLst>
                    <a:ahLst/>
                    <a:cxnLst>
                      <a:cxn ang="T126">
                        <a:pos x="T0" y="T1"/>
                      </a:cxn>
                      <a:cxn ang="T127">
                        <a:pos x="T2" y="T3"/>
                      </a:cxn>
                      <a:cxn ang="T128">
                        <a:pos x="T4" y="T5"/>
                      </a:cxn>
                      <a:cxn ang="T129">
                        <a:pos x="T6" y="T7"/>
                      </a:cxn>
                      <a:cxn ang="T130">
                        <a:pos x="T8" y="T9"/>
                      </a:cxn>
                      <a:cxn ang="T131">
                        <a:pos x="T10" y="T11"/>
                      </a:cxn>
                      <a:cxn ang="T132">
                        <a:pos x="T12" y="T13"/>
                      </a:cxn>
                      <a:cxn ang="T133">
                        <a:pos x="T14" y="T15"/>
                      </a:cxn>
                      <a:cxn ang="T134">
                        <a:pos x="T16" y="T17"/>
                      </a:cxn>
                      <a:cxn ang="T135">
                        <a:pos x="T18" y="T19"/>
                      </a:cxn>
                      <a:cxn ang="T136">
                        <a:pos x="T20" y="T21"/>
                      </a:cxn>
                      <a:cxn ang="T137">
                        <a:pos x="T22" y="T23"/>
                      </a:cxn>
                      <a:cxn ang="T138">
                        <a:pos x="T24" y="T25"/>
                      </a:cxn>
                      <a:cxn ang="T139">
                        <a:pos x="T26" y="T27"/>
                      </a:cxn>
                      <a:cxn ang="T140">
                        <a:pos x="T28" y="T29"/>
                      </a:cxn>
                      <a:cxn ang="T141">
                        <a:pos x="T30" y="T31"/>
                      </a:cxn>
                      <a:cxn ang="T142">
                        <a:pos x="T32" y="T33"/>
                      </a:cxn>
                      <a:cxn ang="T143">
                        <a:pos x="T34" y="T35"/>
                      </a:cxn>
                      <a:cxn ang="T144">
                        <a:pos x="T36" y="T37"/>
                      </a:cxn>
                      <a:cxn ang="T145">
                        <a:pos x="T38" y="T39"/>
                      </a:cxn>
                      <a:cxn ang="T146">
                        <a:pos x="T40" y="T41"/>
                      </a:cxn>
                      <a:cxn ang="T147">
                        <a:pos x="T42" y="T43"/>
                      </a:cxn>
                      <a:cxn ang="T148">
                        <a:pos x="T44" y="T45"/>
                      </a:cxn>
                      <a:cxn ang="T149">
                        <a:pos x="T46" y="T47"/>
                      </a:cxn>
                      <a:cxn ang="T150">
                        <a:pos x="T48" y="T49"/>
                      </a:cxn>
                      <a:cxn ang="T151">
                        <a:pos x="T50" y="T51"/>
                      </a:cxn>
                      <a:cxn ang="T152">
                        <a:pos x="T52" y="T53"/>
                      </a:cxn>
                      <a:cxn ang="T153">
                        <a:pos x="T54" y="T55"/>
                      </a:cxn>
                      <a:cxn ang="T154">
                        <a:pos x="T56" y="T57"/>
                      </a:cxn>
                      <a:cxn ang="T155">
                        <a:pos x="T58" y="T59"/>
                      </a:cxn>
                      <a:cxn ang="T156">
                        <a:pos x="T60" y="T61"/>
                      </a:cxn>
                      <a:cxn ang="T157">
                        <a:pos x="T62" y="T63"/>
                      </a:cxn>
                      <a:cxn ang="T158">
                        <a:pos x="T64" y="T65"/>
                      </a:cxn>
                      <a:cxn ang="T159">
                        <a:pos x="T66" y="T67"/>
                      </a:cxn>
                      <a:cxn ang="T160">
                        <a:pos x="T68" y="T69"/>
                      </a:cxn>
                      <a:cxn ang="T161">
                        <a:pos x="T70" y="T71"/>
                      </a:cxn>
                      <a:cxn ang="T162">
                        <a:pos x="T72" y="T73"/>
                      </a:cxn>
                      <a:cxn ang="T163">
                        <a:pos x="T74" y="T75"/>
                      </a:cxn>
                      <a:cxn ang="T164">
                        <a:pos x="T76" y="T77"/>
                      </a:cxn>
                      <a:cxn ang="T165">
                        <a:pos x="T78" y="T79"/>
                      </a:cxn>
                      <a:cxn ang="T166">
                        <a:pos x="T80" y="T81"/>
                      </a:cxn>
                      <a:cxn ang="T167">
                        <a:pos x="T82" y="T83"/>
                      </a:cxn>
                      <a:cxn ang="T168">
                        <a:pos x="T84" y="T85"/>
                      </a:cxn>
                      <a:cxn ang="T169">
                        <a:pos x="T86" y="T87"/>
                      </a:cxn>
                      <a:cxn ang="T170">
                        <a:pos x="T88" y="T89"/>
                      </a:cxn>
                      <a:cxn ang="T171">
                        <a:pos x="T90" y="T91"/>
                      </a:cxn>
                      <a:cxn ang="T172">
                        <a:pos x="T92" y="T93"/>
                      </a:cxn>
                      <a:cxn ang="T173">
                        <a:pos x="T94" y="T95"/>
                      </a:cxn>
                      <a:cxn ang="T174">
                        <a:pos x="T96" y="T97"/>
                      </a:cxn>
                      <a:cxn ang="T175">
                        <a:pos x="T98" y="T99"/>
                      </a:cxn>
                      <a:cxn ang="T176">
                        <a:pos x="T100" y="T101"/>
                      </a:cxn>
                      <a:cxn ang="T177">
                        <a:pos x="T102" y="T103"/>
                      </a:cxn>
                      <a:cxn ang="T178">
                        <a:pos x="T104" y="T105"/>
                      </a:cxn>
                      <a:cxn ang="T179">
                        <a:pos x="T106" y="T107"/>
                      </a:cxn>
                      <a:cxn ang="T180">
                        <a:pos x="T108" y="T109"/>
                      </a:cxn>
                      <a:cxn ang="T181">
                        <a:pos x="T110" y="T111"/>
                      </a:cxn>
                      <a:cxn ang="T182">
                        <a:pos x="T112" y="T113"/>
                      </a:cxn>
                      <a:cxn ang="T183">
                        <a:pos x="T114" y="T115"/>
                      </a:cxn>
                      <a:cxn ang="T184">
                        <a:pos x="T116" y="T117"/>
                      </a:cxn>
                      <a:cxn ang="T185">
                        <a:pos x="T118" y="T119"/>
                      </a:cxn>
                      <a:cxn ang="T186">
                        <a:pos x="T120" y="T121"/>
                      </a:cxn>
                      <a:cxn ang="T187">
                        <a:pos x="T122" y="T123"/>
                      </a:cxn>
                      <a:cxn ang="T188">
                        <a:pos x="T124" y="T125"/>
                      </a:cxn>
                    </a:cxnLst>
                    <a:rect l="T189" t="T190" r="T191" b="T192"/>
                    <a:pathLst>
                      <a:path w="588" h="905">
                        <a:moveTo>
                          <a:pt x="91" y="106"/>
                        </a:moveTo>
                        <a:lnTo>
                          <a:pt x="94" y="112"/>
                        </a:lnTo>
                        <a:lnTo>
                          <a:pt x="99" y="122"/>
                        </a:lnTo>
                        <a:lnTo>
                          <a:pt x="99" y="124"/>
                        </a:lnTo>
                        <a:lnTo>
                          <a:pt x="102" y="131"/>
                        </a:lnTo>
                        <a:lnTo>
                          <a:pt x="106" y="143"/>
                        </a:lnTo>
                        <a:lnTo>
                          <a:pt x="110" y="149"/>
                        </a:lnTo>
                        <a:lnTo>
                          <a:pt x="116" y="155"/>
                        </a:lnTo>
                        <a:lnTo>
                          <a:pt x="122" y="160"/>
                        </a:lnTo>
                        <a:lnTo>
                          <a:pt x="145" y="173"/>
                        </a:lnTo>
                        <a:lnTo>
                          <a:pt x="132" y="197"/>
                        </a:lnTo>
                        <a:lnTo>
                          <a:pt x="117" y="276"/>
                        </a:lnTo>
                        <a:lnTo>
                          <a:pt x="111" y="375"/>
                        </a:lnTo>
                        <a:lnTo>
                          <a:pt x="107" y="380"/>
                        </a:lnTo>
                        <a:lnTo>
                          <a:pt x="19" y="479"/>
                        </a:lnTo>
                        <a:lnTo>
                          <a:pt x="19" y="490"/>
                        </a:lnTo>
                        <a:lnTo>
                          <a:pt x="13" y="493"/>
                        </a:lnTo>
                        <a:lnTo>
                          <a:pt x="13" y="502"/>
                        </a:lnTo>
                        <a:lnTo>
                          <a:pt x="5" y="504"/>
                        </a:lnTo>
                        <a:lnTo>
                          <a:pt x="0" y="509"/>
                        </a:lnTo>
                        <a:lnTo>
                          <a:pt x="3" y="520"/>
                        </a:lnTo>
                        <a:lnTo>
                          <a:pt x="19" y="525"/>
                        </a:lnTo>
                        <a:lnTo>
                          <a:pt x="22" y="531"/>
                        </a:lnTo>
                        <a:lnTo>
                          <a:pt x="30" y="534"/>
                        </a:lnTo>
                        <a:lnTo>
                          <a:pt x="36" y="543"/>
                        </a:lnTo>
                        <a:lnTo>
                          <a:pt x="40" y="564"/>
                        </a:lnTo>
                        <a:lnTo>
                          <a:pt x="57" y="568"/>
                        </a:lnTo>
                        <a:lnTo>
                          <a:pt x="69" y="565"/>
                        </a:lnTo>
                        <a:lnTo>
                          <a:pt x="75" y="569"/>
                        </a:lnTo>
                        <a:lnTo>
                          <a:pt x="83" y="571"/>
                        </a:lnTo>
                        <a:lnTo>
                          <a:pt x="90" y="569"/>
                        </a:lnTo>
                        <a:lnTo>
                          <a:pt x="97" y="582"/>
                        </a:lnTo>
                        <a:lnTo>
                          <a:pt x="95" y="587"/>
                        </a:lnTo>
                        <a:lnTo>
                          <a:pt x="94" y="596"/>
                        </a:lnTo>
                        <a:lnTo>
                          <a:pt x="84" y="603"/>
                        </a:lnTo>
                        <a:lnTo>
                          <a:pt x="68" y="608"/>
                        </a:lnTo>
                        <a:lnTo>
                          <a:pt x="70" y="609"/>
                        </a:lnTo>
                        <a:lnTo>
                          <a:pt x="70" y="612"/>
                        </a:lnTo>
                        <a:lnTo>
                          <a:pt x="77" y="640"/>
                        </a:lnTo>
                        <a:lnTo>
                          <a:pt x="83" y="649"/>
                        </a:lnTo>
                        <a:lnTo>
                          <a:pt x="85" y="656"/>
                        </a:lnTo>
                        <a:lnTo>
                          <a:pt x="84" y="676"/>
                        </a:lnTo>
                        <a:lnTo>
                          <a:pt x="83" y="687"/>
                        </a:lnTo>
                        <a:lnTo>
                          <a:pt x="79" y="698"/>
                        </a:lnTo>
                        <a:lnTo>
                          <a:pt x="79" y="706"/>
                        </a:lnTo>
                        <a:lnTo>
                          <a:pt x="89" y="727"/>
                        </a:lnTo>
                        <a:lnTo>
                          <a:pt x="104" y="748"/>
                        </a:lnTo>
                        <a:lnTo>
                          <a:pt x="106" y="754"/>
                        </a:lnTo>
                        <a:lnTo>
                          <a:pt x="107" y="763"/>
                        </a:lnTo>
                        <a:lnTo>
                          <a:pt x="106" y="765"/>
                        </a:lnTo>
                        <a:lnTo>
                          <a:pt x="102" y="768"/>
                        </a:lnTo>
                        <a:lnTo>
                          <a:pt x="83" y="764"/>
                        </a:lnTo>
                        <a:lnTo>
                          <a:pt x="67" y="762"/>
                        </a:lnTo>
                        <a:lnTo>
                          <a:pt x="52" y="763"/>
                        </a:lnTo>
                        <a:lnTo>
                          <a:pt x="48" y="764"/>
                        </a:lnTo>
                        <a:lnTo>
                          <a:pt x="45" y="767"/>
                        </a:lnTo>
                        <a:lnTo>
                          <a:pt x="40" y="773"/>
                        </a:lnTo>
                        <a:lnTo>
                          <a:pt x="40" y="787"/>
                        </a:lnTo>
                        <a:lnTo>
                          <a:pt x="41" y="800"/>
                        </a:lnTo>
                        <a:lnTo>
                          <a:pt x="52" y="813"/>
                        </a:lnTo>
                        <a:lnTo>
                          <a:pt x="59" y="819"/>
                        </a:lnTo>
                        <a:lnTo>
                          <a:pt x="68" y="823"/>
                        </a:lnTo>
                        <a:lnTo>
                          <a:pt x="80" y="825"/>
                        </a:lnTo>
                        <a:lnTo>
                          <a:pt x="84" y="828"/>
                        </a:lnTo>
                        <a:lnTo>
                          <a:pt x="90" y="838"/>
                        </a:lnTo>
                        <a:lnTo>
                          <a:pt x="100" y="865"/>
                        </a:lnTo>
                        <a:lnTo>
                          <a:pt x="105" y="883"/>
                        </a:lnTo>
                        <a:lnTo>
                          <a:pt x="106" y="900"/>
                        </a:lnTo>
                        <a:lnTo>
                          <a:pt x="107" y="903"/>
                        </a:lnTo>
                        <a:lnTo>
                          <a:pt x="110" y="905"/>
                        </a:lnTo>
                        <a:lnTo>
                          <a:pt x="113" y="903"/>
                        </a:lnTo>
                        <a:lnTo>
                          <a:pt x="122" y="902"/>
                        </a:lnTo>
                        <a:lnTo>
                          <a:pt x="128" y="900"/>
                        </a:lnTo>
                        <a:lnTo>
                          <a:pt x="133" y="900"/>
                        </a:lnTo>
                        <a:lnTo>
                          <a:pt x="139" y="903"/>
                        </a:lnTo>
                        <a:lnTo>
                          <a:pt x="144" y="902"/>
                        </a:lnTo>
                        <a:lnTo>
                          <a:pt x="154" y="894"/>
                        </a:lnTo>
                        <a:lnTo>
                          <a:pt x="167" y="892"/>
                        </a:lnTo>
                        <a:lnTo>
                          <a:pt x="170" y="884"/>
                        </a:lnTo>
                        <a:lnTo>
                          <a:pt x="174" y="884"/>
                        </a:lnTo>
                        <a:lnTo>
                          <a:pt x="175" y="882"/>
                        </a:lnTo>
                        <a:lnTo>
                          <a:pt x="178" y="882"/>
                        </a:lnTo>
                        <a:lnTo>
                          <a:pt x="181" y="883"/>
                        </a:lnTo>
                        <a:lnTo>
                          <a:pt x="185" y="889"/>
                        </a:lnTo>
                        <a:lnTo>
                          <a:pt x="187" y="892"/>
                        </a:lnTo>
                        <a:lnTo>
                          <a:pt x="194" y="898"/>
                        </a:lnTo>
                        <a:lnTo>
                          <a:pt x="198" y="897"/>
                        </a:lnTo>
                        <a:lnTo>
                          <a:pt x="201" y="893"/>
                        </a:lnTo>
                        <a:lnTo>
                          <a:pt x="209" y="892"/>
                        </a:lnTo>
                        <a:lnTo>
                          <a:pt x="215" y="888"/>
                        </a:lnTo>
                        <a:lnTo>
                          <a:pt x="219" y="886"/>
                        </a:lnTo>
                        <a:lnTo>
                          <a:pt x="223" y="882"/>
                        </a:lnTo>
                        <a:lnTo>
                          <a:pt x="245" y="875"/>
                        </a:lnTo>
                        <a:lnTo>
                          <a:pt x="251" y="875"/>
                        </a:lnTo>
                        <a:lnTo>
                          <a:pt x="260" y="875"/>
                        </a:lnTo>
                        <a:lnTo>
                          <a:pt x="267" y="871"/>
                        </a:lnTo>
                        <a:lnTo>
                          <a:pt x="291" y="871"/>
                        </a:lnTo>
                        <a:lnTo>
                          <a:pt x="293" y="870"/>
                        </a:lnTo>
                        <a:lnTo>
                          <a:pt x="294" y="864"/>
                        </a:lnTo>
                        <a:lnTo>
                          <a:pt x="296" y="861"/>
                        </a:lnTo>
                        <a:lnTo>
                          <a:pt x="301" y="860"/>
                        </a:lnTo>
                        <a:lnTo>
                          <a:pt x="306" y="857"/>
                        </a:lnTo>
                        <a:lnTo>
                          <a:pt x="309" y="849"/>
                        </a:lnTo>
                        <a:lnTo>
                          <a:pt x="314" y="845"/>
                        </a:lnTo>
                        <a:lnTo>
                          <a:pt x="316" y="841"/>
                        </a:lnTo>
                        <a:lnTo>
                          <a:pt x="314" y="834"/>
                        </a:lnTo>
                        <a:lnTo>
                          <a:pt x="307" y="829"/>
                        </a:lnTo>
                        <a:lnTo>
                          <a:pt x="307" y="827"/>
                        </a:lnTo>
                        <a:lnTo>
                          <a:pt x="309" y="823"/>
                        </a:lnTo>
                        <a:lnTo>
                          <a:pt x="311" y="822"/>
                        </a:lnTo>
                        <a:lnTo>
                          <a:pt x="321" y="818"/>
                        </a:lnTo>
                        <a:lnTo>
                          <a:pt x="332" y="817"/>
                        </a:lnTo>
                        <a:lnTo>
                          <a:pt x="352" y="817"/>
                        </a:lnTo>
                        <a:lnTo>
                          <a:pt x="354" y="814"/>
                        </a:lnTo>
                        <a:lnTo>
                          <a:pt x="364" y="813"/>
                        </a:lnTo>
                        <a:lnTo>
                          <a:pt x="371" y="811"/>
                        </a:lnTo>
                        <a:lnTo>
                          <a:pt x="379" y="811"/>
                        </a:lnTo>
                        <a:lnTo>
                          <a:pt x="384" y="813"/>
                        </a:lnTo>
                        <a:lnTo>
                          <a:pt x="391" y="810"/>
                        </a:lnTo>
                        <a:lnTo>
                          <a:pt x="393" y="807"/>
                        </a:lnTo>
                        <a:lnTo>
                          <a:pt x="398" y="800"/>
                        </a:lnTo>
                        <a:lnTo>
                          <a:pt x="404" y="798"/>
                        </a:lnTo>
                        <a:lnTo>
                          <a:pt x="417" y="792"/>
                        </a:lnTo>
                        <a:lnTo>
                          <a:pt x="420" y="789"/>
                        </a:lnTo>
                        <a:lnTo>
                          <a:pt x="424" y="779"/>
                        </a:lnTo>
                        <a:lnTo>
                          <a:pt x="440" y="763"/>
                        </a:lnTo>
                        <a:lnTo>
                          <a:pt x="445" y="762"/>
                        </a:lnTo>
                        <a:lnTo>
                          <a:pt x="449" y="759"/>
                        </a:lnTo>
                        <a:lnTo>
                          <a:pt x="455" y="749"/>
                        </a:lnTo>
                        <a:lnTo>
                          <a:pt x="462" y="747"/>
                        </a:lnTo>
                        <a:lnTo>
                          <a:pt x="462" y="731"/>
                        </a:lnTo>
                        <a:lnTo>
                          <a:pt x="467" y="720"/>
                        </a:lnTo>
                        <a:lnTo>
                          <a:pt x="473" y="715"/>
                        </a:lnTo>
                        <a:lnTo>
                          <a:pt x="479" y="712"/>
                        </a:lnTo>
                        <a:lnTo>
                          <a:pt x="495" y="711"/>
                        </a:lnTo>
                        <a:lnTo>
                          <a:pt x="504" y="708"/>
                        </a:lnTo>
                        <a:lnTo>
                          <a:pt x="515" y="705"/>
                        </a:lnTo>
                        <a:lnTo>
                          <a:pt x="524" y="701"/>
                        </a:lnTo>
                        <a:lnTo>
                          <a:pt x="524" y="693"/>
                        </a:lnTo>
                        <a:lnTo>
                          <a:pt x="521" y="684"/>
                        </a:lnTo>
                        <a:lnTo>
                          <a:pt x="518" y="679"/>
                        </a:lnTo>
                        <a:lnTo>
                          <a:pt x="511" y="676"/>
                        </a:lnTo>
                        <a:lnTo>
                          <a:pt x="510" y="674"/>
                        </a:lnTo>
                        <a:lnTo>
                          <a:pt x="498" y="640"/>
                        </a:lnTo>
                        <a:lnTo>
                          <a:pt x="493" y="624"/>
                        </a:lnTo>
                        <a:lnTo>
                          <a:pt x="494" y="608"/>
                        </a:lnTo>
                        <a:lnTo>
                          <a:pt x="478" y="612"/>
                        </a:lnTo>
                        <a:lnTo>
                          <a:pt x="473" y="613"/>
                        </a:lnTo>
                        <a:lnTo>
                          <a:pt x="470" y="613"/>
                        </a:lnTo>
                        <a:lnTo>
                          <a:pt x="470" y="597"/>
                        </a:lnTo>
                        <a:lnTo>
                          <a:pt x="471" y="592"/>
                        </a:lnTo>
                        <a:lnTo>
                          <a:pt x="477" y="581"/>
                        </a:lnTo>
                        <a:lnTo>
                          <a:pt x="479" y="572"/>
                        </a:lnTo>
                        <a:lnTo>
                          <a:pt x="479" y="558"/>
                        </a:lnTo>
                        <a:lnTo>
                          <a:pt x="481" y="548"/>
                        </a:lnTo>
                        <a:lnTo>
                          <a:pt x="484" y="544"/>
                        </a:lnTo>
                        <a:lnTo>
                          <a:pt x="492" y="539"/>
                        </a:lnTo>
                        <a:lnTo>
                          <a:pt x="493" y="538"/>
                        </a:lnTo>
                        <a:lnTo>
                          <a:pt x="494" y="533"/>
                        </a:lnTo>
                        <a:lnTo>
                          <a:pt x="493" y="525"/>
                        </a:lnTo>
                        <a:lnTo>
                          <a:pt x="493" y="512"/>
                        </a:lnTo>
                        <a:lnTo>
                          <a:pt x="509" y="494"/>
                        </a:lnTo>
                        <a:lnTo>
                          <a:pt x="521" y="477"/>
                        </a:lnTo>
                        <a:lnTo>
                          <a:pt x="525" y="466"/>
                        </a:lnTo>
                        <a:lnTo>
                          <a:pt x="526" y="455"/>
                        </a:lnTo>
                        <a:lnTo>
                          <a:pt x="529" y="446"/>
                        </a:lnTo>
                        <a:lnTo>
                          <a:pt x="530" y="445"/>
                        </a:lnTo>
                        <a:lnTo>
                          <a:pt x="542" y="443"/>
                        </a:lnTo>
                        <a:lnTo>
                          <a:pt x="551" y="442"/>
                        </a:lnTo>
                        <a:lnTo>
                          <a:pt x="580" y="442"/>
                        </a:lnTo>
                        <a:lnTo>
                          <a:pt x="586" y="441"/>
                        </a:lnTo>
                        <a:lnTo>
                          <a:pt x="588" y="392"/>
                        </a:lnTo>
                        <a:lnTo>
                          <a:pt x="588" y="337"/>
                        </a:lnTo>
                        <a:lnTo>
                          <a:pt x="588" y="283"/>
                        </a:lnTo>
                        <a:lnTo>
                          <a:pt x="588" y="227"/>
                        </a:lnTo>
                        <a:lnTo>
                          <a:pt x="579" y="226"/>
                        </a:lnTo>
                        <a:lnTo>
                          <a:pt x="532" y="202"/>
                        </a:lnTo>
                        <a:lnTo>
                          <a:pt x="486" y="178"/>
                        </a:lnTo>
                        <a:lnTo>
                          <a:pt x="438" y="154"/>
                        </a:lnTo>
                        <a:lnTo>
                          <a:pt x="391" y="129"/>
                        </a:lnTo>
                        <a:lnTo>
                          <a:pt x="344" y="104"/>
                        </a:lnTo>
                        <a:lnTo>
                          <a:pt x="298" y="79"/>
                        </a:lnTo>
                        <a:lnTo>
                          <a:pt x="251" y="54"/>
                        </a:lnTo>
                        <a:lnTo>
                          <a:pt x="204" y="30"/>
                        </a:lnTo>
                        <a:lnTo>
                          <a:pt x="158" y="5"/>
                        </a:lnTo>
                        <a:lnTo>
                          <a:pt x="147" y="0"/>
                        </a:lnTo>
                        <a:lnTo>
                          <a:pt x="97" y="17"/>
                        </a:lnTo>
                        <a:lnTo>
                          <a:pt x="91" y="20"/>
                        </a:lnTo>
                        <a:lnTo>
                          <a:pt x="91" y="106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62" name="Freeform 12"/>
                  <p:cNvSpPr>
                    <a:spLocks/>
                  </p:cNvSpPr>
                  <p:nvPr/>
                </p:nvSpPr>
                <p:spPr bwMode="gray">
                  <a:xfrm>
                    <a:off x="2916" y="2286"/>
                    <a:ext cx="72" cy="65"/>
                  </a:xfrm>
                  <a:custGeom>
                    <a:avLst/>
                    <a:gdLst>
                      <a:gd name="T0" fmla="*/ 4 w 360"/>
                      <a:gd name="T1" fmla="*/ 1 h 324"/>
                      <a:gd name="T2" fmla="*/ 2 w 360"/>
                      <a:gd name="T3" fmla="*/ 2 h 324"/>
                      <a:gd name="T4" fmla="*/ 1 w 360"/>
                      <a:gd name="T5" fmla="*/ 2 h 324"/>
                      <a:gd name="T6" fmla="*/ 1 w 360"/>
                      <a:gd name="T7" fmla="*/ 4 h 324"/>
                      <a:gd name="T8" fmla="*/ 0 w 360"/>
                      <a:gd name="T9" fmla="*/ 7 h 324"/>
                      <a:gd name="T10" fmla="*/ 0 w 360"/>
                      <a:gd name="T11" fmla="*/ 9 h 324"/>
                      <a:gd name="T12" fmla="*/ 1 w 360"/>
                      <a:gd name="T13" fmla="*/ 9 h 324"/>
                      <a:gd name="T14" fmla="*/ 1 w 360"/>
                      <a:gd name="T15" fmla="*/ 9 h 324"/>
                      <a:gd name="T16" fmla="*/ 2 w 360"/>
                      <a:gd name="T17" fmla="*/ 9 h 324"/>
                      <a:gd name="T18" fmla="*/ 3 w 360"/>
                      <a:gd name="T19" fmla="*/ 7 h 324"/>
                      <a:gd name="T20" fmla="*/ 4 w 360"/>
                      <a:gd name="T21" fmla="*/ 8 h 324"/>
                      <a:gd name="T22" fmla="*/ 4 w 360"/>
                      <a:gd name="T23" fmla="*/ 8 h 324"/>
                      <a:gd name="T24" fmla="*/ 5 w 360"/>
                      <a:gd name="T25" fmla="*/ 8 h 324"/>
                      <a:gd name="T26" fmla="*/ 6 w 360"/>
                      <a:gd name="T27" fmla="*/ 8 h 324"/>
                      <a:gd name="T28" fmla="*/ 6 w 360"/>
                      <a:gd name="T29" fmla="*/ 8 h 324"/>
                      <a:gd name="T30" fmla="*/ 7 w 360"/>
                      <a:gd name="T31" fmla="*/ 8 h 324"/>
                      <a:gd name="T32" fmla="*/ 7 w 360"/>
                      <a:gd name="T33" fmla="*/ 8 h 324"/>
                      <a:gd name="T34" fmla="*/ 8 w 360"/>
                      <a:gd name="T35" fmla="*/ 8 h 324"/>
                      <a:gd name="T36" fmla="*/ 9 w 360"/>
                      <a:gd name="T37" fmla="*/ 9 h 324"/>
                      <a:gd name="T38" fmla="*/ 10 w 360"/>
                      <a:gd name="T39" fmla="*/ 10 h 324"/>
                      <a:gd name="T40" fmla="*/ 11 w 360"/>
                      <a:gd name="T41" fmla="*/ 11 h 324"/>
                      <a:gd name="T42" fmla="*/ 12 w 360"/>
                      <a:gd name="T43" fmla="*/ 12 h 324"/>
                      <a:gd name="T44" fmla="*/ 13 w 360"/>
                      <a:gd name="T45" fmla="*/ 13 h 324"/>
                      <a:gd name="T46" fmla="*/ 14 w 360"/>
                      <a:gd name="T47" fmla="*/ 12 h 324"/>
                      <a:gd name="T48" fmla="*/ 14 w 360"/>
                      <a:gd name="T49" fmla="*/ 12 h 324"/>
                      <a:gd name="T50" fmla="*/ 14 w 360"/>
                      <a:gd name="T51" fmla="*/ 11 h 324"/>
                      <a:gd name="T52" fmla="*/ 13 w 360"/>
                      <a:gd name="T53" fmla="*/ 11 h 324"/>
                      <a:gd name="T54" fmla="*/ 13 w 360"/>
                      <a:gd name="T55" fmla="*/ 10 h 324"/>
                      <a:gd name="T56" fmla="*/ 12 w 360"/>
                      <a:gd name="T57" fmla="*/ 10 h 324"/>
                      <a:gd name="T58" fmla="*/ 12 w 360"/>
                      <a:gd name="T59" fmla="*/ 10 h 324"/>
                      <a:gd name="T60" fmla="*/ 11 w 360"/>
                      <a:gd name="T61" fmla="*/ 10 h 324"/>
                      <a:gd name="T62" fmla="*/ 11 w 360"/>
                      <a:gd name="T63" fmla="*/ 8 h 324"/>
                      <a:gd name="T64" fmla="*/ 10 w 360"/>
                      <a:gd name="T65" fmla="*/ 8 h 324"/>
                      <a:gd name="T66" fmla="*/ 9 w 360"/>
                      <a:gd name="T67" fmla="*/ 7 h 324"/>
                      <a:gd name="T68" fmla="*/ 9 w 360"/>
                      <a:gd name="T69" fmla="*/ 7 h 324"/>
                      <a:gd name="T70" fmla="*/ 8 w 360"/>
                      <a:gd name="T71" fmla="*/ 7 h 324"/>
                      <a:gd name="T72" fmla="*/ 8 w 360"/>
                      <a:gd name="T73" fmla="*/ 7 h 324"/>
                      <a:gd name="T74" fmla="*/ 8 w 360"/>
                      <a:gd name="T75" fmla="*/ 6 h 324"/>
                      <a:gd name="T76" fmla="*/ 7 w 360"/>
                      <a:gd name="T77" fmla="*/ 6 h 324"/>
                      <a:gd name="T78" fmla="*/ 7 w 360"/>
                      <a:gd name="T79" fmla="*/ 7 h 324"/>
                      <a:gd name="T80" fmla="*/ 7 w 360"/>
                      <a:gd name="T81" fmla="*/ 7 h 324"/>
                      <a:gd name="T82" fmla="*/ 7 w 360"/>
                      <a:gd name="T83" fmla="*/ 6 h 324"/>
                      <a:gd name="T84" fmla="*/ 6 w 360"/>
                      <a:gd name="T85" fmla="*/ 6 h 324"/>
                      <a:gd name="T86" fmla="*/ 6 w 360"/>
                      <a:gd name="T87" fmla="*/ 5 h 324"/>
                      <a:gd name="T88" fmla="*/ 6 w 360"/>
                      <a:gd name="T89" fmla="*/ 4 h 324"/>
                      <a:gd name="T90" fmla="*/ 6 w 360"/>
                      <a:gd name="T91" fmla="*/ 3 h 324"/>
                      <a:gd name="T92" fmla="*/ 5 w 360"/>
                      <a:gd name="T93" fmla="*/ 2 h 324"/>
                      <a:gd name="T94" fmla="*/ 5 w 360"/>
                      <a:gd name="T95" fmla="*/ 1 h 324"/>
                      <a:gd name="T96" fmla="*/ 5 w 360"/>
                      <a:gd name="T97" fmla="*/ 0 h 324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w 360"/>
                      <a:gd name="T148" fmla="*/ 0 h 324"/>
                      <a:gd name="T149" fmla="*/ 360 w 360"/>
                      <a:gd name="T150" fmla="*/ 324 h 324"/>
                    </a:gdLst>
                    <a:ahLst/>
                    <a:cxnLst>
                      <a:cxn ang="T98">
                        <a:pos x="T0" y="T1"/>
                      </a:cxn>
                      <a:cxn ang="T99">
                        <a:pos x="T2" y="T3"/>
                      </a:cxn>
                      <a:cxn ang="T100">
                        <a:pos x="T4" y="T5"/>
                      </a:cxn>
                      <a:cxn ang="T101">
                        <a:pos x="T6" y="T7"/>
                      </a:cxn>
                      <a:cxn ang="T102">
                        <a:pos x="T8" y="T9"/>
                      </a:cxn>
                      <a:cxn ang="T103">
                        <a:pos x="T10" y="T11"/>
                      </a:cxn>
                      <a:cxn ang="T104">
                        <a:pos x="T12" y="T13"/>
                      </a:cxn>
                      <a:cxn ang="T105">
                        <a:pos x="T14" y="T15"/>
                      </a:cxn>
                      <a:cxn ang="T106">
                        <a:pos x="T16" y="T17"/>
                      </a:cxn>
                      <a:cxn ang="T107">
                        <a:pos x="T18" y="T19"/>
                      </a:cxn>
                      <a:cxn ang="T108">
                        <a:pos x="T20" y="T21"/>
                      </a:cxn>
                      <a:cxn ang="T109">
                        <a:pos x="T22" y="T23"/>
                      </a:cxn>
                      <a:cxn ang="T110">
                        <a:pos x="T24" y="T25"/>
                      </a:cxn>
                      <a:cxn ang="T111">
                        <a:pos x="T26" y="T27"/>
                      </a:cxn>
                      <a:cxn ang="T112">
                        <a:pos x="T28" y="T29"/>
                      </a:cxn>
                      <a:cxn ang="T113">
                        <a:pos x="T30" y="T31"/>
                      </a:cxn>
                      <a:cxn ang="T114">
                        <a:pos x="T32" y="T33"/>
                      </a:cxn>
                      <a:cxn ang="T115">
                        <a:pos x="T34" y="T35"/>
                      </a:cxn>
                      <a:cxn ang="T116">
                        <a:pos x="T36" y="T37"/>
                      </a:cxn>
                      <a:cxn ang="T117">
                        <a:pos x="T38" y="T39"/>
                      </a:cxn>
                      <a:cxn ang="T118">
                        <a:pos x="T40" y="T41"/>
                      </a:cxn>
                      <a:cxn ang="T119">
                        <a:pos x="T42" y="T43"/>
                      </a:cxn>
                      <a:cxn ang="T120">
                        <a:pos x="T44" y="T45"/>
                      </a:cxn>
                      <a:cxn ang="T121">
                        <a:pos x="T46" y="T47"/>
                      </a:cxn>
                      <a:cxn ang="T122">
                        <a:pos x="T48" y="T49"/>
                      </a:cxn>
                      <a:cxn ang="T123">
                        <a:pos x="T50" y="T51"/>
                      </a:cxn>
                      <a:cxn ang="T124">
                        <a:pos x="T52" y="T53"/>
                      </a:cxn>
                      <a:cxn ang="T125">
                        <a:pos x="T54" y="T55"/>
                      </a:cxn>
                      <a:cxn ang="T126">
                        <a:pos x="T56" y="T57"/>
                      </a:cxn>
                      <a:cxn ang="T127">
                        <a:pos x="T58" y="T59"/>
                      </a:cxn>
                      <a:cxn ang="T128">
                        <a:pos x="T60" y="T61"/>
                      </a:cxn>
                      <a:cxn ang="T129">
                        <a:pos x="T62" y="T63"/>
                      </a:cxn>
                      <a:cxn ang="T130">
                        <a:pos x="T64" y="T65"/>
                      </a:cxn>
                      <a:cxn ang="T131">
                        <a:pos x="T66" y="T67"/>
                      </a:cxn>
                      <a:cxn ang="T132">
                        <a:pos x="T68" y="T69"/>
                      </a:cxn>
                      <a:cxn ang="T133">
                        <a:pos x="T70" y="T71"/>
                      </a:cxn>
                      <a:cxn ang="T134">
                        <a:pos x="T72" y="T73"/>
                      </a:cxn>
                      <a:cxn ang="T135">
                        <a:pos x="T74" y="T75"/>
                      </a:cxn>
                      <a:cxn ang="T136">
                        <a:pos x="T76" y="T77"/>
                      </a:cxn>
                      <a:cxn ang="T137">
                        <a:pos x="T78" y="T79"/>
                      </a:cxn>
                      <a:cxn ang="T138">
                        <a:pos x="T80" y="T81"/>
                      </a:cxn>
                      <a:cxn ang="T139">
                        <a:pos x="T82" y="T83"/>
                      </a:cxn>
                      <a:cxn ang="T140">
                        <a:pos x="T84" y="T85"/>
                      </a:cxn>
                      <a:cxn ang="T141">
                        <a:pos x="T86" y="T87"/>
                      </a:cxn>
                      <a:cxn ang="T142">
                        <a:pos x="T88" y="T89"/>
                      </a:cxn>
                      <a:cxn ang="T143">
                        <a:pos x="T90" y="T91"/>
                      </a:cxn>
                      <a:cxn ang="T144">
                        <a:pos x="T92" y="T93"/>
                      </a:cxn>
                      <a:cxn ang="T145">
                        <a:pos x="T94" y="T95"/>
                      </a:cxn>
                      <a:cxn ang="T146">
                        <a:pos x="T96" y="T97"/>
                      </a:cxn>
                    </a:cxnLst>
                    <a:rect l="T147" t="T148" r="T149" b="T150"/>
                    <a:pathLst>
                      <a:path w="360" h="324">
                        <a:moveTo>
                          <a:pt x="109" y="0"/>
                        </a:moveTo>
                        <a:lnTo>
                          <a:pt x="107" y="9"/>
                        </a:lnTo>
                        <a:lnTo>
                          <a:pt x="100" y="24"/>
                        </a:lnTo>
                        <a:lnTo>
                          <a:pt x="87" y="30"/>
                        </a:lnTo>
                        <a:lnTo>
                          <a:pt x="79" y="33"/>
                        </a:lnTo>
                        <a:lnTo>
                          <a:pt x="58" y="43"/>
                        </a:lnTo>
                        <a:lnTo>
                          <a:pt x="53" y="50"/>
                        </a:lnTo>
                        <a:lnTo>
                          <a:pt x="44" y="55"/>
                        </a:lnTo>
                        <a:lnTo>
                          <a:pt x="31" y="56"/>
                        </a:lnTo>
                        <a:lnTo>
                          <a:pt x="27" y="65"/>
                        </a:lnTo>
                        <a:lnTo>
                          <a:pt x="23" y="86"/>
                        </a:lnTo>
                        <a:lnTo>
                          <a:pt x="23" y="94"/>
                        </a:lnTo>
                        <a:lnTo>
                          <a:pt x="20" y="115"/>
                        </a:lnTo>
                        <a:lnTo>
                          <a:pt x="11" y="149"/>
                        </a:lnTo>
                        <a:lnTo>
                          <a:pt x="4" y="163"/>
                        </a:lnTo>
                        <a:lnTo>
                          <a:pt x="0" y="180"/>
                        </a:lnTo>
                        <a:lnTo>
                          <a:pt x="0" y="200"/>
                        </a:lnTo>
                        <a:lnTo>
                          <a:pt x="3" y="216"/>
                        </a:lnTo>
                        <a:lnTo>
                          <a:pt x="5" y="217"/>
                        </a:lnTo>
                        <a:lnTo>
                          <a:pt x="20" y="217"/>
                        </a:lnTo>
                        <a:lnTo>
                          <a:pt x="23" y="219"/>
                        </a:lnTo>
                        <a:lnTo>
                          <a:pt x="27" y="219"/>
                        </a:lnTo>
                        <a:lnTo>
                          <a:pt x="30" y="216"/>
                        </a:lnTo>
                        <a:lnTo>
                          <a:pt x="31" y="213"/>
                        </a:lnTo>
                        <a:lnTo>
                          <a:pt x="34" y="210"/>
                        </a:lnTo>
                        <a:lnTo>
                          <a:pt x="42" y="210"/>
                        </a:lnTo>
                        <a:lnTo>
                          <a:pt x="47" y="215"/>
                        </a:lnTo>
                        <a:lnTo>
                          <a:pt x="47" y="218"/>
                        </a:lnTo>
                        <a:lnTo>
                          <a:pt x="55" y="228"/>
                        </a:lnTo>
                        <a:lnTo>
                          <a:pt x="75" y="184"/>
                        </a:lnTo>
                        <a:lnTo>
                          <a:pt x="79" y="189"/>
                        </a:lnTo>
                        <a:lnTo>
                          <a:pt x="85" y="195"/>
                        </a:lnTo>
                        <a:lnTo>
                          <a:pt x="92" y="195"/>
                        </a:lnTo>
                        <a:lnTo>
                          <a:pt x="95" y="196"/>
                        </a:lnTo>
                        <a:lnTo>
                          <a:pt x="95" y="199"/>
                        </a:lnTo>
                        <a:lnTo>
                          <a:pt x="103" y="210"/>
                        </a:lnTo>
                        <a:lnTo>
                          <a:pt x="112" y="210"/>
                        </a:lnTo>
                        <a:lnTo>
                          <a:pt x="116" y="208"/>
                        </a:lnTo>
                        <a:lnTo>
                          <a:pt x="129" y="206"/>
                        </a:lnTo>
                        <a:lnTo>
                          <a:pt x="135" y="201"/>
                        </a:lnTo>
                        <a:lnTo>
                          <a:pt x="135" y="197"/>
                        </a:lnTo>
                        <a:lnTo>
                          <a:pt x="140" y="197"/>
                        </a:lnTo>
                        <a:lnTo>
                          <a:pt x="145" y="202"/>
                        </a:lnTo>
                        <a:lnTo>
                          <a:pt x="148" y="208"/>
                        </a:lnTo>
                        <a:lnTo>
                          <a:pt x="150" y="208"/>
                        </a:lnTo>
                        <a:lnTo>
                          <a:pt x="151" y="207"/>
                        </a:lnTo>
                        <a:lnTo>
                          <a:pt x="159" y="206"/>
                        </a:lnTo>
                        <a:lnTo>
                          <a:pt x="163" y="202"/>
                        </a:lnTo>
                        <a:lnTo>
                          <a:pt x="167" y="202"/>
                        </a:lnTo>
                        <a:lnTo>
                          <a:pt x="172" y="206"/>
                        </a:lnTo>
                        <a:lnTo>
                          <a:pt x="182" y="206"/>
                        </a:lnTo>
                        <a:lnTo>
                          <a:pt x="184" y="210"/>
                        </a:lnTo>
                        <a:lnTo>
                          <a:pt x="187" y="210"/>
                        </a:lnTo>
                        <a:lnTo>
                          <a:pt x="189" y="208"/>
                        </a:lnTo>
                        <a:lnTo>
                          <a:pt x="202" y="207"/>
                        </a:lnTo>
                        <a:lnTo>
                          <a:pt x="214" y="218"/>
                        </a:lnTo>
                        <a:lnTo>
                          <a:pt x="224" y="223"/>
                        </a:lnTo>
                        <a:lnTo>
                          <a:pt x="231" y="224"/>
                        </a:lnTo>
                        <a:lnTo>
                          <a:pt x="243" y="235"/>
                        </a:lnTo>
                        <a:lnTo>
                          <a:pt x="251" y="246"/>
                        </a:lnTo>
                        <a:lnTo>
                          <a:pt x="256" y="255"/>
                        </a:lnTo>
                        <a:lnTo>
                          <a:pt x="273" y="267"/>
                        </a:lnTo>
                        <a:lnTo>
                          <a:pt x="285" y="277"/>
                        </a:lnTo>
                        <a:lnTo>
                          <a:pt x="291" y="283"/>
                        </a:lnTo>
                        <a:lnTo>
                          <a:pt x="294" y="292"/>
                        </a:lnTo>
                        <a:lnTo>
                          <a:pt x="297" y="299"/>
                        </a:lnTo>
                        <a:lnTo>
                          <a:pt x="306" y="303"/>
                        </a:lnTo>
                        <a:lnTo>
                          <a:pt x="313" y="309"/>
                        </a:lnTo>
                        <a:lnTo>
                          <a:pt x="317" y="316"/>
                        </a:lnTo>
                        <a:lnTo>
                          <a:pt x="323" y="324"/>
                        </a:lnTo>
                        <a:lnTo>
                          <a:pt x="328" y="318"/>
                        </a:lnTo>
                        <a:lnTo>
                          <a:pt x="343" y="310"/>
                        </a:lnTo>
                        <a:lnTo>
                          <a:pt x="360" y="299"/>
                        </a:lnTo>
                        <a:lnTo>
                          <a:pt x="356" y="293"/>
                        </a:lnTo>
                        <a:lnTo>
                          <a:pt x="350" y="296"/>
                        </a:lnTo>
                        <a:lnTo>
                          <a:pt x="344" y="292"/>
                        </a:lnTo>
                        <a:lnTo>
                          <a:pt x="342" y="289"/>
                        </a:lnTo>
                        <a:lnTo>
                          <a:pt x="340" y="282"/>
                        </a:lnTo>
                        <a:lnTo>
                          <a:pt x="339" y="281"/>
                        </a:lnTo>
                        <a:lnTo>
                          <a:pt x="331" y="280"/>
                        </a:lnTo>
                        <a:lnTo>
                          <a:pt x="326" y="277"/>
                        </a:lnTo>
                        <a:lnTo>
                          <a:pt x="324" y="274"/>
                        </a:lnTo>
                        <a:lnTo>
                          <a:pt x="322" y="264"/>
                        </a:lnTo>
                        <a:lnTo>
                          <a:pt x="318" y="261"/>
                        </a:lnTo>
                        <a:lnTo>
                          <a:pt x="317" y="256"/>
                        </a:lnTo>
                        <a:lnTo>
                          <a:pt x="311" y="255"/>
                        </a:lnTo>
                        <a:lnTo>
                          <a:pt x="307" y="253"/>
                        </a:lnTo>
                        <a:lnTo>
                          <a:pt x="302" y="243"/>
                        </a:lnTo>
                        <a:lnTo>
                          <a:pt x="301" y="240"/>
                        </a:lnTo>
                        <a:lnTo>
                          <a:pt x="296" y="242"/>
                        </a:lnTo>
                        <a:lnTo>
                          <a:pt x="291" y="239"/>
                        </a:lnTo>
                        <a:lnTo>
                          <a:pt x="289" y="239"/>
                        </a:lnTo>
                        <a:lnTo>
                          <a:pt x="286" y="237"/>
                        </a:lnTo>
                        <a:lnTo>
                          <a:pt x="286" y="232"/>
                        </a:lnTo>
                        <a:lnTo>
                          <a:pt x="279" y="223"/>
                        </a:lnTo>
                        <a:lnTo>
                          <a:pt x="264" y="201"/>
                        </a:lnTo>
                        <a:lnTo>
                          <a:pt x="256" y="196"/>
                        </a:lnTo>
                        <a:lnTo>
                          <a:pt x="246" y="196"/>
                        </a:lnTo>
                        <a:lnTo>
                          <a:pt x="240" y="192"/>
                        </a:lnTo>
                        <a:lnTo>
                          <a:pt x="236" y="192"/>
                        </a:lnTo>
                        <a:lnTo>
                          <a:pt x="232" y="189"/>
                        </a:lnTo>
                        <a:lnTo>
                          <a:pt x="229" y="181"/>
                        </a:lnTo>
                        <a:lnTo>
                          <a:pt x="226" y="179"/>
                        </a:lnTo>
                        <a:lnTo>
                          <a:pt x="221" y="176"/>
                        </a:lnTo>
                        <a:lnTo>
                          <a:pt x="215" y="176"/>
                        </a:lnTo>
                        <a:lnTo>
                          <a:pt x="213" y="180"/>
                        </a:lnTo>
                        <a:lnTo>
                          <a:pt x="209" y="181"/>
                        </a:lnTo>
                        <a:lnTo>
                          <a:pt x="205" y="179"/>
                        </a:lnTo>
                        <a:lnTo>
                          <a:pt x="199" y="170"/>
                        </a:lnTo>
                        <a:lnTo>
                          <a:pt x="195" y="165"/>
                        </a:lnTo>
                        <a:lnTo>
                          <a:pt x="194" y="162"/>
                        </a:lnTo>
                        <a:lnTo>
                          <a:pt x="197" y="157"/>
                        </a:lnTo>
                        <a:lnTo>
                          <a:pt x="195" y="154"/>
                        </a:lnTo>
                        <a:lnTo>
                          <a:pt x="192" y="153"/>
                        </a:lnTo>
                        <a:lnTo>
                          <a:pt x="188" y="149"/>
                        </a:lnTo>
                        <a:lnTo>
                          <a:pt x="184" y="151"/>
                        </a:lnTo>
                        <a:lnTo>
                          <a:pt x="182" y="153"/>
                        </a:lnTo>
                        <a:lnTo>
                          <a:pt x="182" y="158"/>
                        </a:lnTo>
                        <a:lnTo>
                          <a:pt x="186" y="162"/>
                        </a:lnTo>
                        <a:lnTo>
                          <a:pt x="184" y="168"/>
                        </a:lnTo>
                        <a:lnTo>
                          <a:pt x="182" y="168"/>
                        </a:lnTo>
                        <a:lnTo>
                          <a:pt x="177" y="165"/>
                        </a:lnTo>
                        <a:lnTo>
                          <a:pt x="176" y="163"/>
                        </a:lnTo>
                        <a:lnTo>
                          <a:pt x="176" y="158"/>
                        </a:lnTo>
                        <a:lnTo>
                          <a:pt x="173" y="156"/>
                        </a:lnTo>
                        <a:lnTo>
                          <a:pt x="171" y="145"/>
                        </a:lnTo>
                        <a:lnTo>
                          <a:pt x="170" y="143"/>
                        </a:lnTo>
                        <a:lnTo>
                          <a:pt x="165" y="142"/>
                        </a:lnTo>
                        <a:lnTo>
                          <a:pt x="162" y="141"/>
                        </a:lnTo>
                        <a:lnTo>
                          <a:pt x="162" y="137"/>
                        </a:lnTo>
                        <a:lnTo>
                          <a:pt x="160" y="136"/>
                        </a:lnTo>
                        <a:lnTo>
                          <a:pt x="160" y="129"/>
                        </a:lnTo>
                        <a:lnTo>
                          <a:pt x="154" y="125"/>
                        </a:lnTo>
                        <a:lnTo>
                          <a:pt x="150" y="120"/>
                        </a:lnTo>
                        <a:lnTo>
                          <a:pt x="145" y="104"/>
                        </a:lnTo>
                        <a:lnTo>
                          <a:pt x="144" y="94"/>
                        </a:lnTo>
                        <a:lnTo>
                          <a:pt x="141" y="84"/>
                        </a:lnTo>
                        <a:lnTo>
                          <a:pt x="139" y="68"/>
                        </a:lnTo>
                        <a:lnTo>
                          <a:pt x="138" y="63"/>
                        </a:lnTo>
                        <a:lnTo>
                          <a:pt x="134" y="49"/>
                        </a:lnTo>
                        <a:lnTo>
                          <a:pt x="132" y="38"/>
                        </a:lnTo>
                        <a:lnTo>
                          <a:pt x="130" y="30"/>
                        </a:lnTo>
                        <a:lnTo>
                          <a:pt x="125" y="20"/>
                        </a:lnTo>
                        <a:lnTo>
                          <a:pt x="120" y="16"/>
                        </a:lnTo>
                        <a:lnTo>
                          <a:pt x="118" y="8"/>
                        </a:lnTo>
                        <a:lnTo>
                          <a:pt x="114" y="1"/>
                        </a:lnTo>
                        <a:lnTo>
                          <a:pt x="113" y="0"/>
                        </a:lnTo>
                        <a:lnTo>
                          <a:pt x="109" y="0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63" name="Freeform 13"/>
                  <p:cNvSpPr>
                    <a:spLocks/>
                  </p:cNvSpPr>
                  <p:nvPr/>
                </p:nvSpPr>
                <p:spPr bwMode="gray">
                  <a:xfrm>
                    <a:off x="2383" y="2205"/>
                    <a:ext cx="178" cy="170"/>
                  </a:xfrm>
                  <a:custGeom>
                    <a:avLst/>
                    <a:gdLst>
                      <a:gd name="T0" fmla="*/ 29 w 891"/>
                      <a:gd name="T1" fmla="*/ 10 h 851"/>
                      <a:gd name="T2" fmla="*/ 30 w 891"/>
                      <a:gd name="T3" fmla="*/ 10 h 851"/>
                      <a:gd name="T4" fmla="*/ 31 w 891"/>
                      <a:gd name="T5" fmla="*/ 11 h 851"/>
                      <a:gd name="T6" fmla="*/ 32 w 891"/>
                      <a:gd name="T7" fmla="*/ 12 h 851"/>
                      <a:gd name="T8" fmla="*/ 34 w 891"/>
                      <a:gd name="T9" fmla="*/ 12 h 851"/>
                      <a:gd name="T10" fmla="*/ 34 w 891"/>
                      <a:gd name="T11" fmla="*/ 13 h 851"/>
                      <a:gd name="T12" fmla="*/ 34 w 891"/>
                      <a:gd name="T13" fmla="*/ 13 h 851"/>
                      <a:gd name="T14" fmla="*/ 34 w 891"/>
                      <a:gd name="T15" fmla="*/ 14 h 851"/>
                      <a:gd name="T16" fmla="*/ 36 w 891"/>
                      <a:gd name="T17" fmla="*/ 14 h 851"/>
                      <a:gd name="T18" fmla="*/ 36 w 891"/>
                      <a:gd name="T19" fmla="*/ 21 h 851"/>
                      <a:gd name="T20" fmla="*/ 34 w 891"/>
                      <a:gd name="T21" fmla="*/ 22 h 851"/>
                      <a:gd name="T22" fmla="*/ 33 w 891"/>
                      <a:gd name="T23" fmla="*/ 22 h 851"/>
                      <a:gd name="T24" fmla="*/ 27 w 891"/>
                      <a:gd name="T25" fmla="*/ 23 h 851"/>
                      <a:gd name="T26" fmla="*/ 22 w 891"/>
                      <a:gd name="T27" fmla="*/ 25 h 851"/>
                      <a:gd name="T28" fmla="*/ 19 w 891"/>
                      <a:gd name="T29" fmla="*/ 27 h 851"/>
                      <a:gd name="T30" fmla="*/ 18 w 891"/>
                      <a:gd name="T31" fmla="*/ 29 h 851"/>
                      <a:gd name="T32" fmla="*/ 16 w 891"/>
                      <a:gd name="T33" fmla="*/ 31 h 851"/>
                      <a:gd name="T34" fmla="*/ 15 w 891"/>
                      <a:gd name="T35" fmla="*/ 33 h 851"/>
                      <a:gd name="T36" fmla="*/ 14 w 891"/>
                      <a:gd name="T37" fmla="*/ 33 h 851"/>
                      <a:gd name="T38" fmla="*/ 13 w 891"/>
                      <a:gd name="T39" fmla="*/ 34 h 851"/>
                      <a:gd name="T40" fmla="*/ 13 w 891"/>
                      <a:gd name="T41" fmla="*/ 33 h 851"/>
                      <a:gd name="T42" fmla="*/ 12 w 891"/>
                      <a:gd name="T43" fmla="*/ 33 h 851"/>
                      <a:gd name="T44" fmla="*/ 12 w 891"/>
                      <a:gd name="T45" fmla="*/ 33 h 851"/>
                      <a:gd name="T46" fmla="*/ 11 w 891"/>
                      <a:gd name="T47" fmla="*/ 34 h 851"/>
                      <a:gd name="T48" fmla="*/ 11 w 891"/>
                      <a:gd name="T49" fmla="*/ 34 h 851"/>
                      <a:gd name="T50" fmla="*/ 10 w 891"/>
                      <a:gd name="T51" fmla="*/ 33 h 851"/>
                      <a:gd name="T52" fmla="*/ 10 w 891"/>
                      <a:gd name="T53" fmla="*/ 34 h 851"/>
                      <a:gd name="T54" fmla="*/ 9 w 891"/>
                      <a:gd name="T55" fmla="*/ 34 h 851"/>
                      <a:gd name="T56" fmla="*/ 8 w 891"/>
                      <a:gd name="T57" fmla="*/ 32 h 851"/>
                      <a:gd name="T58" fmla="*/ 8 w 891"/>
                      <a:gd name="T59" fmla="*/ 32 h 851"/>
                      <a:gd name="T60" fmla="*/ 8 w 891"/>
                      <a:gd name="T61" fmla="*/ 32 h 851"/>
                      <a:gd name="T62" fmla="*/ 8 w 891"/>
                      <a:gd name="T63" fmla="*/ 31 h 851"/>
                      <a:gd name="T64" fmla="*/ 7 w 891"/>
                      <a:gd name="T65" fmla="*/ 31 h 851"/>
                      <a:gd name="T66" fmla="*/ 7 w 891"/>
                      <a:gd name="T67" fmla="*/ 29 h 851"/>
                      <a:gd name="T68" fmla="*/ 7 w 891"/>
                      <a:gd name="T69" fmla="*/ 29 h 851"/>
                      <a:gd name="T70" fmla="*/ 6 w 891"/>
                      <a:gd name="T71" fmla="*/ 29 h 851"/>
                      <a:gd name="T72" fmla="*/ 5 w 891"/>
                      <a:gd name="T73" fmla="*/ 30 h 851"/>
                      <a:gd name="T74" fmla="*/ 4 w 891"/>
                      <a:gd name="T75" fmla="*/ 29 h 851"/>
                      <a:gd name="T76" fmla="*/ 3 w 891"/>
                      <a:gd name="T77" fmla="*/ 30 h 851"/>
                      <a:gd name="T78" fmla="*/ 2 w 891"/>
                      <a:gd name="T79" fmla="*/ 30 h 851"/>
                      <a:gd name="T80" fmla="*/ 2 w 891"/>
                      <a:gd name="T81" fmla="*/ 29 h 851"/>
                      <a:gd name="T82" fmla="*/ 2 w 891"/>
                      <a:gd name="T83" fmla="*/ 29 h 851"/>
                      <a:gd name="T84" fmla="*/ 2 w 891"/>
                      <a:gd name="T85" fmla="*/ 28 h 851"/>
                      <a:gd name="T86" fmla="*/ 1 w 891"/>
                      <a:gd name="T87" fmla="*/ 27 h 851"/>
                      <a:gd name="T88" fmla="*/ 1 w 891"/>
                      <a:gd name="T89" fmla="*/ 27 h 851"/>
                      <a:gd name="T90" fmla="*/ 0 w 891"/>
                      <a:gd name="T91" fmla="*/ 26 h 851"/>
                      <a:gd name="T92" fmla="*/ 0 w 891"/>
                      <a:gd name="T93" fmla="*/ 25 h 851"/>
                      <a:gd name="T94" fmla="*/ 0 w 891"/>
                      <a:gd name="T95" fmla="*/ 24 h 851"/>
                      <a:gd name="T96" fmla="*/ 1 w 891"/>
                      <a:gd name="T97" fmla="*/ 22 h 851"/>
                      <a:gd name="T98" fmla="*/ 2 w 891"/>
                      <a:gd name="T99" fmla="*/ 21 h 851"/>
                      <a:gd name="T100" fmla="*/ 3 w 891"/>
                      <a:gd name="T101" fmla="*/ 23 h 851"/>
                      <a:gd name="T102" fmla="*/ 14 w 891"/>
                      <a:gd name="T103" fmla="*/ 22 h 851"/>
                      <a:gd name="T104" fmla="*/ 14 w 891"/>
                      <a:gd name="T105" fmla="*/ 16 h 851"/>
                      <a:gd name="T106" fmla="*/ 13 w 891"/>
                      <a:gd name="T107" fmla="*/ 5 h 851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w 891"/>
                      <a:gd name="T163" fmla="*/ 0 h 851"/>
                      <a:gd name="T164" fmla="*/ 891 w 891"/>
                      <a:gd name="T165" fmla="*/ 851 h 851"/>
                    </a:gdLst>
                    <a:ahLst/>
                    <a:cxnLst>
                      <a:cxn ang="T108">
                        <a:pos x="T0" y="T1"/>
                      </a:cxn>
                      <a:cxn ang="T109">
                        <a:pos x="T2" y="T3"/>
                      </a:cxn>
                      <a:cxn ang="T110">
                        <a:pos x="T4" y="T5"/>
                      </a:cxn>
                      <a:cxn ang="T111">
                        <a:pos x="T6" y="T7"/>
                      </a:cxn>
                      <a:cxn ang="T112">
                        <a:pos x="T8" y="T9"/>
                      </a:cxn>
                      <a:cxn ang="T113">
                        <a:pos x="T10" y="T11"/>
                      </a:cxn>
                      <a:cxn ang="T114">
                        <a:pos x="T12" y="T13"/>
                      </a:cxn>
                      <a:cxn ang="T115">
                        <a:pos x="T14" y="T15"/>
                      </a:cxn>
                      <a:cxn ang="T116">
                        <a:pos x="T16" y="T17"/>
                      </a:cxn>
                      <a:cxn ang="T117">
                        <a:pos x="T18" y="T19"/>
                      </a:cxn>
                      <a:cxn ang="T118">
                        <a:pos x="T20" y="T21"/>
                      </a:cxn>
                      <a:cxn ang="T119">
                        <a:pos x="T22" y="T23"/>
                      </a:cxn>
                      <a:cxn ang="T120">
                        <a:pos x="T24" y="T25"/>
                      </a:cxn>
                      <a:cxn ang="T121">
                        <a:pos x="T26" y="T27"/>
                      </a:cxn>
                      <a:cxn ang="T122">
                        <a:pos x="T28" y="T29"/>
                      </a:cxn>
                      <a:cxn ang="T123">
                        <a:pos x="T30" y="T31"/>
                      </a:cxn>
                      <a:cxn ang="T124">
                        <a:pos x="T32" y="T33"/>
                      </a:cxn>
                      <a:cxn ang="T125">
                        <a:pos x="T34" y="T35"/>
                      </a:cxn>
                      <a:cxn ang="T126">
                        <a:pos x="T36" y="T37"/>
                      </a:cxn>
                      <a:cxn ang="T127">
                        <a:pos x="T38" y="T39"/>
                      </a:cxn>
                      <a:cxn ang="T128">
                        <a:pos x="T40" y="T41"/>
                      </a:cxn>
                      <a:cxn ang="T129">
                        <a:pos x="T42" y="T43"/>
                      </a:cxn>
                      <a:cxn ang="T130">
                        <a:pos x="T44" y="T45"/>
                      </a:cxn>
                      <a:cxn ang="T131">
                        <a:pos x="T46" y="T47"/>
                      </a:cxn>
                      <a:cxn ang="T132">
                        <a:pos x="T48" y="T49"/>
                      </a:cxn>
                      <a:cxn ang="T133">
                        <a:pos x="T50" y="T51"/>
                      </a:cxn>
                      <a:cxn ang="T134">
                        <a:pos x="T52" y="T53"/>
                      </a:cxn>
                      <a:cxn ang="T135">
                        <a:pos x="T54" y="T55"/>
                      </a:cxn>
                      <a:cxn ang="T136">
                        <a:pos x="T56" y="T57"/>
                      </a:cxn>
                      <a:cxn ang="T137">
                        <a:pos x="T58" y="T59"/>
                      </a:cxn>
                      <a:cxn ang="T138">
                        <a:pos x="T60" y="T61"/>
                      </a:cxn>
                      <a:cxn ang="T139">
                        <a:pos x="T62" y="T63"/>
                      </a:cxn>
                      <a:cxn ang="T140">
                        <a:pos x="T64" y="T65"/>
                      </a:cxn>
                      <a:cxn ang="T141">
                        <a:pos x="T66" y="T67"/>
                      </a:cxn>
                      <a:cxn ang="T142">
                        <a:pos x="T68" y="T69"/>
                      </a:cxn>
                      <a:cxn ang="T143">
                        <a:pos x="T70" y="T71"/>
                      </a:cxn>
                      <a:cxn ang="T144">
                        <a:pos x="T72" y="T73"/>
                      </a:cxn>
                      <a:cxn ang="T145">
                        <a:pos x="T74" y="T75"/>
                      </a:cxn>
                      <a:cxn ang="T146">
                        <a:pos x="T76" y="T77"/>
                      </a:cxn>
                      <a:cxn ang="T147">
                        <a:pos x="T78" y="T79"/>
                      </a:cxn>
                      <a:cxn ang="T148">
                        <a:pos x="T80" y="T81"/>
                      </a:cxn>
                      <a:cxn ang="T149">
                        <a:pos x="T82" y="T83"/>
                      </a:cxn>
                      <a:cxn ang="T150">
                        <a:pos x="T84" y="T85"/>
                      </a:cxn>
                      <a:cxn ang="T151">
                        <a:pos x="T86" y="T87"/>
                      </a:cxn>
                      <a:cxn ang="T152">
                        <a:pos x="T88" y="T89"/>
                      </a:cxn>
                      <a:cxn ang="T153">
                        <a:pos x="T90" y="T91"/>
                      </a:cxn>
                      <a:cxn ang="T154">
                        <a:pos x="T92" y="T93"/>
                      </a:cxn>
                      <a:cxn ang="T155">
                        <a:pos x="T94" y="T95"/>
                      </a:cxn>
                      <a:cxn ang="T156">
                        <a:pos x="T96" y="T97"/>
                      </a:cxn>
                      <a:cxn ang="T157">
                        <a:pos x="T98" y="T99"/>
                      </a:cxn>
                      <a:cxn ang="T158">
                        <a:pos x="T100" y="T101"/>
                      </a:cxn>
                      <a:cxn ang="T159">
                        <a:pos x="T102" y="T103"/>
                      </a:cxn>
                      <a:cxn ang="T160">
                        <a:pos x="T104" y="T105"/>
                      </a:cxn>
                      <a:cxn ang="T161">
                        <a:pos x="T106" y="T107"/>
                      </a:cxn>
                    </a:cxnLst>
                    <a:rect l="T162" t="T163" r="T164" b="T165"/>
                    <a:pathLst>
                      <a:path w="891" h="851">
                        <a:moveTo>
                          <a:pt x="462" y="44"/>
                        </a:moveTo>
                        <a:lnTo>
                          <a:pt x="724" y="226"/>
                        </a:lnTo>
                        <a:lnTo>
                          <a:pt x="724" y="231"/>
                        </a:lnTo>
                        <a:lnTo>
                          <a:pt x="728" y="234"/>
                        </a:lnTo>
                        <a:lnTo>
                          <a:pt x="727" y="243"/>
                        </a:lnTo>
                        <a:lnTo>
                          <a:pt x="728" y="247"/>
                        </a:lnTo>
                        <a:lnTo>
                          <a:pt x="734" y="250"/>
                        </a:lnTo>
                        <a:lnTo>
                          <a:pt x="742" y="252"/>
                        </a:lnTo>
                        <a:lnTo>
                          <a:pt x="753" y="258"/>
                        </a:lnTo>
                        <a:lnTo>
                          <a:pt x="755" y="259"/>
                        </a:lnTo>
                        <a:lnTo>
                          <a:pt x="756" y="265"/>
                        </a:lnTo>
                        <a:lnTo>
                          <a:pt x="758" y="270"/>
                        </a:lnTo>
                        <a:lnTo>
                          <a:pt x="765" y="276"/>
                        </a:lnTo>
                        <a:lnTo>
                          <a:pt x="770" y="279"/>
                        </a:lnTo>
                        <a:lnTo>
                          <a:pt x="780" y="281"/>
                        </a:lnTo>
                        <a:lnTo>
                          <a:pt x="788" y="280"/>
                        </a:lnTo>
                        <a:lnTo>
                          <a:pt x="791" y="281"/>
                        </a:lnTo>
                        <a:lnTo>
                          <a:pt x="794" y="288"/>
                        </a:lnTo>
                        <a:lnTo>
                          <a:pt x="798" y="291"/>
                        </a:lnTo>
                        <a:lnTo>
                          <a:pt x="809" y="291"/>
                        </a:lnTo>
                        <a:lnTo>
                          <a:pt x="813" y="293"/>
                        </a:lnTo>
                        <a:lnTo>
                          <a:pt x="818" y="293"/>
                        </a:lnTo>
                        <a:lnTo>
                          <a:pt x="826" y="298"/>
                        </a:lnTo>
                        <a:lnTo>
                          <a:pt x="835" y="301"/>
                        </a:lnTo>
                        <a:lnTo>
                          <a:pt x="839" y="303"/>
                        </a:lnTo>
                        <a:lnTo>
                          <a:pt x="840" y="307"/>
                        </a:lnTo>
                        <a:lnTo>
                          <a:pt x="841" y="307"/>
                        </a:lnTo>
                        <a:lnTo>
                          <a:pt x="842" y="313"/>
                        </a:lnTo>
                        <a:lnTo>
                          <a:pt x="841" y="315"/>
                        </a:lnTo>
                        <a:lnTo>
                          <a:pt x="841" y="319"/>
                        </a:lnTo>
                        <a:lnTo>
                          <a:pt x="844" y="324"/>
                        </a:lnTo>
                        <a:lnTo>
                          <a:pt x="844" y="325"/>
                        </a:lnTo>
                        <a:lnTo>
                          <a:pt x="840" y="328"/>
                        </a:lnTo>
                        <a:lnTo>
                          <a:pt x="839" y="330"/>
                        </a:lnTo>
                        <a:lnTo>
                          <a:pt x="840" y="336"/>
                        </a:lnTo>
                        <a:lnTo>
                          <a:pt x="837" y="341"/>
                        </a:lnTo>
                        <a:lnTo>
                          <a:pt x="837" y="346"/>
                        </a:lnTo>
                        <a:lnTo>
                          <a:pt x="845" y="355"/>
                        </a:lnTo>
                        <a:lnTo>
                          <a:pt x="851" y="356"/>
                        </a:lnTo>
                        <a:lnTo>
                          <a:pt x="858" y="356"/>
                        </a:lnTo>
                        <a:lnTo>
                          <a:pt x="867" y="351"/>
                        </a:lnTo>
                        <a:lnTo>
                          <a:pt x="875" y="351"/>
                        </a:lnTo>
                        <a:lnTo>
                          <a:pt x="885" y="346"/>
                        </a:lnTo>
                        <a:lnTo>
                          <a:pt x="890" y="344"/>
                        </a:lnTo>
                        <a:lnTo>
                          <a:pt x="890" y="346"/>
                        </a:lnTo>
                        <a:lnTo>
                          <a:pt x="891" y="347"/>
                        </a:lnTo>
                        <a:lnTo>
                          <a:pt x="891" y="358"/>
                        </a:lnTo>
                        <a:lnTo>
                          <a:pt x="891" y="414"/>
                        </a:lnTo>
                        <a:lnTo>
                          <a:pt x="891" y="468"/>
                        </a:lnTo>
                        <a:lnTo>
                          <a:pt x="891" y="522"/>
                        </a:lnTo>
                        <a:lnTo>
                          <a:pt x="888" y="523"/>
                        </a:lnTo>
                        <a:lnTo>
                          <a:pt x="878" y="529"/>
                        </a:lnTo>
                        <a:lnTo>
                          <a:pt x="874" y="535"/>
                        </a:lnTo>
                        <a:lnTo>
                          <a:pt x="873" y="543"/>
                        </a:lnTo>
                        <a:lnTo>
                          <a:pt x="861" y="550"/>
                        </a:lnTo>
                        <a:lnTo>
                          <a:pt x="857" y="553"/>
                        </a:lnTo>
                        <a:lnTo>
                          <a:pt x="855" y="556"/>
                        </a:lnTo>
                        <a:lnTo>
                          <a:pt x="855" y="561"/>
                        </a:lnTo>
                        <a:lnTo>
                          <a:pt x="842" y="560"/>
                        </a:lnTo>
                        <a:lnTo>
                          <a:pt x="829" y="559"/>
                        </a:lnTo>
                        <a:lnTo>
                          <a:pt x="829" y="562"/>
                        </a:lnTo>
                        <a:lnTo>
                          <a:pt x="824" y="561"/>
                        </a:lnTo>
                        <a:lnTo>
                          <a:pt x="735" y="562"/>
                        </a:lnTo>
                        <a:lnTo>
                          <a:pt x="711" y="582"/>
                        </a:lnTo>
                        <a:lnTo>
                          <a:pt x="674" y="582"/>
                        </a:lnTo>
                        <a:lnTo>
                          <a:pt x="641" y="583"/>
                        </a:lnTo>
                        <a:lnTo>
                          <a:pt x="621" y="591"/>
                        </a:lnTo>
                        <a:lnTo>
                          <a:pt x="613" y="594"/>
                        </a:lnTo>
                        <a:lnTo>
                          <a:pt x="598" y="607"/>
                        </a:lnTo>
                        <a:lnTo>
                          <a:pt x="561" y="631"/>
                        </a:lnTo>
                        <a:lnTo>
                          <a:pt x="549" y="647"/>
                        </a:lnTo>
                        <a:lnTo>
                          <a:pt x="530" y="661"/>
                        </a:lnTo>
                        <a:lnTo>
                          <a:pt x="492" y="673"/>
                        </a:lnTo>
                        <a:lnTo>
                          <a:pt x="480" y="675"/>
                        </a:lnTo>
                        <a:lnTo>
                          <a:pt x="468" y="677"/>
                        </a:lnTo>
                        <a:lnTo>
                          <a:pt x="462" y="678"/>
                        </a:lnTo>
                        <a:lnTo>
                          <a:pt x="453" y="684"/>
                        </a:lnTo>
                        <a:lnTo>
                          <a:pt x="448" y="690"/>
                        </a:lnTo>
                        <a:lnTo>
                          <a:pt x="443" y="701"/>
                        </a:lnTo>
                        <a:lnTo>
                          <a:pt x="439" y="716"/>
                        </a:lnTo>
                        <a:lnTo>
                          <a:pt x="432" y="734"/>
                        </a:lnTo>
                        <a:lnTo>
                          <a:pt x="425" y="744"/>
                        </a:lnTo>
                        <a:lnTo>
                          <a:pt x="409" y="756"/>
                        </a:lnTo>
                        <a:lnTo>
                          <a:pt x="399" y="765"/>
                        </a:lnTo>
                        <a:lnTo>
                          <a:pt x="395" y="770"/>
                        </a:lnTo>
                        <a:lnTo>
                          <a:pt x="390" y="779"/>
                        </a:lnTo>
                        <a:lnTo>
                          <a:pt x="389" y="788"/>
                        </a:lnTo>
                        <a:lnTo>
                          <a:pt x="380" y="806"/>
                        </a:lnTo>
                        <a:lnTo>
                          <a:pt x="379" y="817"/>
                        </a:lnTo>
                        <a:lnTo>
                          <a:pt x="379" y="830"/>
                        </a:lnTo>
                        <a:lnTo>
                          <a:pt x="380" y="841"/>
                        </a:lnTo>
                        <a:lnTo>
                          <a:pt x="369" y="844"/>
                        </a:lnTo>
                        <a:lnTo>
                          <a:pt x="367" y="842"/>
                        </a:lnTo>
                        <a:lnTo>
                          <a:pt x="363" y="836"/>
                        </a:lnTo>
                        <a:lnTo>
                          <a:pt x="361" y="835"/>
                        </a:lnTo>
                        <a:lnTo>
                          <a:pt x="350" y="835"/>
                        </a:lnTo>
                        <a:lnTo>
                          <a:pt x="346" y="836"/>
                        </a:lnTo>
                        <a:lnTo>
                          <a:pt x="344" y="842"/>
                        </a:lnTo>
                        <a:lnTo>
                          <a:pt x="340" y="842"/>
                        </a:lnTo>
                        <a:lnTo>
                          <a:pt x="336" y="846"/>
                        </a:lnTo>
                        <a:lnTo>
                          <a:pt x="326" y="846"/>
                        </a:lnTo>
                        <a:lnTo>
                          <a:pt x="328" y="844"/>
                        </a:lnTo>
                        <a:lnTo>
                          <a:pt x="326" y="833"/>
                        </a:lnTo>
                        <a:lnTo>
                          <a:pt x="325" y="829"/>
                        </a:lnTo>
                        <a:lnTo>
                          <a:pt x="325" y="828"/>
                        </a:lnTo>
                        <a:lnTo>
                          <a:pt x="325" y="823"/>
                        </a:lnTo>
                        <a:lnTo>
                          <a:pt x="323" y="819"/>
                        </a:lnTo>
                        <a:lnTo>
                          <a:pt x="320" y="820"/>
                        </a:lnTo>
                        <a:lnTo>
                          <a:pt x="314" y="820"/>
                        </a:lnTo>
                        <a:lnTo>
                          <a:pt x="312" y="828"/>
                        </a:lnTo>
                        <a:lnTo>
                          <a:pt x="310" y="828"/>
                        </a:lnTo>
                        <a:lnTo>
                          <a:pt x="304" y="824"/>
                        </a:lnTo>
                        <a:lnTo>
                          <a:pt x="302" y="824"/>
                        </a:lnTo>
                        <a:lnTo>
                          <a:pt x="299" y="828"/>
                        </a:lnTo>
                        <a:lnTo>
                          <a:pt x="299" y="831"/>
                        </a:lnTo>
                        <a:lnTo>
                          <a:pt x="301" y="837"/>
                        </a:lnTo>
                        <a:lnTo>
                          <a:pt x="299" y="840"/>
                        </a:lnTo>
                        <a:lnTo>
                          <a:pt x="288" y="840"/>
                        </a:lnTo>
                        <a:lnTo>
                          <a:pt x="282" y="842"/>
                        </a:lnTo>
                        <a:lnTo>
                          <a:pt x="282" y="846"/>
                        </a:lnTo>
                        <a:lnTo>
                          <a:pt x="280" y="851"/>
                        </a:lnTo>
                        <a:lnTo>
                          <a:pt x="276" y="851"/>
                        </a:lnTo>
                        <a:lnTo>
                          <a:pt x="272" y="849"/>
                        </a:lnTo>
                        <a:lnTo>
                          <a:pt x="269" y="844"/>
                        </a:lnTo>
                        <a:lnTo>
                          <a:pt x="266" y="844"/>
                        </a:lnTo>
                        <a:lnTo>
                          <a:pt x="264" y="845"/>
                        </a:lnTo>
                        <a:lnTo>
                          <a:pt x="262" y="846"/>
                        </a:lnTo>
                        <a:lnTo>
                          <a:pt x="261" y="846"/>
                        </a:lnTo>
                        <a:lnTo>
                          <a:pt x="260" y="840"/>
                        </a:lnTo>
                        <a:lnTo>
                          <a:pt x="256" y="835"/>
                        </a:lnTo>
                        <a:lnTo>
                          <a:pt x="253" y="834"/>
                        </a:lnTo>
                        <a:lnTo>
                          <a:pt x="249" y="837"/>
                        </a:lnTo>
                        <a:lnTo>
                          <a:pt x="244" y="836"/>
                        </a:lnTo>
                        <a:lnTo>
                          <a:pt x="242" y="837"/>
                        </a:lnTo>
                        <a:lnTo>
                          <a:pt x="239" y="840"/>
                        </a:lnTo>
                        <a:lnTo>
                          <a:pt x="238" y="844"/>
                        </a:lnTo>
                        <a:lnTo>
                          <a:pt x="235" y="847"/>
                        </a:lnTo>
                        <a:lnTo>
                          <a:pt x="229" y="849"/>
                        </a:lnTo>
                        <a:lnTo>
                          <a:pt x="229" y="846"/>
                        </a:lnTo>
                        <a:lnTo>
                          <a:pt x="227" y="842"/>
                        </a:lnTo>
                        <a:lnTo>
                          <a:pt x="222" y="840"/>
                        </a:lnTo>
                        <a:lnTo>
                          <a:pt x="220" y="835"/>
                        </a:lnTo>
                        <a:lnTo>
                          <a:pt x="215" y="835"/>
                        </a:lnTo>
                        <a:lnTo>
                          <a:pt x="211" y="829"/>
                        </a:lnTo>
                        <a:lnTo>
                          <a:pt x="210" y="806"/>
                        </a:lnTo>
                        <a:lnTo>
                          <a:pt x="210" y="802"/>
                        </a:lnTo>
                        <a:lnTo>
                          <a:pt x="205" y="801"/>
                        </a:lnTo>
                        <a:lnTo>
                          <a:pt x="200" y="801"/>
                        </a:lnTo>
                        <a:lnTo>
                          <a:pt x="194" y="808"/>
                        </a:lnTo>
                        <a:lnTo>
                          <a:pt x="191" y="808"/>
                        </a:lnTo>
                        <a:lnTo>
                          <a:pt x="191" y="801"/>
                        </a:lnTo>
                        <a:lnTo>
                          <a:pt x="192" y="798"/>
                        </a:lnTo>
                        <a:lnTo>
                          <a:pt x="197" y="797"/>
                        </a:lnTo>
                        <a:lnTo>
                          <a:pt x="197" y="792"/>
                        </a:lnTo>
                        <a:lnTo>
                          <a:pt x="201" y="792"/>
                        </a:lnTo>
                        <a:lnTo>
                          <a:pt x="204" y="788"/>
                        </a:lnTo>
                        <a:lnTo>
                          <a:pt x="207" y="788"/>
                        </a:lnTo>
                        <a:lnTo>
                          <a:pt x="207" y="782"/>
                        </a:lnTo>
                        <a:lnTo>
                          <a:pt x="206" y="782"/>
                        </a:lnTo>
                        <a:lnTo>
                          <a:pt x="201" y="782"/>
                        </a:lnTo>
                        <a:lnTo>
                          <a:pt x="197" y="779"/>
                        </a:lnTo>
                        <a:lnTo>
                          <a:pt x="194" y="776"/>
                        </a:lnTo>
                        <a:lnTo>
                          <a:pt x="189" y="766"/>
                        </a:lnTo>
                        <a:lnTo>
                          <a:pt x="184" y="769"/>
                        </a:lnTo>
                        <a:lnTo>
                          <a:pt x="183" y="767"/>
                        </a:lnTo>
                        <a:lnTo>
                          <a:pt x="183" y="750"/>
                        </a:lnTo>
                        <a:lnTo>
                          <a:pt x="181" y="745"/>
                        </a:lnTo>
                        <a:lnTo>
                          <a:pt x="179" y="745"/>
                        </a:lnTo>
                        <a:lnTo>
                          <a:pt x="179" y="739"/>
                        </a:lnTo>
                        <a:lnTo>
                          <a:pt x="178" y="737"/>
                        </a:lnTo>
                        <a:lnTo>
                          <a:pt x="174" y="737"/>
                        </a:lnTo>
                        <a:lnTo>
                          <a:pt x="173" y="737"/>
                        </a:lnTo>
                        <a:lnTo>
                          <a:pt x="174" y="724"/>
                        </a:lnTo>
                        <a:lnTo>
                          <a:pt x="174" y="723"/>
                        </a:lnTo>
                        <a:lnTo>
                          <a:pt x="170" y="721"/>
                        </a:lnTo>
                        <a:lnTo>
                          <a:pt x="168" y="721"/>
                        </a:lnTo>
                        <a:lnTo>
                          <a:pt x="164" y="724"/>
                        </a:lnTo>
                        <a:lnTo>
                          <a:pt x="163" y="724"/>
                        </a:lnTo>
                        <a:lnTo>
                          <a:pt x="156" y="720"/>
                        </a:lnTo>
                        <a:lnTo>
                          <a:pt x="153" y="720"/>
                        </a:lnTo>
                        <a:lnTo>
                          <a:pt x="152" y="721"/>
                        </a:lnTo>
                        <a:lnTo>
                          <a:pt x="152" y="729"/>
                        </a:lnTo>
                        <a:lnTo>
                          <a:pt x="149" y="733"/>
                        </a:lnTo>
                        <a:lnTo>
                          <a:pt x="136" y="737"/>
                        </a:lnTo>
                        <a:lnTo>
                          <a:pt x="136" y="743"/>
                        </a:lnTo>
                        <a:lnTo>
                          <a:pt x="134" y="747"/>
                        </a:lnTo>
                        <a:lnTo>
                          <a:pt x="120" y="743"/>
                        </a:lnTo>
                        <a:lnTo>
                          <a:pt x="110" y="737"/>
                        </a:lnTo>
                        <a:lnTo>
                          <a:pt x="102" y="736"/>
                        </a:lnTo>
                        <a:lnTo>
                          <a:pt x="99" y="736"/>
                        </a:lnTo>
                        <a:lnTo>
                          <a:pt x="95" y="742"/>
                        </a:lnTo>
                        <a:lnTo>
                          <a:pt x="89" y="743"/>
                        </a:lnTo>
                        <a:lnTo>
                          <a:pt x="87" y="749"/>
                        </a:lnTo>
                        <a:lnTo>
                          <a:pt x="83" y="753"/>
                        </a:lnTo>
                        <a:lnTo>
                          <a:pt x="78" y="750"/>
                        </a:lnTo>
                        <a:lnTo>
                          <a:pt x="70" y="739"/>
                        </a:lnTo>
                        <a:lnTo>
                          <a:pt x="67" y="737"/>
                        </a:lnTo>
                        <a:lnTo>
                          <a:pt x="62" y="737"/>
                        </a:lnTo>
                        <a:lnTo>
                          <a:pt x="56" y="743"/>
                        </a:lnTo>
                        <a:lnTo>
                          <a:pt x="52" y="747"/>
                        </a:lnTo>
                        <a:lnTo>
                          <a:pt x="48" y="748"/>
                        </a:lnTo>
                        <a:lnTo>
                          <a:pt x="43" y="744"/>
                        </a:lnTo>
                        <a:lnTo>
                          <a:pt x="38" y="740"/>
                        </a:lnTo>
                        <a:lnTo>
                          <a:pt x="39" y="737"/>
                        </a:lnTo>
                        <a:lnTo>
                          <a:pt x="43" y="732"/>
                        </a:lnTo>
                        <a:lnTo>
                          <a:pt x="43" y="728"/>
                        </a:lnTo>
                        <a:lnTo>
                          <a:pt x="46" y="724"/>
                        </a:lnTo>
                        <a:lnTo>
                          <a:pt x="48" y="723"/>
                        </a:lnTo>
                        <a:lnTo>
                          <a:pt x="48" y="721"/>
                        </a:lnTo>
                        <a:lnTo>
                          <a:pt x="44" y="717"/>
                        </a:lnTo>
                        <a:lnTo>
                          <a:pt x="44" y="710"/>
                        </a:lnTo>
                        <a:lnTo>
                          <a:pt x="46" y="706"/>
                        </a:lnTo>
                        <a:lnTo>
                          <a:pt x="46" y="702"/>
                        </a:lnTo>
                        <a:lnTo>
                          <a:pt x="45" y="699"/>
                        </a:lnTo>
                        <a:lnTo>
                          <a:pt x="45" y="697"/>
                        </a:lnTo>
                        <a:lnTo>
                          <a:pt x="46" y="697"/>
                        </a:lnTo>
                        <a:lnTo>
                          <a:pt x="45" y="694"/>
                        </a:lnTo>
                        <a:lnTo>
                          <a:pt x="41" y="689"/>
                        </a:lnTo>
                        <a:lnTo>
                          <a:pt x="39" y="684"/>
                        </a:lnTo>
                        <a:lnTo>
                          <a:pt x="36" y="682"/>
                        </a:lnTo>
                        <a:lnTo>
                          <a:pt x="35" y="678"/>
                        </a:lnTo>
                        <a:lnTo>
                          <a:pt x="32" y="674"/>
                        </a:lnTo>
                        <a:lnTo>
                          <a:pt x="32" y="670"/>
                        </a:lnTo>
                        <a:lnTo>
                          <a:pt x="27" y="670"/>
                        </a:lnTo>
                        <a:lnTo>
                          <a:pt x="24" y="673"/>
                        </a:lnTo>
                        <a:lnTo>
                          <a:pt x="20" y="673"/>
                        </a:lnTo>
                        <a:lnTo>
                          <a:pt x="19" y="672"/>
                        </a:lnTo>
                        <a:lnTo>
                          <a:pt x="17" y="666"/>
                        </a:lnTo>
                        <a:lnTo>
                          <a:pt x="9" y="654"/>
                        </a:lnTo>
                        <a:lnTo>
                          <a:pt x="9" y="652"/>
                        </a:lnTo>
                        <a:lnTo>
                          <a:pt x="14" y="646"/>
                        </a:lnTo>
                        <a:lnTo>
                          <a:pt x="13" y="641"/>
                        </a:lnTo>
                        <a:lnTo>
                          <a:pt x="11" y="635"/>
                        </a:lnTo>
                        <a:lnTo>
                          <a:pt x="11" y="629"/>
                        </a:lnTo>
                        <a:lnTo>
                          <a:pt x="9" y="621"/>
                        </a:lnTo>
                        <a:lnTo>
                          <a:pt x="6" y="618"/>
                        </a:lnTo>
                        <a:lnTo>
                          <a:pt x="5" y="618"/>
                        </a:lnTo>
                        <a:lnTo>
                          <a:pt x="3" y="614"/>
                        </a:lnTo>
                        <a:lnTo>
                          <a:pt x="1" y="614"/>
                        </a:lnTo>
                        <a:lnTo>
                          <a:pt x="1" y="608"/>
                        </a:lnTo>
                        <a:lnTo>
                          <a:pt x="3" y="600"/>
                        </a:lnTo>
                        <a:lnTo>
                          <a:pt x="2" y="597"/>
                        </a:lnTo>
                        <a:lnTo>
                          <a:pt x="0" y="594"/>
                        </a:lnTo>
                        <a:lnTo>
                          <a:pt x="23" y="572"/>
                        </a:lnTo>
                        <a:lnTo>
                          <a:pt x="30" y="554"/>
                        </a:lnTo>
                        <a:lnTo>
                          <a:pt x="34" y="543"/>
                        </a:lnTo>
                        <a:lnTo>
                          <a:pt x="39" y="532"/>
                        </a:lnTo>
                        <a:lnTo>
                          <a:pt x="41" y="530"/>
                        </a:lnTo>
                        <a:lnTo>
                          <a:pt x="45" y="532"/>
                        </a:lnTo>
                        <a:lnTo>
                          <a:pt x="45" y="533"/>
                        </a:lnTo>
                        <a:lnTo>
                          <a:pt x="51" y="534"/>
                        </a:lnTo>
                        <a:lnTo>
                          <a:pt x="55" y="537"/>
                        </a:lnTo>
                        <a:lnTo>
                          <a:pt x="60" y="550"/>
                        </a:lnTo>
                        <a:lnTo>
                          <a:pt x="70" y="568"/>
                        </a:lnTo>
                        <a:lnTo>
                          <a:pt x="84" y="572"/>
                        </a:lnTo>
                        <a:lnTo>
                          <a:pt x="87" y="572"/>
                        </a:lnTo>
                        <a:lnTo>
                          <a:pt x="113" y="550"/>
                        </a:lnTo>
                        <a:lnTo>
                          <a:pt x="200" y="553"/>
                        </a:lnTo>
                        <a:lnTo>
                          <a:pt x="271" y="554"/>
                        </a:lnTo>
                        <a:lnTo>
                          <a:pt x="344" y="555"/>
                        </a:lnTo>
                        <a:lnTo>
                          <a:pt x="362" y="555"/>
                        </a:lnTo>
                        <a:lnTo>
                          <a:pt x="374" y="508"/>
                        </a:lnTo>
                        <a:lnTo>
                          <a:pt x="352" y="501"/>
                        </a:lnTo>
                        <a:lnTo>
                          <a:pt x="346" y="444"/>
                        </a:lnTo>
                        <a:lnTo>
                          <a:pt x="341" y="389"/>
                        </a:lnTo>
                        <a:lnTo>
                          <a:pt x="335" y="335"/>
                        </a:lnTo>
                        <a:lnTo>
                          <a:pt x="329" y="281"/>
                        </a:lnTo>
                        <a:lnTo>
                          <a:pt x="324" y="226"/>
                        </a:lnTo>
                        <a:lnTo>
                          <a:pt x="318" y="169"/>
                        </a:lnTo>
                        <a:lnTo>
                          <a:pt x="313" y="114"/>
                        </a:lnTo>
                        <a:lnTo>
                          <a:pt x="307" y="58"/>
                        </a:lnTo>
                        <a:lnTo>
                          <a:pt x="301" y="0"/>
                        </a:lnTo>
                        <a:lnTo>
                          <a:pt x="398" y="0"/>
                        </a:lnTo>
                        <a:lnTo>
                          <a:pt x="462" y="44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64" name="Freeform 14"/>
                  <p:cNvSpPr>
                    <a:spLocks/>
                  </p:cNvSpPr>
                  <p:nvPr/>
                </p:nvSpPr>
                <p:spPr bwMode="gray">
                  <a:xfrm>
                    <a:off x="2596" y="2047"/>
                    <a:ext cx="44" cy="93"/>
                  </a:xfrm>
                  <a:custGeom>
                    <a:avLst/>
                    <a:gdLst>
                      <a:gd name="T0" fmla="*/ 5 w 218"/>
                      <a:gd name="T1" fmla="*/ 19 h 462"/>
                      <a:gd name="T2" fmla="*/ 6 w 218"/>
                      <a:gd name="T3" fmla="*/ 18 h 462"/>
                      <a:gd name="T4" fmla="*/ 6 w 218"/>
                      <a:gd name="T5" fmla="*/ 17 h 462"/>
                      <a:gd name="T6" fmla="*/ 6 w 218"/>
                      <a:gd name="T7" fmla="*/ 16 h 462"/>
                      <a:gd name="T8" fmla="*/ 7 w 218"/>
                      <a:gd name="T9" fmla="*/ 15 h 462"/>
                      <a:gd name="T10" fmla="*/ 7 w 218"/>
                      <a:gd name="T11" fmla="*/ 14 h 462"/>
                      <a:gd name="T12" fmla="*/ 9 w 218"/>
                      <a:gd name="T13" fmla="*/ 13 h 462"/>
                      <a:gd name="T14" fmla="*/ 9 w 218"/>
                      <a:gd name="T15" fmla="*/ 11 h 462"/>
                      <a:gd name="T16" fmla="*/ 9 w 218"/>
                      <a:gd name="T17" fmla="*/ 11 h 462"/>
                      <a:gd name="T18" fmla="*/ 8 w 218"/>
                      <a:gd name="T19" fmla="*/ 11 h 462"/>
                      <a:gd name="T20" fmla="*/ 8 w 218"/>
                      <a:gd name="T21" fmla="*/ 11 h 462"/>
                      <a:gd name="T22" fmla="*/ 8 w 218"/>
                      <a:gd name="T23" fmla="*/ 10 h 462"/>
                      <a:gd name="T24" fmla="*/ 7 w 218"/>
                      <a:gd name="T25" fmla="*/ 10 h 462"/>
                      <a:gd name="T26" fmla="*/ 7 w 218"/>
                      <a:gd name="T27" fmla="*/ 10 h 462"/>
                      <a:gd name="T28" fmla="*/ 6 w 218"/>
                      <a:gd name="T29" fmla="*/ 10 h 462"/>
                      <a:gd name="T30" fmla="*/ 6 w 218"/>
                      <a:gd name="T31" fmla="*/ 9 h 462"/>
                      <a:gd name="T32" fmla="*/ 6 w 218"/>
                      <a:gd name="T33" fmla="*/ 9 h 462"/>
                      <a:gd name="T34" fmla="*/ 6 w 218"/>
                      <a:gd name="T35" fmla="*/ 8 h 462"/>
                      <a:gd name="T36" fmla="*/ 7 w 218"/>
                      <a:gd name="T37" fmla="*/ 8 h 462"/>
                      <a:gd name="T38" fmla="*/ 7 w 218"/>
                      <a:gd name="T39" fmla="*/ 7 h 462"/>
                      <a:gd name="T40" fmla="*/ 8 w 218"/>
                      <a:gd name="T41" fmla="*/ 7 h 462"/>
                      <a:gd name="T42" fmla="*/ 8 w 218"/>
                      <a:gd name="T43" fmla="*/ 5 h 462"/>
                      <a:gd name="T44" fmla="*/ 8 w 218"/>
                      <a:gd name="T45" fmla="*/ 4 h 462"/>
                      <a:gd name="T46" fmla="*/ 7 w 218"/>
                      <a:gd name="T47" fmla="*/ 4 h 462"/>
                      <a:gd name="T48" fmla="*/ 7 w 218"/>
                      <a:gd name="T49" fmla="*/ 3 h 462"/>
                      <a:gd name="T50" fmla="*/ 7 w 218"/>
                      <a:gd name="T51" fmla="*/ 2 h 462"/>
                      <a:gd name="T52" fmla="*/ 8 w 218"/>
                      <a:gd name="T53" fmla="*/ 1 h 462"/>
                      <a:gd name="T54" fmla="*/ 8 w 218"/>
                      <a:gd name="T55" fmla="*/ 1 h 462"/>
                      <a:gd name="T56" fmla="*/ 7 w 218"/>
                      <a:gd name="T57" fmla="*/ 1 h 462"/>
                      <a:gd name="T58" fmla="*/ 7 w 218"/>
                      <a:gd name="T59" fmla="*/ 2 h 462"/>
                      <a:gd name="T60" fmla="*/ 6 w 218"/>
                      <a:gd name="T61" fmla="*/ 1 h 462"/>
                      <a:gd name="T62" fmla="*/ 6 w 218"/>
                      <a:gd name="T63" fmla="*/ 0 h 462"/>
                      <a:gd name="T64" fmla="*/ 6 w 218"/>
                      <a:gd name="T65" fmla="*/ 0 h 462"/>
                      <a:gd name="T66" fmla="*/ 5 w 218"/>
                      <a:gd name="T67" fmla="*/ 0 h 462"/>
                      <a:gd name="T68" fmla="*/ 4 w 218"/>
                      <a:gd name="T69" fmla="*/ 1 h 462"/>
                      <a:gd name="T70" fmla="*/ 3 w 218"/>
                      <a:gd name="T71" fmla="*/ 1 h 462"/>
                      <a:gd name="T72" fmla="*/ 3 w 218"/>
                      <a:gd name="T73" fmla="*/ 1 h 462"/>
                      <a:gd name="T74" fmla="*/ 3 w 218"/>
                      <a:gd name="T75" fmla="*/ 2 h 462"/>
                      <a:gd name="T76" fmla="*/ 2 w 218"/>
                      <a:gd name="T77" fmla="*/ 2 h 462"/>
                      <a:gd name="T78" fmla="*/ 2 w 218"/>
                      <a:gd name="T79" fmla="*/ 2 h 462"/>
                      <a:gd name="T80" fmla="*/ 2 w 218"/>
                      <a:gd name="T81" fmla="*/ 4 h 462"/>
                      <a:gd name="T82" fmla="*/ 2 w 218"/>
                      <a:gd name="T83" fmla="*/ 5 h 462"/>
                      <a:gd name="T84" fmla="*/ 2 w 218"/>
                      <a:gd name="T85" fmla="*/ 6 h 462"/>
                      <a:gd name="T86" fmla="*/ 2 w 218"/>
                      <a:gd name="T87" fmla="*/ 7 h 462"/>
                      <a:gd name="T88" fmla="*/ 1 w 218"/>
                      <a:gd name="T89" fmla="*/ 8 h 462"/>
                      <a:gd name="T90" fmla="*/ 1 w 218"/>
                      <a:gd name="T91" fmla="*/ 9 h 462"/>
                      <a:gd name="T92" fmla="*/ 0 w 218"/>
                      <a:gd name="T93" fmla="*/ 9 h 462"/>
                      <a:gd name="T94" fmla="*/ 0 w 218"/>
                      <a:gd name="T95" fmla="*/ 9 h 462"/>
                      <a:gd name="T96" fmla="*/ 1 w 218"/>
                      <a:gd name="T97" fmla="*/ 11 h 462"/>
                      <a:gd name="T98" fmla="*/ 1 w 218"/>
                      <a:gd name="T99" fmla="*/ 11 h 462"/>
                      <a:gd name="T100" fmla="*/ 2 w 218"/>
                      <a:gd name="T101" fmla="*/ 13 h 462"/>
                      <a:gd name="T102" fmla="*/ 4 w 218"/>
                      <a:gd name="T103" fmla="*/ 14 h 462"/>
                      <a:gd name="T104" fmla="*/ 4 w 218"/>
                      <a:gd name="T105" fmla="*/ 14 h 462"/>
                      <a:gd name="T106" fmla="*/ 4 w 218"/>
                      <a:gd name="T107" fmla="*/ 19 h 462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w 218"/>
                      <a:gd name="T163" fmla="*/ 0 h 462"/>
                      <a:gd name="T164" fmla="*/ 218 w 218"/>
                      <a:gd name="T165" fmla="*/ 462 h 462"/>
                    </a:gdLst>
                    <a:ahLst/>
                    <a:cxnLst>
                      <a:cxn ang="T108">
                        <a:pos x="T0" y="T1"/>
                      </a:cxn>
                      <a:cxn ang="T109">
                        <a:pos x="T2" y="T3"/>
                      </a:cxn>
                      <a:cxn ang="T110">
                        <a:pos x="T4" y="T5"/>
                      </a:cxn>
                      <a:cxn ang="T111">
                        <a:pos x="T6" y="T7"/>
                      </a:cxn>
                      <a:cxn ang="T112">
                        <a:pos x="T8" y="T9"/>
                      </a:cxn>
                      <a:cxn ang="T113">
                        <a:pos x="T10" y="T11"/>
                      </a:cxn>
                      <a:cxn ang="T114">
                        <a:pos x="T12" y="T13"/>
                      </a:cxn>
                      <a:cxn ang="T115">
                        <a:pos x="T14" y="T15"/>
                      </a:cxn>
                      <a:cxn ang="T116">
                        <a:pos x="T16" y="T17"/>
                      </a:cxn>
                      <a:cxn ang="T117">
                        <a:pos x="T18" y="T19"/>
                      </a:cxn>
                      <a:cxn ang="T118">
                        <a:pos x="T20" y="T21"/>
                      </a:cxn>
                      <a:cxn ang="T119">
                        <a:pos x="T22" y="T23"/>
                      </a:cxn>
                      <a:cxn ang="T120">
                        <a:pos x="T24" y="T25"/>
                      </a:cxn>
                      <a:cxn ang="T121">
                        <a:pos x="T26" y="T27"/>
                      </a:cxn>
                      <a:cxn ang="T122">
                        <a:pos x="T28" y="T29"/>
                      </a:cxn>
                      <a:cxn ang="T123">
                        <a:pos x="T30" y="T31"/>
                      </a:cxn>
                      <a:cxn ang="T124">
                        <a:pos x="T32" y="T33"/>
                      </a:cxn>
                      <a:cxn ang="T125">
                        <a:pos x="T34" y="T35"/>
                      </a:cxn>
                      <a:cxn ang="T126">
                        <a:pos x="T36" y="T37"/>
                      </a:cxn>
                      <a:cxn ang="T127">
                        <a:pos x="T38" y="T39"/>
                      </a:cxn>
                      <a:cxn ang="T128">
                        <a:pos x="T40" y="T41"/>
                      </a:cxn>
                      <a:cxn ang="T129">
                        <a:pos x="T42" y="T43"/>
                      </a:cxn>
                      <a:cxn ang="T130">
                        <a:pos x="T44" y="T45"/>
                      </a:cxn>
                      <a:cxn ang="T131">
                        <a:pos x="T46" y="T47"/>
                      </a:cxn>
                      <a:cxn ang="T132">
                        <a:pos x="T48" y="T49"/>
                      </a:cxn>
                      <a:cxn ang="T133">
                        <a:pos x="T50" y="T51"/>
                      </a:cxn>
                      <a:cxn ang="T134">
                        <a:pos x="T52" y="T53"/>
                      </a:cxn>
                      <a:cxn ang="T135">
                        <a:pos x="T54" y="T55"/>
                      </a:cxn>
                      <a:cxn ang="T136">
                        <a:pos x="T56" y="T57"/>
                      </a:cxn>
                      <a:cxn ang="T137">
                        <a:pos x="T58" y="T59"/>
                      </a:cxn>
                      <a:cxn ang="T138">
                        <a:pos x="T60" y="T61"/>
                      </a:cxn>
                      <a:cxn ang="T139">
                        <a:pos x="T62" y="T63"/>
                      </a:cxn>
                      <a:cxn ang="T140">
                        <a:pos x="T64" y="T65"/>
                      </a:cxn>
                      <a:cxn ang="T141">
                        <a:pos x="T66" y="T67"/>
                      </a:cxn>
                      <a:cxn ang="T142">
                        <a:pos x="T68" y="T69"/>
                      </a:cxn>
                      <a:cxn ang="T143">
                        <a:pos x="T70" y="T71"/>
                      </a:cxn>
                      <a:cxn ang="T144">
                        <a:pos x="T72" y="T73"/>
                      </a:cxn>
                      <a:cxn ang="T145">
                        <a:pos x="T74" y="T75"/>
                      </a:cxn>
                      <a:cxn ang="T146">
                        <a:pos x="T76" y="T77"/>
                      </a:cxn>
                      <a:cxn ang="T147">
                        <a:pos x="T78" y="T79"/>
                      </a:cxn>
                      <a:cxn ang="T148">
                        <a:pos x="T80" y="T81"/>
                      </a:cxn>
                      <a:cxn ang="T149">
                        <a:pos x="T82" y="T83"/>
                      </a:cxn>
                      <a:cxn ang="T150">
                        <a:pos x="T84" y="T85"/>
                      </a:cxn>
                      <a:cxn ang="T151">
                        <a:pos x="T86" y="T87"/>
                      </a:cxn>
                      <a:cxn ang="T152">
                        <a:pos x="T88" y="T89"/>
                      </a:cxn>
                      <a:cxn ang="T153">
                        <a:pos x="T90" y="T91"/>
                      </a:cxn>
                      <a:cxn ang="T154">
                        <a:pos x="T92" y="T93"/>
                      </a:cxn>
                      <a:cxn ang="T155">
                        <a:pos x="T94" y="T95"/>
                      </a:cxn>
                      <a:cxn ang="T156">
                        <a:pos x="T96" y="T97"/>
                      </a:cxn>
                      <a:cxn ang="T157">
                        <a:pos x="T98" y="T99"/>
                      </a:cxn>
                      <a:cxn ang="T158">
                        <a:pos x="T100" y="T101"/>
                      </a:cxn>
                      <a:cxn ang="T159">
                        <a:pos x="T102" y="T103"/>
                      </a:cxn>
                      <a:cxn ang="T160">
                        <a:pos x="T104" y="T105"/>
                      </a:cxn>
                      <a:cxn ang="T161">
                        <a:pos x="T106" y="T107"/>
                      </a:cxn>
                    </a:cxnLst>
                    <a:rect l="T162" t="T163" r="T164" b="T165"/>
                    <a:pathLst>
                      <a:path w="218" h="462">
                        <a:moveTo>
                          <a:pt x="111" y="462"/>
                        </a:moveTo>
                        <a:lnTo>
                          <a:pt x="123" y="461"/>
                        </a:lnTo>
                        <a:lnTo>
                          <a:pt x="135" y="452"/>
                        </a:lnTo>
                        <a:lnTo>
                          <a:pt x="145" y="444"/>
                        </a:lnTo>
                        <a:lnTo>
                          <a:pt x="151" y="434"/>
                        </a:lnTo>
                        <a:lnTo>
                          <a:pt x="151" y="424"/>
                        </a:lnTo>
                        <a:lnTo>
                          <a:pt x="145" y="396"/>
                        </a:lnTo>
                        <a:lnTo>
                          <a:pt x="147" y="387"/>
                        </a:lnTo>
                        <a:lnTo>
                          <a:pt x="151" y="379"/>
                        </a:lnTo>
                        <a:lnTo>
                          <a:pt x="164" y="373"/>
                        </a:lnTo>
                        <a:lnTo>
                          <a:pt x="174" y="365"/>
                        </a:lnTo>
                        <a:lnTo>
                          <a:pt x="178" y="355"/>
                        </a:lnTo>
                        <a:lnTo>
                          <a:pt x="207" y="336"/>
                        </a:lnTo>
                        <a:lnTo>
                          <a:pt x="213" y="331"/>
                        </a:lnTo>
                        <a:lnTo>
                          <a:pt x="218" y="320"/>
                        </a:lnTo>
                        <a:lnTo>
                          <a:pt x="217" y="284"/>
                        </a:lnTo>
                        <a:lnTo>
                          <a:pt x="218" y="281"/>
                        </a:lnTo>
                        <a:lnTo>
                          <a:pt x="212" y="277"/>
                        </a:lnTo>
                        <a:lnTo>
                          <a:pt x="208" y="278"/>
                        </a:lnTo>
                        <a:lnTo>
                          <a:pt x="202" y="278"/>
                        </a:lnTo>
                        <a:lnTo>
                          <a:pt x="198" y="273"/>
                        </a:lnTo>
                        <a:lnTo>
                          <a:pt x="198" y="269"/>
                        </a:lnTo>
                        <a:lnTo>
                          <a:pt x="191" y="251"/>
                        </a:lnTo>
                        <a:lnTo>
                          <a:pt x="186" y="251"/>
                        </a:lnTo>
                        <a:lnTo>
                          <a:pt x="177" y="257"/>
                        </a:lnTo>
                        <a:lnTo>
                          <a:pt x="172" y="252"/>
                        </a:lnTo>
                        <a:lnTo>
                          <a:pt x="170" y="246"/>
                        </a:lnTo>
                        <a:lnTo>
                          <a:pt x="164" y="249"/>
                        </a:lnTo>
                        <a:lnTo>
                          <a:pt x="159" y="249"/>
                        </a:lnTo>
                        <a:lnTo>
                          <a:pt x="153" y="246"/>
                        </a:lnTo>
                        <a:lnTo>
                          <a:pt x="142" y="239"/>
                        </a:lnTo>
                        <a:lnTo>
                          <a:pt x="138" y="226"/>
                        </a:lnTo>
                        <a:lnTo>
                          <a:pt x="138" y="215"/>
                        </a:lnTo>
                        <a:lnTo>
                          <a:pt x="150" y="219"/>
                        </a:lnTo>
                        <a:lnTo>
                          <a:pt x="150" y="210"/>
                        </a:lnTo>
                        <a:lnTo>
                          <a:pt x="153" y="203"/>
                        </a:lnTo>
                        <a:lnTo>
                          <a:pt x="160" y="201"/>
                        </a:lnTo>
                        <a:lnTo>
                          <a:pt x="166" y="195"/>
                        </a:lnTo>
                        <a:lnTo>
                          <a:pt x="172" y="192"/>
                        </a:lnTo>
                        <a:lnTo>
                          <a:pt x="185" y="181"/>
                        </a:lnTo>
                        <a:lnTo>
                          <a:pt x="192" y="174"/>
                        </a:lnTo>
                        <a:lnTo>
                          <a:pt x="198" y="163"/>
                        </a:lnTo>
                        <a:lnTo>
                          <a:pt x="207" y="140"/>
                        </a:lnTo>
                        <a:lnTo>
                          <a:pt x="204" y="132"/>
                        </a:lnTo>
                        <a:lnTo>
                          <a:pt x="202" y="116"/>
                        </a:lnTo>
                        <a:lnTo>
                          <a:pt x="194" y="111"/>
                        </a:lnTo>
                        <a:lnTo>
                          <a:pt x="191" y="104"/>
                        </a:lnTo>
                        <a:lnTo>
                          <a:pt x="181" y="101"/>
                        </a:lnTo>
                        <a:lnTo>
                          <a:pt x="176" y="95"/>
                        </a:lnTo>
                        <a:lnTo>
                          <a:pt x="172" y="79"/>
                        </a:lnTo>
                        <a:lnTo>
                          <a:pt x="175" y="66"/>
                        </a:lnTo>
                        <a:lnTo>
                          <a:pt x="183" y="59"/>
                        </a:lnTo>
                        <a:lnTo>
                          <a:pt x="194" y="55"/>
                        </a:lnTo>
                        <a:lnTo>
                          <a:pt x="207" y="31"/>
                        </a:lnTo>
                        <a:lnTo>
                          <a:pt x="201" y="19"/>
                        </a:lnTo>
                        <a:lnTo>
                          <a:pt x="194" y="19"/>
                        </a:lnTo>
                        <a:lnTo>
                          <a:pt x="188" y="27"/>
                        </a:lnTo>
                        <a:lnTo>
                          <a:pt x="182" y="32"/>
                        </a:lnTo>
                        <a:lnTo>
                          <a:pt x="175" y="35"/>
                        </a:lnTo>
                        <a:lnTo>
                          <a:pt x="171" y="39"/>
                        </a:lnTo>
                        <a:lnTo>
                          <a:pt x="160" y="35"/>
                        </a:lnTo>
                        <a:lnTo>
                          <a:pt x="161" y="24"/>
                        </a:lnTo>
                        <a:lnTo>
                          <a:pt x="156" y="15"/>
                        </a:lnTo>
                        <a:lnTo>
                          <a:pt x="155" y="9"/>
                        </a:lnTo>
                        <a:lnTo>
                          <a:pt x="156" y="7"/>
                        </a:lnTo>
                        <a:lnTo>
                          <a:pt x="138" y="0"/>
                        </a:lnTo>
                        <a:lnTo>
                          <a:pt x="128" y="0"/>
                        </a:lnTo>
                        <a:lnTo>
                          <a:pt x="115" y="2"/>
                        </a:lnTo>
                        <a:lnTo>
                          <a:pt x="104" y="7"/>
                        </a:lnTo>
                        <a:lnTo>
                          <a:pt x="91" y="13"/>
                        </a:lnTo>
                        <a:lnTo>
                          <a:pt x="83" y="19"/>
                        </a:lnTo>
                        <a:lnTo>
                          <a:pt x="79" y="24"/>
                        </a:lnTo>
                        <a:lnTo>
                          <a:pt x="75" y="25"/>
                        </a:lnTo>
                        <a:lnTo>
                          <a:pt x="73" y="31"/>
                        </a:lnTo>
                        <a:lnTo>
                          <a:pt x="68" y="35"/>
                        </a:lnTo>
                        <a:lnTo>
                          <a:pt x="62" y="41"/>
                        </a:lnTo>
                        <a:lnTo>
                          <a:pt x="53" y="50"/>
                        </a:lnTo>
                        <a:lnTo>
                          <a:pt x="51" y="55"/>
                        </a:lnTo>
                        <a:lnTo>
                          <a:pt x="57" y="57"/>
                        </a:lnTo>
                        <a:lnTo>
                          <a:pt x="58" y="61"/>
                        </a:lnTo>
                        <a:lnTo>
                          <a:pt x="53" y="93"/>
                        </a:lnTo>
                        <a:lnTo>
                          <a:pt x="52" y="101"/>
                        </a:lnTo>
                        <a:lnTo>
                          <a:pt x="54" y="111"/>
                        </a:lnTo>
                        <a:lnTo>
                          <a:pt x="56" y="134"/>
                        </a:lnTo>
                        <a:lnTo>
                          <a:pt x="59" y="140"/>
                        </a:lnTo>
                        <a:lnTo>
                          <a:pt x="59" y="147"/>
                        </a:lnTo>
                        <a:lnTo>
                          <a:pt x="53" y="171"/>
                        </a:lnTo>
                        <a:lnTo>
                          <a:pt x="49" y="185"/>
                        </a:lnTo>
                        <a:lnTo>
                          <a:pt x="30" y="197"/>
                        </a:lnTo>
                        <a:lnTo>
                          <a:pt x="27" y="208"/>
                        </a:lnTo>
                        <a:lnTo>
                          <a:pt x="19" y="212"/>
                        </a:lnTo>
                        <a:lnTo>
                          <a:pt x="14" y="217"/>
                        </a:lnTo>
                        <a:lnTo>
                          <a:pt x="13" y="220"/>
                        </a:lnTo>
                        <a:lnTo>
                          <a:pt x="3" y="226"/>
                        </a:lnTo>
                        <a:lnTo>
                          <a:pt x="0" y="226"/>
                        </a:lnTo>
                        <a:lnTo>
                          <a:pt x="3" y="234"/>
                        </a:lnTo>
                        <a:lnTo>
                          <a:pt x="8" y="246"/>
                        </a:lnTo>
                        <a:lnTo>
                          <a:pt x="14" y="272"/>
                        </a:lnTo>
                        <a:lnTo>
                          <a:pt x="32" y="279"/>
                        </a:lnTo>
                        <a:lnTo>
                          <a:pt x="37" y="285"/>
                        </a:lnTo>
                        <a:lnTo>
                          <a:pt x="46" y="305"/>
                        </a:lnTo>
                        <a:lnTo>
                          <a:pt x="46" y="323"/>
                        </a:lnTo>
                        <a:lnTo>
                          <a:pt x="64" y="336"/>
                        </a:lnTo>
                        <a:lnTo>
                          <a:pt x="89" y="348"/>
                        </a:lnTo>
                        <a:lnTo>
                          <a:pt x="91" y="348"/>
                        </a:lnTo>
                        <a:lnTo>
                          <a:pt x="91" y="349"/>
                        </a:lnTo>
                        <a:lnTo>
                          <a:pt x="105" y="422"/>
                        </a:lnTo>
                        <a:lnTo>
                          <a:pt x="110" y="459"/>
                        </a:lnTo>
                        <a:lnTo>
                          <a:pt x="111" y="462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65" name="Freeform 15"/>
                  <p:cNvSpPr>
                    <a:spLocks/>
                  </p:cNvSpPr>
                  <p:nvPr/>
                </p:nvSpPr>
                <p:spPr bwMode="gray">
                  <a:xfrm>
                    <a:off x="2785" y="2123"/>
                    <a:ext cx="123" cy="121"/>
                  </a:xfrm>
                  <a:custGeom>
                    <a:avLst/>
                    <a:gdLst>
                      <a:gd name="T0" fmla="*/ 1 w 612"/>
                      <a:gd name="T1" fmla="*/ 18 h 605"/>
                      <a:gd name="T2" fmla="*/ 1 w 612"/>
                      <a:gd name="T3" fmla="*/ 11 h 605"/>
                      <a:gd name="T4" fmla="*/ 0 w 612"/>
                      <a:gd name="T5" fmla="*/ 6 h 605"/>
                      <a:gd name="T6" fmla="*/ 0 w 612"/>
                      <a:gd name="T7" fmla="*/ 5 h 605"/>
                      <a:gd name="T8" fmla="*/ 0 w 612"/>
                      <a:gd name="T9" fmla="*/ 4 h 605"/>
                      <a:gd name="T10" fmla="*/ 1 w 612"/>
                      <a:gd name="T11" fmla="*/ 3 h 605"/>
                      <a:gd name="T12" fmla="*/ 0 w 612"/>
                      <a:gd name="T13" fmla="*/ 1 h 605"/>
                      <a:gd name="T14" fmla="*/ 1 w 612"/>
                      <a:gd name="T15" fmla="*/ 0 h 605"/>
                      <a:gd name="T16" fmla="*/ 1 w 612"/>
                      <a:gd name="T17" fmla="*/ 0 h 605"/>
                      <a:gd name="T18" fmla="*/ 4 w 612"/>
                      <a:gd name="T19" fmla="*/ 0 h 605"/>
                      <a:gd name="T20" fmla="*/ 6 w 612"/>
                      <a:gd name="T21" fmla="*/ 1 h 605"/>
                      <a:gd name="T22" fmla="*/ 7 w 612"/>
                      <a:gd name="T23" fmla="*/ 2 h 605"/>
                      <a:gd name="T24" fmla="*/ 9 w 612"/>
                      <a:gd name="T25" fmla="*/ 2 h 605"/>
                      <a:gd name="T26" fmla="*/ 11 w 612"/>
                      <a:gd name="T27" fmla="*/ 2 h 605"/>
                      <a:gd name="T28" fmla="*/ 13 w 612"/>
                      <a:gd name="T29" fmla="*/ 1 h 605"/>
                      <a:gd name="T30" fmla="*/ 14 w 612"/>
                      <a:gd name="T31" fmla="*/ 0 h 605"/>
                      <a:gd name="T32" fmla="*/ 13 w 612"/>
                      <a:gd name="T33" fmla="*/ 1 h 605"/>
                      <a:gd name="T34" fmla="*/ 14 w 612"/>
                      <a:gd name="T35" fmla="*/ 1 h 605"/>
                      <a:gd name="T36" fmla="*/ 15 w 612"/>
                      <a:gd name="T37" fmla="*/ 0 h 605"/>
                      <a:gd name="T38" fmla="*/ 16 w 612"/>
                      <a:gd name="T39" fmla="*/ 0 h 605"/>
                      <a:gd name="T40" fmla="*/ 16 w 612"/>
                      <a:gd name="T41" fmla="*/ 1 h 605"/>
                      <a:gd name="T42" fmla="*/ 17 w 612"/>
                      <a:gd name="T43" fmla="*/ 1 h 605"/>
                      <a:gd name="T44" fmla="*/ 18 w 612"/>
                      <a:gd name="T45" fmla="*/ 2 h 605"/>
                      <a:gd name="T46" fmla="*/ 19 w 612"/>
                      <a:gd name="T47" fmla="*/ 1 h 605"/>
                      <a:gd name="T48" fmla="*/ 21 w 612"/>
                      <a:gd name="T49" fmla="*/ 1 h 605"/>
                      <a:gd name="T50" fmla="*/ 21 w 612"/>
                      <a:gd name="T51" fmla="*/ 1 h 605"/>
                      <a:gd name="T52" fmla="*/ 23 w 612"/>
                      <a:gd name="T53" fmla="*/ 6 h 605"/>
                      <a:gd name="T54" fmla="*/ 22 w 612"/>
                      <a:gd name="T55" fmla="*/ 8 h 605"/>
                      <a:gd name="T56" fmla="*/ 22 w 612"/>
                      <a:gd name="T57" fmla="*/ 9 h 605"/>
                      <a:gd name="T58" fmla="*/ 21 w 612"/>
                      <a:gd name="T59" fmla="*/ 10 h 605"/>
                      <a:gd name="T60" fmla="*/ 20 w 612"/>
                      <a:gd name="T61" fmla="*/ 8 h 605"/>
                      <a:gd name="T62" fmla="*/ 19 w 612"/>
                      <a:gd name="T63" fmla="*/ 7 h 605"/>
                      <a:gd name="T64" fmla="*/ 18 w 612"/>
                      <a:gd name="T65" fmla="*/ 6 h 605"/>
                      <a:gd name="T66" fmla="*/ 18 w 612"/>
                      <a:gd name="T67" fmla="*/ 4 h 605"/>
                      <a:gd name="T68" fmla="*/ 18 w 612"/>
                      <a:gd name="T69" fmla="*/ 4 h 605"/>
                      <a:gd name="T70" fmla="*/ 17 w 612"/>
                      <a:gd name="T71" fmla="*/ 5 h 605"/>
                      <a:gd name="T72" fmla="*/ 18 w 612"/>
                      <a:gd name="T73" fmla="*/ 6 h 605"/>
                      <a:gd name="T74" fmla="*/ 18 w 612"/>
                      <a:gd name="T75" fmla="*/ 7 h 605"/>
                      <a:gd name="T76" fmla="*/ 19 w 612"/>
                      <a:gd name="T77" fmla="*/ 9 h 605"/>
                      <a:gd name="T78" fmla="*/ 20 w 612"/>
                      <a:gd name="T79" fmla="*/ 10 h 605"/>
                      <a:gd name="T80" fmla="*/ 21 w 612"/>
                      <a:gd name="T81" fmla="*/ 12 h 605"/>
                      <a:gd name="T82" fmla="*/ 22 w 612"/>
                      <a:gd name="T83" fmla="*/ 14 h 605"/>
                      <a:gd name="T84" fmla="*/ 23 w 612"/>
                      <a:gd name="T85" fmla="*/ 16 h 605"/>
                      <a:gd name="T86" fmla="*/ 23 w 612"/>
                      <a:gd name="T87" fmla="*/ 18 h 605"/>
                      <a:gd name="T88" fmla="*/ 25 w 612"/>
                      <a:gd name="T89" fmla="*/ 19 h 605"/>
                      <a:gd name="T90" fmla="*/ 24 w 612"/>
                      <a:gd name="T91" fmla="*/ 19 h 605"/>
                      <a:gd name="T92" fmla="*/ 24 w 612"/>
                      <a:gd name="T93" fmla="*/ 20 h 605"/>
                      <a:gd name="T94" fmla="*/ 24 w 612"/>
                      <a:gd name="T95" fmla="*/ 22 h 605"/>
                      <a:gd name="T96" fmla="*/ 21 w 612"/>
                      <a:gd name="T97" fmla="*/ 23 h 605"/>
                      <a:gd name="T98" fmla="*/ 19 w 612"/>
                      <a:gd name="T99" fmla="*/ 24 h 605"/>
                      <a:gd name="T100" fmla="*/ 15 w 612"/>
                      <a:gd name="T101" fmla="*/ 23 h 605"/>
                      <a:gd name="T102" fmla="*/ 15 w 612"/>
                      <a:gd name="T103" fmla="*/ 24 h 605"/>
                      <a:gd name="T104" fmla="*/ 9 w 612"/>
                      <a:gd name="T105" fmla="*/ 24 h 605"/>
                      <a:gd name="T106" fmla="*/ 3 w 612"/>
                      <a:gd name="T107" fmla="*/ 24 h 605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w 612"/>
                      <a:gd name="T163" fmla="*/ 0 h 605"/>
                      <a:gd name="T164" fmla="*/ 612 w 612"/>
                      <a:gd name="T165" fmla="*/ 605 h 605"/>
                    </a:gdLst>
                    <a:ahLst/>
                    <a:cxnLst>
                      <a:cxn ang="T108">
                        <a:pos x="T0" y="T1"/>
                      </a:cxn>
                      <a:cxn ang="T109">
                        <a:pos x="T2" y="T3"/>
                      </a:cxn>
                      <a:cxn ang="T110">
                        <a:pos x="T4" y="T5"/>
                      </a:cxn>
                      <a:cxn ang="T111">
                        <a:pos x="T6" y="T7"/>
                      </a:cxn>
                      <a:cxn ang="T112">
                        <a:pos x="T8" y="T9"/>
                      </a:cxn>
                      <a:cxn ang="T113">
                        <a:pos x="T10" y="T11"/>
                      </a:cxn>
                      <a:cxn ang="T114">
                        <a:pos x="T12" y="T13"/>
                      </a:cxn>
                      <a:cxn ang="T115">
                        <a:pos x="T14" y="T15"/>
                      </a:cxn>
                      <a:cxn ang="T116">
                        <a:pos x="T16" y="T17"/>
                      </a:cxn>
                      <a:cxn ang="T117">
                        <a:pos x="T18" y="T19"/>
                      </a:cxn>
                      <a:cxn ang="T118">
                        <a:pos x="T20" y="T21"/>
                      </a:cxn>
                      <a:cxn ang="T119">
                        <a:pos x="T22" y="T23"/>
                      </a:cxn>
                      <a:cxn ang="T120">
                        <a:pos x="T24" y="T25"/>
                      </a:cxn>
                      <a:cxn ang="T121">
                        <a:pos x="T26" y="T27"/>
                      </a:cxn>
                      <a:cxn ang="T122">
                        <a:pos x="T28" y="T29"/>
                      </a:cxn>
                      <a:cxn ang="T123">
                        <a:pos x="T30" y="T31"/>
                      </a:cxn>
                      <a:cxn ang="T124">
                        <a:pos x="T32" y="T33"/>
                      </a:cxn>
                      <a:cxn ang="T125">
                        <a:pos x="T34" y="T35"/>
                      </a:cxn>
                      <a:cxn ang="T126">
                        <a:pos x="T36" y="T37"/>
                      </a:cxn>
                      <a:cxn ang="T127">
                        <a:pos x="T38" y="T39"/>
                      </a:cxn>
                      <a:cxn ang="T128">
                        <a:pos x="T40" y="T41"/>
                      </a:cxn>
                      <a:cxn ang="T129">
                        <a:pos x="T42" y="T43"/>
                      </a:cxn>
                      <a:cxn ang="T130">
                        <a:pos x="T44" y="T45"/>
                      </a:cxn>
                      <a:cxn ang="T131">
                        <a:pos x="T46" y="T47"/>
                      </a:cxn>
                      <a:cxn ang="T132">
                        <a:pos x="T48" y="T49"/>
                      </a:cxn>
                      <a:cxn ang="T133">
                        <a:pos x="T50" y="T51"/>
                      </a:cxn>
                      <a:cxn ang="T134">
                        <a:pos x="T52" y="T53"/>
                      </a:cxn>
                      <a:cxn ang="T135">
                        <a:pos x="T54" y="T55"/>
                      </a:cxn>
                      <a:cxn ang="T136">
                        <a:pos x="T56" y="T57"/>
                      </a:cxn>
                      <a:cxn ang="T137">
                        <a:pos x="T58" y="T59"/>
                      </a:cxn>
                      <a:cxn ang="T138">
                        <a:pos x="T60" y="T61"/>
                      </a:cxn>
                      <a:cxn ang="T139">
                        <a:pos x="T62" y="T63"/>
                      </a:cxn>
                      <a:cxn ang="T140">
                        <a:pos x="T64" y="T65"/>
                      </a:cxn>
                      <a:cxn ang="T141">
                        <a:pos x="T66" y="T67"/>
                      </a:cxn>
                      <a:cxn ang="T142">
                        <a:pos x="T68" y="T69"/>
                      </a:cxn>
                      <a:cxn ang="T143">
                        <a:pos x="T70" y="T71"/>
                      </a:cxn>
                      <a:cxn ang="T144">
                        <a:pos x="T72" y="T73"/>
                      </a:cxn>
                      <a:cxn ang="T145">
                        <a:pos x="T74" y="T75"/>
                      </a:cxn>
                      <a:cxn ang="T146">
                        <a:pos x="T76" y="T77"/>
                      </a:cxn>
                      <a:cxn ang="T147">
                        <a:pos x="T78" y="T79"/>
                      </a:cxn>
                      <a:cxn ang="T148">
                        <a:pos x="T80" y="T81"/>
                      </a:cxn>
                      <a:cxn ang="T149">
                        <a:pos x="T82" y="T83"/>
                      </a:cxn>
                      <a:cxn ang="T150">
                        <a:pos x="T84" y="T85"/>
                      </a:cxn>
                      <a:cxn ang="T151">
                        <a:pos x="T86" y="T87"/>
                      </a:cxn>
                      <a:cxn ang="T152">
                        <a:pos x="T88" y="T89"/>
                      </a:cxn>
                      <a:cxn ang="T153">
                        <a:pos x="T90" y="T91"/>
                      </a:cxn>
                      <a:cxn ang="T154">
                        <a:pos x="T92" y="T93"/>
                      </a:cxn>
                      <a:cxn ang="T155">
                        <a:pos x="T94" y="T95"/>
                      </a:cxn>
                      <a:cxn ang="T156">
                        <a:pos x="T96" y="T97"/>
                      </a:cxn>
                      <a:cxn ang="T157">
                        <a:pos x="T98" y="T99"/>
                      </a:cxn>
                      <a:cxn ang="T158">
                        <a:pos x="T100" y="T101"/>
                      </a:cxn>
                      <a:cxn ang="T159">
                        <a:pos x="T102" y="T103"/>
                      </a:cxn>
                      <a:cxn ang="T160">
                        <a:pos x="T104" y="T105"/>
                      </a:cxn>
                      <a:cxn ang="T161">
                        <a:pos x="T106" y="T107"/>
                      </a:cxn>
                    </a:cxnLst>
                    <a:rect l="T162" t="T163" r="T164" b="T165"/>
                    <a:pathLst>
                      <a:path w="612" h="605">
                        <a:moveTo>
                          <a:pt x="24" y="552"/>
                        </a:moveTo>
                        <a:lnTo>
                          <a:pt x="24" y="496"/>
                        </a:lnTo>
                        <a:lnTo>
                          <a:pt x="24" y="438"/>
                        </a:lnTo>
                        <a:lnTo>
                          <a:pt x="24" y="382"/>
                        </a:lnTo>
                        <a:lnTo>
                          <a:pt x="24" y="324"/>
                        </a:lnTo>
                        <a:lnTo>
                          <a:pt x="24" y="265"/>
                        </a:lnTo>
                        <a:lnTo>
                          <a:pt x="24" y="207"/>
                        </a:lnTo>
                        <a:lnTo>
                          <a:pt x="24" y="164"/>
                        </a:lnTo>
                        <a:lnTo>
                          <a:pt x="7" y="146"/>
                        </a:lnTo>
                        <a:lnTo>
                          <a:pt x="10" y="133"/>
                        </a:lnTo>
                        <a:lnTo>
                          <a:pt x="8" y="130"/>
                        </a:lnTo>
                        <a:lnTo>
                          <a:pt x="1" y="120"/>
                        </a:lnTo>
                        <a:lnTo>
                          <a:pt x="0" y="99"/>
                        </a:lnTo>
                        <a:lnTo>
                          <a:pt x="0" y="95"/>
                        </a:lnTo>
                        <a:lnTo>
                          <a:pt x="3" y="90"/>
                        </a:lnTo>
                        <a:lnTo>
                          <a:pt x="13" y="86"/>
                        </a:lnTo>
                        <a:lnTo>
                          <a:pt x="13" y="83"/>
                        </a:lnTo>
                        <a:lnTo>
                          <a:pt x="15" y="74"/>
                        </a:lnTo>
                        <a:lnTo>
                          <a:pt x="12" y="57"/>
                        </a:lnTo>
                        <a:lnTo>
                          <a:pt x="11" y="30"/>
                        </a:lnTo>
                        <a:lnTo>
                          <a:pt x="7" y="22"/>
                        </a:lnTo>
                        <a:lnTo>
                          <a:pt x="7" y="19"/>
                        </a:lnTo>
                        <a:lnTo>
                          <a:pt x="15" y="11"/>
                        </a:lnTo>
                        <a:lnTo>
                          <a:pt x="18" y="2"/>
                        </a:lnTo>
                        <a:lnTo>
                          <a:pt x="26" y="0"/>
                        </a:lnTo>
                        <a:lnTo>
                          <a:pt x="28" y="6"/>
                        </a:lnTo>
                        <a:lnTo>
                          <a:pt x="35" y="8"/>
                        </a:lnTo>
                        <a:lnTo>
                          <a:pt x="54" y="3"/>
                        </a:lnTo>
                        <a:lnTo>
                          <a:pt x="67" y="3"/>
                        </a:lnTo>
                        <a:lnTo>
                          <a:pt x="91" y="7"/>
                        </a:lnTo>
                        <a:lnTo>
                          <a:pt x="123" y="12"/>
                        </a:lnTo>
                        <a:lnTo>
                          <a:pt x="142" y="19"/>
                        </a:lnTo>
                        <a:lnTo>
                          <a:pt x="153" y="27"/>
                        </a:lnTo>
                        <a:lnTo>
                          <a:pt x="169" y="29"/>
                        </a:lnTo>
                        <a:lnTo>
                          <a:pt x="177" y="31"/>
                        </a:lnTo>
                        <a:lnTo>
                          <a:pt x="185" y="38"/>
                        </a:lnTo>
                        <a:lnTo>
                          <a:pt x="201" y="38"/>
                        </a:lnTo>
                        <a:lnTo>
                          <a:pt x="214" y="39"/>
                        </a:lnTo>
                        <a:lnTo>
                          <a:pt x="228" y="45"/>
                        </a:lnTo>
                        <a:lnTo>
                          <a:pt x="239" y="52"/>
                        </a:lnTo>
                        <a:lnTo>
                          <a:pt x="255" y="47"/>
                        </a:lnTo>
                        <a:lnTo>
                          <a:pt x="269" y="40"/>
                        </a:lnTo>
                        <a:lnTo>
                          <a:pt x="285" y="28"/>
                        </a:lnTo>
                        <a:lnTo>
                          <a:pt x="301" y="20"/>
                        </a:lnTo>
                        <a:lnTo>
                          <a:pt x="311" y="13"/>
                        </a:lnTo>
                        <a:lnTo>
                          <a:pt x="324" y="12"/>
                        </a:lnTo>
                        <a:lnTo>
                          <a:pt x="334" y="8"/>
                        </a:lnTo>
                        <a:lnTo>
                          <a:pt x="336" y="8"/>
                        </a:lnTo>
                        <a:lnTo>
                          <a:pt x="336" y="11"/>
                        </a:lnTo>
                        <a:lnTo>
                          <a:pt x="324" y="16"/>
                        </a:lnTo>
                        <a:lnTo>
                          <a:pt x="322" y="20"/>
                        </a:lnTo>
                        <a:lnTo>
                          <a:pt x="324" y="20"/>
                        </a:lnTo>
                        <a:lnTo>
                          <a:pt x="344" y="17"/>
                        </a:lnTo>
                        <a:lnTo>
                          <a:pt x="349" y="13"/>
                        </a:lnTo>
                        <a:lnTo>
                          <a:pt x="354" y="7"/>
                        </a:lnTo>
                        <a:lnTo>
                          <a:pt x="361" y="11"/>
                        </a:lnTo>
                        <a:lnTo>
                          <a:pt x="365" y="11"/>
                        </a:lnTo>
                        <a:lnTo>
                          <a:pt x="388" y="11"/>
                        </a:lnTo>
                        <a:lnTo>
                          <a:pt x="390" y="11"/>
                        </a:lnTo>
                        <a:lnTo>
                          <a:pt x="400" y="6"/>
                        </a:lnTo>
                        <a:lnTo>
                          <a:pt x="401" y="8"/>
                        </a:lnTo>
                        <a:lnTo>
                          <a:pt x="405" y="14"/>
                        </a:lnTo>
                        <a:lnTo>
                          <a:pt x="408" y="16"/>
                        </a:lnTo>
                        <a:lnTo>
                          <a:pt x="411" y="20"/>
                        </a:lnTo>
                        <a:lnTo>
                          <a:pt x="416" y="24"/>
                        </a:lnTo>
                        <a:lnTo>
                          <a:pt x="426" y="28"/>
                        </a:lnTo>
                        <a:lnTo>
                          <a:pt x="431" y="35"/>
                        </a:lnTo>
                        <a:lnTo>
                          <a:pt x="435" y="40"/>
                        </a:lnTo>
                        <a:lnTo>
                          <a:pt x="447" y="40"/>
                        </a:lnTo>
                        <a:lnTo>
                          <a:pt x="456" y="39"/>
                        </a:lnTo>
                        <a:lnTo>
                          <a:pt x="459" y="35"/>
                        </a:lnTo>
                        <a:lnTo>
                          <a:pt x="463" y="34"/>
                        </a:lnTo>
                        <a:lnTo>
                          <a:pt x="468" y="40"/>
                        </a:lnTo>
                        <a:lnTo>
                          <a:pt x="491" y="38"/>
                        </a:lnTo>
                        <a:lnTo>
                          <a:pt x="510" y="29"/>
                        </a:lnTo>
                        <a:lnTo>
                          <a:pt x="521" y="20"/>
                        </a:lnTo>
                        <a:lnTo>
                          <a:pt x="523" y="30"/>
                        </a:lnTo>
                        <a:lnTo>
                          <a:pt x="523" y="35"/>
                        </a:lnTo>
                        <a:lnTo>
                          <a:pt x="527" y="41"/>
                        </a:lnTo>
                        <a:lnTo>
                          <a:pt x="545" y="99"/>
                        </a:lnTo>
                        <a:lnTo>
                          <a:pt x="561" y="144"/>
                        </a:lnTo>
                        <a:lnTo>
                          <a:pt x="554" y="164"/>
                        </a:lnTo>
                        <a:lnTo>
                          <a:pt x="549" y="187"/>
                        </a:lnTo>
                        <a:lnTo>
                          <a:pt x="539" y="211"/>
                        </a:lnTo>
                        <a:lnTo>
                          <a:pt x="539" y="221"/>
                        </a:lnTo>
                        <a:lnTo>
                          <a:pt x="539" y="228"/>
                        </a:lnTo>
                        <a:lnTo>
                          <a:pt x="538" y="234"/>
                        </a:lnTo>
                        <a:lnTo>
                          <a:pt x="534" y="238"/>
                        </a:lnTo>
                        <a:lnTo>
                          <a:pt x="527" y="242"/>
                        </a:lnTo>
                        <a:lnTo>
                          <a:pt x="518" y="242"/>
                        </a:lnTo>
                        <a:lnTo>
                          <a:pt x="510" y="235"/>
                        </a:lnTo>
                        <a:lnTo>
                          <a:pt x="499" y="219"/>
                        </a:lnTo>
                        <a:lnTo>
                          <a:pt x="486" y="207"/>
                        </a:lnTo>
                        <a:lnTo>
                          <a:pt x="476" y="192"/>
                        </a:lnTo>
                        <a:lnTo>
                          <a:pt x="474" y="189"/>
                        </a:lnTo>
                        <a:lnTo>
                          <a:pt x="473" y="175"/>
                        </a:lnTo>
                        <a:lnTo>
                          <a:pt x="469" y="165"/>
                        </a:lnTo>
                        <a:lnTo>
                          <a:pt x="458" y="154"/>
                        </a:lnTo>
                        <a:lnTo>
                          <a:pt x="454" y="144"/>
                        </a:lnTo>
                        <a:lnTo>
                          <a:pt x="447" y="135"/>
                        </a:lnTo>
                        <a:lnTo>
                          <a:pt x="442" y="115"/>
                        </a:lnTo>
                        <a:lnTo>
                          <a:pt x="440" y="109"/>
                        </a:lnTo>
                        <a:lnTo>
                          <a:pt x="438" y="105"/>
                        </a:lnTo>
                        <a:lnTo>
                          <a:pt x="436" y="104"/>
                        </a:lnTo>
                        <a:lnTo>
                          <a:pt x="432" y="108"/>
                        </a:lnTo>
                        <a:lnTo>
                          <a:pt x="433" y="113"/>
                        </a:lnTo>
                        <a:lnTo>
                          <a:pt x="429" y="119"/>
                        </a:lnTo>
                        <a:lnTo>
                          <a:pt x="427" y="131"/>
                        </a:lnTo>
                        <a:lnTo>
                          <a:pt x="429" y="135"/>
                        </a:lnTo>
                        <a:lnTo>
                          <a:pt x="437" y="143"/>
                        </a:lnTo>
                        <a:lnTo>
                          <a:pt x="440" y="148"/>
                        </a:lnTo>
                        <a:lnTo>
                          <a:pt x="442" y="154"/>
                        </a:lnTo>
                        <a:lnTo>
                          <a:pt x="441" y="167"/>
                        </a:lnTo>
                        <a:lnTo>
                          <a:pt x="443" y="174"/>
                        </a:lnTo>
                        <a:lnTo>
                          <a:pt x="458" y="203"/>
                        </a:lnTo>
                        <a:lnTo>
                          <a:pt x="475" y="223"/>
                        </a:lnTo>
                        <a:lnTo>
                          <a:pt x="483" y="230"/>
                        </a:lnTo>
                        <a:lnTo>
                          <a:pt x="487" y="232"/>
                        </a:lnTo>
                        <a:lnTo>
                          <a:pt x="490" y="256"/>
                        </a:lnTo>
                        <a:lnTo>
                          <a:pt x="495" y="265"/>
                        </a:lnTo>
                        <a:lnTo>
                          <a:pt x="506" y="278"/>
                        </a:lnTo>
                        <a:lnTo>
                          <a:pt x="512" y="304"/>
                        </a:lnTo>
                        <a:lnTo>
                          <a:pt x="515" y="314"/>
                        </a:lnTo>
                        <a:lnTo>
                          <a:pt x="517" y="323"/>
                        </a:lnTo>
                        <a:lnTo>
                          <a:pt x="530" y="346"/>
                        </a:lnTo>
                        <a:lnTo>
                          <a:pt x="535" y="362"/>
                        </a:lnTo>
                        <a:lnTo>
                          <a:pt x="545" y="374"/>
                        </a:lnTo>
                        <a:lnTo>
                          <a:pt x="558" y="401"/>
                        </a:lnTo>
                        <a:lnTo>
                          <a:pt x="562" y="412"/>
                        </a:lnTo>
                        <a:lnTo>
                          <a:pt x="567" y="418"/>
                        </a:lnTo>
                        <a:lnTo>
                          <a:pt x="578" y="444"/>
                        </a:lnTo>
                        <a:lnTo>
                          <a:pt x="588" y="455"/>
                        </a:lnTo>
                        <a:lnTo>
                          <a:pt x="604" y="469"/>
                        </a:lnTo>
                        <a:lnTo>
                          <a:pt x="608" y="471"/>
                        </a:lnTo>
                        <a:lnTo>
                          <a:pt x="612" y="476"/>
                        </a:lnTo>
                        <a:lnTo>
                          <a:pt x="612" y="479"/>
                        </a:lnTo>
                        <a:lnTo>
                          <a:pt x="598" y="476"/>
                        </a:lnTo>
                        <a:lnTo>
                          <a:pt x="596" y="476"/>
                        </a:lnTo>
                        <a:lnTo>
                          <a:pt x="594" y="479"/>
                        </a:lnTo>
                        <a:lnTo>
                          <a:pt x="598" y="488"/>
                        </a:lnTo>
                        <a:lnTo>
                          <a:pt x="599" y="513"/>
                        </a:lnTo>
                        <a:lnTo>
                          <a:pt x="603" y="525"/>
                        </a:lnTo>
                        <a:lnTo>
                          <a:pt x="581" y="545"/>
                        </a:lnTo>
                        <a:lnTo>
                          <a:pt x="567" y="540"/>
                        </a:lnTo>
                        <a:lnTo>
                          <a:pt x="555" y="571"/>
                        </a:lnTo>
                        <a:lnTo>
                          <a:pt x="526" y="578"/>
                        </a:lnTo>
                        <a:lnTo>
                          <a:pt x="518" y="603"/>
                        </a:lnTo>
                        <a:lnTo>
                          <a:pt x="491" y="605"/>
                        </a:lnTo>
                        <a:lnTo>
                          <a:pt x="473" y="592"/>
                        </a:lnTo>
                        <a:lnTo>
                          <a:pt x="376" y="590"/>
                        </a:lnTo>
                        <a:lnTo>
                          <a:pt x="381" y="579"/>
                        </a:lnTo>
                        <a:lnTo>
                          <a:pt x="378" y="579"/>
                        </a:lnTo>
                        <a:lnTo>
                          <a:pt x="376" y="578"/>
                        </a:lnTo>
                        <a:lnTo>
                          <a:pt x="373" y="578"/>
                        </a:lnTo>
                        <a:lnTo>
                          <a:pt x="366" y="590"/>
                        </a:lnTo>
                        <a:lnTo>
                          <a:pt x="338" y="590"/>
                        </a:lnTo>
                        <a:lnTo>
                          <a:pt x="285" y="590"/>
                        </a:lnTo>
                        <a:lnTo>
                          <a:pt x="233" y="590"/>
                        </a:lnTo>
                        <a:lnTo>
                          <a:pt x="180" y="590"/>
                        </a:lnTo>
                        <a:lnTo>
                          <a:pt x="129" y="590"/>
                        </a:lnTo>
                        <a:lnTo>
                          <a:pt x="77" y="590"/>
                        </a:lnTo>
                        <a:lnTo>
                          <a:pt x="24" y="590"/>
                        </a:lnTo>
                        <a:lnTo>
                          <a:pt x="24" y="552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66" name="Freeform 16"/>
                  <p:cNvSpPr>
                    <a:spLocks/>
                  </p:cNvSpPr>
                  <p:nvPr/>
                </p:nvSpPr>
                <p:spPr bwMode="gray">
                  <a:xfrm>
                    <a:off x="2422" y="2050"/>
                    <a:ext cx="222" cy="226"/>
                  </a:xfrm>
                  <a:custGeom>
                    <a:avLst/>
                    <a:gdLst>
                      <a:gd name="T0" fmla="*/ 0 w 1112"/>
                      <a:gd name="T1" fmla="*/ 24 h 1129"/>
                      <a:gd name="T2" fmla="*/ 3 w 1112"/>
                      <a:gd name="T3" fmla="*/ 20 h 1129"/>
                      <a:gd name="T4" fmla="*/ 4 w 1112"/>
                      <a:gd name="T5" fmla="*/ 19 h 1129"/>
                      <a:gd name="T6" fmla="*/ 5 w 1112"/>
                      <a:gd name="T7" fmla="*/ 19 h 1129"/>
                      <a:gd name="T8" fmla="*/ 7 w 1112"/>
                      <a:gd name="T9" fmla="*/ 19 h 1129"/>
                      <a:gd name="T10" fmla="*/ 8 w 1112"/>
                      <a:gd name="T11" fmla="*/ 17 h 1129"/>
                      <a:gd name="T12" fmla="*/ 11 w 1112"/>
                      <a:gd name="T13" fmla="*/ 16 h 1129"/>
                      <a:gd name="T14" fmla="*/ 11 w 1112"/>
                      <a:gd name="T15" fmla="*/ 16 h 1129"/>
                      <a:gd name="T16" fmla="*/ 11 w 1112"/>
                      <a:gd name="T17" fmla="*/ 15 h 1129"/>
                      <a:gd name="T18" fmla="*/ 11 w 1112"/>
                      <a:gd name="T19" fmla="*/ 14 h 1129"/>
                      <a:gd name="T20" fmla="*/ 12 w 1112"/>
                      <a:gd name="T21" fmla="*/ 14 h 1129"/>
                      <a:gd name="T22" fmla="*/ 13 w 1112"/>
                      <a:gd name="T23" fmla="*/ 13 h 1129"/>
                      <a:gd name="T24" fmla="*/ 15 w 1112"/>
                      <a:gd name="T25" fmla="*/ 13 h 1129"/>
                      <a:gd name="T26" fmla="*/ 16 w 1112"/>
                      <a:gd name="T27" fmla="*/ 13 h 1129"/>
                      <a:gd name="T28" fmla="*/ 17 w 1112"/>
                      <a:gd name="T29" fmla="*/ 12 h 1129"/>
                      <a:gd name="T30" fmla="*/ 16 w 1112"/>
                      <a:gd name="T31" fmla="*/ 11 h 1129"/>
                      <a:gd name="T32" fmla="*/ 16 w 1112"/>
                      <a:gd name="T33" fmla="*/ 10 h 1129"/>
                      <a:gd name="T34" fmla="*/ 15 w 1112"/>
                      <a:gd name="T35" fmla="*/ 8 h 1129"/>
                      <a:gd name="T36" fmla="*/ 15 w 1112"/>
                      <a:gd name="T37" fmla="*/ 7 h 1129"/>
                      <a:gd name="T38" fmla="*/ 15 w 1112"/>
                      <a:gd name="T39" fmla="*/ 6 h 1129"/>
                      <a:gd name="T40" fmla="*/ 15 w 1112"/>
                      <a:gd name="T41" fmla="*/ 5 h 1129"/>
                      <a:gd name="T42" fmla="*/ 17 w 1112"/>
                      <a:gd name="T43" fmla="*/ 4 h 1129"/>
                      <a:gd name="T44" fmla="*/ 19 w 1112"/>
                      <a:gd name="T45" fmla="*/ 3 h 1129"/>
                      <a:gd name="T46" fmla="*/ 22 w 1112"/>
                      <a:gd name="T47" fmla="*/ 2 h 1129"/>
                      <a:gd name="T48" fmla="*/ 26 w 1112"/>
                      <a:gd name="T49" fmla="*/ 1 h 1129"/>
                      <a:gd name="T50" fmla="*/ 28 w 1112"/>
                      <a:gd name="T51" fmla="*/ 1 h 1129"/>
                      <a:gd name="T52" fmla="*/ 31 w 1112"/>
                      <a:gd name="T53" fmla="*/ 1 h 1129"/>
                      <a:gd name="T54" fmla="*/ 33 w 1112"/>
                      <a:gd name="T55" fmla="*/ 0 h 1129"/>
                      <a:gd name="T56" fmla="*/ 35 w 1112"/>
                      <a:gd name="T57" fmla="*/ 0 h 1129"/>
                      <a:gd name="T58" fmla="*/ 37 w 1112"/>
                      <a:gd name="T59" fmla="*/ 0 h 1129"/>
                      <a:gd name="T60" fmla="*/ 37 w 1112"/>
                      <a:gd name="T61" fmla="*/ 1 h 1129"/>
                      <a:gd name="T62" fmla="*/ 37 w 1112"/>
                      <a:gd name="T63" fmla="*/ 3 h 1129"/>
                      <a:gd name="T64" fmla="*/ 37 w 1112"/>
                      <a:gd name="T65" fmla="*/ 5 h 1129"/>
                      <a:gd name="T66" fmla="*/ 36 w 1112"/>
                      <a:gd name="T67" fmla="*/ 8 h 1129"/>
                      <a:gd name="T68" fmla="*/ 35 w 1112"/>
                      <a:gd name="T69" fmla="*/ 9 h 1129"/>
                      <a:gd name="T70" fmla="*/ 37 w 1112"/>
                      <a:gd name="T71" fmla="*/ 12 h 1129"/>
                      <a:gd name="T72" fmla="*/ 38 w 1112"/>
                      <a:gd name="T73" fmla="*/ 13 h 1129"/>
                      <a:gd name="T74" fmla="*/ 39 w 1112"/>
                      <a:gd name="T75" fmla="*/ 18 h 1129"/>
                      <a:gd name="T76" fmla="*/ 40 w 1112"/>
                      <a:gd name="T77" fmla="*/ 22 h 1129"/>
                      <a:gd name="T78" fmla="*/ 40 w 1112"/>
                      <a:gd name="T79" fmla="*/ 27 h 1129"/>
                      <a:gd name="T80" fmla="*/ 40 w 1112"/>
                      <a:gd name="T81" fmla="*/ 30 h 1129"/>
                      <a:gd name="T82" fmla="*/ 42 w 1112"/>
                      <a:gd name="T83" fmla="*/ 32 h 1129"/>
                      <a:gd name="T84" fmla="*/ 44 w 1112"/>
                      <a:gd name="T85" fmla="*/ 35 h 1129"/>
                      <a:gd name="T86" fmla="*/ 36 w 1112"/>
                      <a:gd name="T87" fmla="*/ 40 h 1129"/>
                      <a:gd name="T88" fmla="*/ 28 w 1112"/>
                      <a:gd name="T89" fmla="*/ 45 h 1129"/>
                      <a:gd name="T90" fmla="*/ 26 w 1112"/>
                      <a:gd name="T91" fmla="*/ 45 h 1129"/>
                      <a:gd name="T92" fmla="*/ 26 w 1112"/>
                      <a:gd name="T93" fmla="*/ 44 h 1129"/>
                      <a:gd name="T94" fmla="*/ 26 w 1112"/>
                      <a:gd name="T95" fmla="*/ 44 h 1129"/>
                      <a:gd name="T96" fmla="*/ 26 w 1112"/>
                      <a:gd name="T97" fmla="*/ 43 h 1129"/>
                      <a:gd name="T98" fmla="*/ 25 w 1112"/>
                      <a:gd name="T99" fmla="*/ 43 h 1129"/>
                      <a:gd name="T100" fmla="*/ 23 w 1112"/>
                      <a:gd name="T101" fmla="*/ 42 h 1129"/>
                      <a:gd name="T102" fmla="*/ 22 w 1112"/>
                      <a:gd name="T103" fmla="*/ 41 h 1129"/>
                      <a:gd name="T104" fmla="*/ 21 w 1112"/>
                      <a:gd name="T105" fmla="*/ 41 h 1129"/>
                      <a:gd name="T106" fmla="*/ 8 w 1112"/>
                      <a:gd name="T107" fmla="*/ 31 h 1129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w 1112"/>
                      <a:gd name="T163" fmla="*/ 0 h 1129"/>
                      <a:gd name="T164" fmla="*/ 1112 w 1112"/>
                      <a:gd name="T165" fmla="*/ 1129 h 1129"/>
                    </a:gdLst>
                    <a:ahLst/>
                    <a:cxnLst>
                      <a:cxn ang="T108">
                        <a:pos x="T0" y="T1"/>
                      </a:cxn>
                      <a:cxn ang="T109">
                        <a:pos x="T2" y="T3"/>
                      </a:cxn>
                      <a:cxn ang="T110">
                        <a:pos x="T4" y="T5"/>
                      </a:cxn>
                      <a:cxn ang="T111">
                        <a:pos x="T6" y="T7"/>
                      </a:cxn>
                      <a:cxn ang="T112">
                        <a:pos x="T8" y="T9"/>
                      </a:cxn>
                      <a:cxn ang="T113">
                        <a:pos x="T10" y="T11"/>
                      </a:cxn>
                      <a:cxn ang="T114">
                        <a:pos x="T12" y="T13"/>
                      </a:cxn>
                      <a:cxn ang="T115">
                        <a:pos x="T14" y="T15"/>
                      </a:cxn>
                      <a:cxn ang="T116">
                        <a:pos x="T16" y="T17"/>
                      </a:cxn>
                      <a:cxn ang="T117">
                        <a:pos x="T18" y="T19"/>
                      </a:cxn>
                      <a:cxn ang="T118">
                        <a:pos x="T20" y="T21"/>
                      </a:cxn>
                      <a:cxn ang="T119">
                        <a:pos x="T22" y="T23"/>
                      </a:cxn>
                      <a:cxn ang="T120">
                        <a:pos x="T24" y="T25"/>
                      </a:cxn>
                      <a:cxn ang="T121">
                        <a:pos x="T26" y="T27"/>
                      </a:cxn>
                      <a:cxn ang="T122">
                        <a:pos x="T28" y="T29"/>
                      </a:cxn>
                      <a:cxn ang="T123">
                        <a:pos x="T30" y="T31"/>
                      </a:cxn>
                      <a:cxn ang="T124">
                        <a:pos x="T32" y="T33"/>
                      </a:cxn>
                      <a:cxn ang="T125">
                        <a:pos x="T34" y="T35"/>
                      </a:cxn>
                      <a:cxn ang="T126">
                        <a:pos x="T36" y="T37"/>
                      </a:cxn>
                      <a:cxn ang="T127">
                        <a:pos x="T38" y="T39"/>
                      </a:cxn>
                      <a:cxn ang="T128">
                        <a:pos x="T40" y="T41"/>
                      </a:cxn>
                      <a:cxn ang="T129">
                        <a:pos x="T42" y="T43"/>
                      </a:cxn>
                      <a:cxn ang="T130">
                        <a:pos x="T44" y="T45"/>
                      </a:cxn>
                      <a:cxn ang="T131">
                        <a:pos x="T46" y="T47"/>
                      </a:cxn>
                      <a:cxn ang="T132">
                        <a:pos x="T48" y="T49"/>
                      </a:cxn>
                      <a:cxn ang="T133">
                        <a:pos x="T50" y="T51"/>
                      </a:cxn>
                      <a:cxn ang="T134">
                        <a:pos x="T52" y="T53"/>
                      </a:cxn>
                      <a:cxn ang="T135">
                        <a:pos x="T54" y="T55"/>
                      </a:cxn>
                      <a:cxn ang="T136">
                        <a:pos x="T56" y="T57"/>
                      </a:cxn>
                      <a:cxn ang="T137">
                        <a:pos x="T58" y="T59"/>
                      </a:cxn>
                      <a:cxn ang="T138">
                        <a:pos x="T60" y="T61"/>
                      </a:cxn>
                      <a:cxn ang="T139">
                        <a:pos x="T62" y="T63"/>
                      </a:cxn>
                      <a:cxn ang="T140">
                        <a:pos x="T64" y="T65"/>
                      </a:cxn>
                      <a:cxn ang="T141">
                        <a:pos x="T66" y="T67"/>
                      </a:cxn>
                      <a:cxn ang="T142">
                        <a:pos x="T68" y="T69"/>
                      </a:cxn>
                      <a:cxn ang="T143">
                        <a:pos x="T70" y="T71"/>
                      </a:cxn>
                      <a:cxn ang="T144">
                        <a:pos x="T72" y="T73"/>
                      </a:cxn>
                      <a:cxn ang="T145">
                        <a:pos x="T74" y="T75"/>
                      </a:cxn>
                      <a:cxn ang="T146">
                        <a:pos x="T76" y="T77"/>
                      </a:cxn>
                      <a:cxn ang="T147">
                        <a:pos x="T78" y="T79"/>
                      </a:cxn>
                      <a:cxn ang="T148">
                        <a:pos x="T80" y="T81"/>
                      </a:cxn>
                      <a:cxn ang="T149">
                        <a:pos x="T82" y="T83"/>
                      </a:cxn>
                      <a:cxn ang="T150">
                        <a:pos x="T84" y="T85"/>
                      </a:cxn>
                      <a:cxn ang="T151">
                        <a:pos x="T86" y="T87"/>
                      </a:cxn>
                      <a:cxn ang="T152">
                        <a:pos x="T88" y="T89"/>
                      </a:cxn>
                      <a:cxn ang="T153">
                        <a:pos x="T90" y="T91"/>
                      </a:cxn>
                      <a:cxn ang="T154">
                        <a:pos x="T92" y="T93"/>
                      </a:cxn>
                      <a:cxn ang="T155">
                        <a:pos x="T94" y="T95"/>
                      </a:cxn>
                      <a:cxn ang="T156">
                        <a:pos x="T96" y="T97"/>
                      </a:cxn>
                      <a:cxn ang="T157">
                        <a:pos x="T98" y="T99"/>
                      </a:cxn>
                      <a:cxn ang="T158">
                        <a:pos x="T100" y="T101"/>
                      </a:cxn>
                      <a:cxn ang="T159">
                        <a:pos x="T102" y="T103"/>
                      </a:cxn>
                      <a:cxn ang="T160">
                        <a:pos x="T104" y="T105"/>
                      </a:cxn>
                      <a:cxn ang="T161">
                        <a:pos x="T106" y="T107"/>
                      </a:cxn>
                    </a:cxnLst>
                    <a:rect l="T162" t="T163" r="T164" b="T165"/>
                    <a:pathLst>
                      <a:path w="1112" h="1129">
                        <a:moveTo>
                          <a:pt x="203" y="773"/>
                        </a:moveTo>
                        <a:lnTo>
                          <a:pt x="126" y="722"/>
                        </a:lnTo>
                        <a:lnTo>
                          <a:pt x="67" y="684"/>
                        </a:lnTo>
                        <a:lnTo>
                          <a:pt x="0" y="640"/>
                        </a:lnTo>
                        <a:lnTo>
                          <a:pt x="0" y="608"/>
                        </a:lnTo>
                        <a:lnTo>
                          <a:pt x="0" y="539"/>
                        </a:lnTo>
                        <a:lnTo>
                          <a:pt x="26" y="519"/>
                        </a:lnTo>
                        <a:lnTo>
                          <a:pt x="47" y="505"/>
                        </a:lnTo>
                        <a:lnTo>
                          <a:pt x="59" y="505"/>
                        </a:lnTo>
                        <a:lnTo>
                          <a:pt x="66" y="499"/>
                        </a:lnTo>
                        <a:lnTo>
                          <a:pt x="72" y="495"/>
                        </a:lnTo>
                        <a:lnTo>
                          <a:pt x="79" y="489"/>
                        </a:lnTo>
                        <a:lnTo>
                          <a:pt x="83" y="485"/>
                        </a:lnTo>
                        <a:lnTo>
                          <a:pt x="90" y="487"/>
                        </a:lnTo>
                        <a:lnTo>
                          <a:pt x="97" y="485"/>
                        </a:lnTo>
                        <a:lnTo>
                          <a:pt x="102" y="488"/>
                        </a:lnTo>
                        <a:lnTo>
                          <a:pt x="110" y="488"/>
                        </a:lnTo>
                        <a:lnTo>
                          <a:pt x="113" y="487"/>
                        </a:lnTo>
                        <a:lnTo>
                          <a:pt x="113" y="478"/>
                        </a:lnTo>
                        <a:lnTo>
                          <a:pt x="114" y="474"/>
                        </a:lnTo>
                        <a:lnTo>
                          <a:pt x="131" y="476"/>
                        </a:lnTo>
                        <a:lnTo>
                          <a:pt x="136" y="473"/>
                        </a:lnTo>
                        <a:lnTo>
                          <a:pt x="145" y="473"/>
                        </a:lnTo>
                        <a:lnTo>
                          <a:pt x="161" y="471"/>
                        </a:lnTo>
                        <a:lnTo>
                          <a:pt x="178" y="463"/>
                        </a:lnTo>
                        <a:lnTo>
                          <a:pt x="184" y="458"/>
                        </a:lnTo>
                        <a:lnTo>
                          <a:pt x="190" y="453"/>
                        </a:lnTo>
                        <a:lnTo>
                          <a:pt x="193" y="447"/>
                        </a:lnTo>
                        <a:lnTo>
                          <a:pt x="193" y="445"/>
                        </a:lnTo>
                        <a:lnTo>
                          <a:pt x="196" y="437"/>
                        </a:lnTo>
                        <a:lnTo>
                          <a:pt x="206" y="430"/>
                        </a:lnTo>
                        <a:lnTo>
                          <a:pt x="221" y="424"/>
                        </a:lnTo>
                        <a:lnTo>
                          <a:pt x="227" y="424"/>
                        </a:lnTo>
                        <a:lnTo>
                          <a:pt x="253" y="407"/>
                        </a:lnTo>
                        <a:lnTo>
                          <a:pt x="274" y="403"/>
                        </a:lnTo>
                        <a:lnTo>
                          <a:pt x="276" y="399"/>
                        </a:lnTo>
                        <a:lnTo>
                          <a:pt x="275" y="396"/>
                        </a:lnTo>
                        <a:lnTo>
                          <a:pt x="270" y="392"/>
                        </a:lnTo>
                        <a:lnTo>
                          <a:pt x="269" y="390"/>
                        </a:lnTo>
                        <a:lnTo>
                          <a:pt x="267" y="390"/>
                        </a:lnTo>
                        <a:lnTo>
                          <a:pt x="264" y="391"/>
                        </a:lnTo>
                        <a:lnTo>
                          <a:pt x="263" y="391"/>
                        </a:lnTo>
                        <a:lnTo>
                          <a:pt x="264" y="380"/>
                        </a:lnTo>
                        <a:lnTo>
                          <a:pt x="269" y="375"/>
                        </a:lnTo>
                        <a:lnTo>
                          <a:pt x="268" y="372"/>
                        </a:lnTo>
                        <a:lnTo>
                          <a:pt x="263" y="372"/>
                        </a:lnTo>
                        <a:lnTo>
                          <a:pt x="262" y="370"/>
                        </a:lnTo>
                        <a:lnTo>
                          <a:pt x="262" y="364"/>
                        </a:lnTo>
                        <a:lnTo>
                          <a:pt x="263" y="359"/>
                        </a:lnTo>
                        <a:lnTo>
                          <a:pt x="268" y="355"/>
                        </a:lnTo>
                        <a:lnTo>
                          <a:pt x="273" y="355"/>
                        </a:lnTo>
                        <a:lnTo>
                          <a:pt x="280" y="356"/>
                        </a:lnTo>
                        <a:lnTo>
                          <a:pt x="287" y="355"/>
                        </a:lnTo>
                        <a:lnTo>
                          <a:pt x="295" y="354"/>
                        </a:lnTo>
                        <a:lnTo>
                          <a:pt x="308" y="348"/>
                        </a:lnTo>
                        <a:lnTo>
                          <a:pt x="311" y="345"/>
                        </a:lnTo>
                        <a:lnTo>
                          <a:pt x="312" y="339"/>
                        </a:lnTo>
                        <a:lnTo>
                          <a:pt x="311" y="334"/>
                        </a:lnTo>
                        <a:lnTo>
                          <a:pt x="313" y="329"/>
                        </a:lnTo>
                        <a:lnTo>
                          <a:pt x="316" y="328"/>
                        </a:lnTo>
                        <a:lnTo>
                          <a:pt x="323" y="331"/>
                        </a:lnTo>
                        <a:lnTo>
                          <a:pt x="327" y="329"/>
                        </a:lnTo>
                        <a:lnTo>
                          <a:pt x="330" y="327"/>
                        </a:lnTo>
                        <a:lnTo>
                          <a:pt x="340" y="324"/>
                        </a:lnTo>
                        <a:lnTo>
                          <a:pt x="371" y="324"/>
                        </a:lnTo>
                        <a:lnTo>
                          <a:pt x="376" y="323"/>
                        </a:lnTo>
                        <a:lnTo>
                          <a:pt x="387" y="324"/>
                        </a:lnTo>
                        <a:lnTo>
                          <a:pt x="399" y="324"/>
                        </a:lnTo>
                        <a:lnTo>
                          <a:pt x="407" y="328"/>
                        </a:lnTo>
                        <a:lnTo>
                          <a:pt x="409" y="327"/>
                        </a:lnTo>
                        <a:lnTo>
                          <a:pt x="409" y="324"/>
                        </a:lnTo>
                        <a:lnTo>
                          <a:pt x="407" y="320"/>
                        </a:lnTo>
                        <a:lnTo>
                          <a:pt x="408" y="313"/>
                        </a:lnTo>
                        <a:lnTo>
                          <a:pt x="411" y="306"/>
                        </a:lnTo>
                        <a:lnTo>
                          <a:pt x="416" y="304"/>
                        </a:lnTo>
                        <a:lnTo>
                          <a:pt x="416" y="302"/>
                        </a:lnTo>
                        <a:lnTo>
                          <a:pt x="409" y="297"/>
                        </a:lnTo>
                        <a:lnTo>
                          <a:pt x="400" y="289"/>
                        </a:lnTo>
                        <a:lnTo>
                          <a:pt x="393" y="274"/>
                        </a:lnTo>
                        <a:lnTo>
                          <a:pt x="393" y="268"/>
                        </a:lnTo>
                        <a:lnTo>
                          <a:pt x="391" y="261"/>
                        </a:lnTo>
                        <a:lnTo>
                          <a:pt x="388" y="253"/>
                        </a:lnTo>
                        <a:lnTo>
                          <a:pt x="389" y="248"/>
                        </a:lnTo>
                        <a:lnTo>
                          <a:pt x="391" y="242"/>
                        </a:lnTo>
                        <a:lnTo>
                          <a:pt x="391" y="238"/>
                        </a:lnTo>
                        <a:lnTo>
                          <a:pt x="391" y="234"/>
                        </a:lnTo>
                        <a:lnTo>
                          <a:pt x="383" y="226"/>
                        </a:lnTo>
                        <a:lnTo>
                          <a:pt x="386" y="223"/>
                        </a:lnTo>
                        <a:lnTo>
                          <a:pt x="386" y="213"/>
                        </a:lnTo>
                        <a:lnTo>
                          <a:pt x="387" y="204"/>
                        </a:lnTo>
                        <a:lnTo>
                          <a:pt x="384" y="193"/>
                        </a:lnTo>
                        <a:lnTo>
                          <a:pt x="382" y="186"/>
                        </a:lnTo>
                        <a:lnTo>
                          <a:pt x="386" y="178"/>
                        </a:lnTo>
                        <a:lnTo>
                          <a:pt x="380" y="170"/>
                        </a:lnTo>
                        <a:lnTo>
                          <a:pt x="381" y="167"/>
                        </a:lnTo>
                        <a:lnTo>
                          <a:pt x="382" y="167"/>
                        </a:lnTo>
                        <a:lnTo>
                          <a:pt x="383" y="165"/>
                        </a:lnTo>
                        <a:lnTo>
                          <a:pt x="381" y="161"/>
                        </a:lnTo>
                        <a:lnTo>
                          <a:pt x="377" y="160"/>
                        </a:lnTo>
                        <a:lnTo>
                          <a:pt x="373" y="155"/>
                        </a:lnTo>
                        <a:lnTo>
                          <a:pt x="372" y="153"/>
                        </a:lnTo>
                        <a:lnTo>
                          <a:pt x="366" y="148"/>
                        </a:lnTo>
                        <a:lnTo>
                          <a:pt x="364" y="143"/>
                        </a:lnTo>
                        <a:lnTo>
                          <a:pt x="364" y="138"/>
                        </a:lnTo>
                        <a:lnTo>
                          <a:pt x="371" y="137"/>
                        </a:lnTo>
                        <a:lnTo>
                          <a:pt x="384" y="132"/>
                        </a:lnTo>
                        <a:lnTo>
                          <a:pt x="399" y="123"/>
                        </a:lnTo>
                        <a:lnTo>
                          <a:pt x="418" y="100"/>
                        </a:lnTo>
                        <a:lnTo>
                          <a:pt x="429" y="92"/>
                        </a:lnTo>
                        <a:lnTo>
                          <a:pt x="438" y="91"/>
                        </a:lnTo>
                        <a:lnTo>
                          <a:pt x="445" y="92"/>
                        </a:lnTo>
                        <a:lnTo>
                          <a:pt x="456" y="82"/>
                        </a:lnTo>
                        <a:lnTo>
                          <a:pt x="467" y="87"/>
                        </a:lnTo>
                        <a:lnTo>
                          <a:pt x="478" y="82"/>
                        </a:lnTo>
                        <a:lnTo>
                          <a:pt x="484" y="73"/>
                        </a:lnTo>
                        <a:lnTo>
                          <a:pt x="491" y="65"/>
                        </a:lnTo>
                        <a:lnTo>
                          <a:pt x="497" y="62"/>
                        </a:lnTo>
                        <a:lnTo>
                          <a:pt x="505" y="59"/>
                        </a:lnTo>
                        <a:lnTo>
                          <a:pt x="516" y="51"/>
                        </a:lnTo>
                        <a:lnTo>
                          <a:pt x="543" y="41"/>
                        </a:lnTo>
                        <a:lnTo>
                          <a:pt x="555" y="37"/>
                        </a:lnTo>
                        <a:lnTo>
                          <a:pt x="608" y="33"/>
                        </a:lnTo>
                        <a:lnTo>
                          <a:pt x="620" y="33"/>
                        </a:lnTo>
                        <a:lnTo>
                          <a:pt x="630" y="28"/>
                        </a:lnTo>
                        <a:lnTo>
                          <a:pt x="640" y="20"/>
                        </a:lnTo>
                        <a:lnTo>
                          <a:pt x="646" y="22"/>
                        </a:lnTo>
                        <a:lnTo>
                          <a:pt x="658" y="21"/>
                        </a:lnTo>
                        <a:lnTo>
                          <a:pt x="663" y="24"/>
                        </a:lnTo>
                        <a:lnTo>
                          <a:pt x="673" y="21"/>
                        </a:lnTo>
                        <a:lnTo>
                          <a:pt x="689" y="14"/>
                        </a:lnTo>
                        <a:lnTo>
                          <a:pt x="705" y="14"/>
                        </a:lnTo>
                        <a:lnTo>
                          <a:pt x="720" y="12"/>
                        </a:lnTo>
                        <a:lnTo>
                          <a:pt x="744" y="15"/>
                        </a:lnTo>
                        <a:lnTo>
                          <a:pt x="753" y="24"/>
                        </a:lnTo>
                        <a:lnTo>
                          <a:pt x="764" y="27"/>
                        </a:lnTo>
                        <a:lnTo>
                          <a:pt x="775" y="25"/>
                        </a:lnTo>
                        <a:lnTo>
                          <a:pt x="784" y="20"/>
                        </a:lnTo>
                        <a:lnTo>
                          <a:pt x="801" y="16"/>
                        </a:lnTo>
                        <a:lnTo>
                          <a:pt x="812" y="12"/>
                        </a:lnTo>
                        <a:lnTo>
                          <a:pt x="819" y="0"/>
                        </a:lnTo>
                        <a:lnTo>
                          <a:pt x="832" y="4"/>
                        </a:lnTo>
                        <a:lnTo>
                          <a:pt x="840" y="10"/>
                        </a:lnTo>
                        <a:lnTo>
                          <a:pt x="846" y="10"/>
                        </a:lnTo>
                        <a:lnTo>
                          <a:pt x="855" y="14"/>
                        </a:lnTo>
                        <a:lnTo>
                          <a:pt x="866" y="9"/>
                        </a:lnTo>
                        <a:lnTo>
                          <a:pt x="872" y="1"/>
                        </a:lnTo>
                        <a:lnTo>
                          <a:pt x="892" y="9"/>
                        </a:lnTo>
                        <a:lnTo>
                          <a:pt x="900" y="15"/>
                        </a:lnTo>
                        <a:lnTo>
                          <a:pt x="913" y="14"/>
                        </a:lnTo>
                        <a:lnTo>
                          <a:pt x="921" y="10"/>
                        </a:lnTo>
                        <a:lnTo>
                          <a:pt x="935" y="12"/>
                        </a:lnTo>
                        <a:lnTo>
                          <a:pt x="948" y="10"/>
                        </a:lnTo>
                        <a:lnTo>
                          <a:pt x="946" y="16"/>
                        </a:lnTo>
                        <a:lnTo>
                          <a:pt x="941" y="20"/>
                        </a:lnTo>
                        <a:lnTo>
                          <a:pt x="935" y="26"/>
                        </a:lnTo>
                        <a:lnTo>
                          <a:pt x="926" y="35"/>
                        </a:lnTo>
                        <a:lnTo>
                          <a:pt x="924" y="40"/>
                        </a:lnTo>
                        <a:lnTo>
                          <a:pt x="930" y="42"/>
                        </a:lnTo>
                        <a:lnTo>
                          <a:pt x="931" y="46"/>
                        </a:lnTo>
                        <a:lnTo>
                          <a:pt x="926" y="78"/>
                        </a:lnTo>
                        <a:lnTo>
                          <a:pt x="925" y="86"/>
                        </a:lnTo>
                        <a:lnTo>
                          <a:pt x="927" y="96"/>
                        </a:lnTo>
                        <a:lnTo>
                          <a:pt x="929" y="119"/>
                        </a:lnTo>
                        <a:lnTo>
                          <a:pt x="932" y="125"/>
                        </a:lnTo>
                        <a:lnTo>
                          <a:pt x="932" y="132"/>
                        </a:lnTo>
                        <a:lnTo>
                          <a:pt x="926" y="156"/>
                        </a:lnTo>
                        <a:lnTo>
                          <a:pt x="922" y="170"/>
                        </a:lnTo>
                        <a:lnTo>
                          <a:pt x="903" y="182"/>
                        </a:lnTo>
                        <a:lnTo>
                          <a:pt x="900" y="193"/>
                        </a:lnTo>
                        <a:lnTo>
                          <a:pt x="892" y="197"/>
                        </a:lnTo>
                        <a:lnTo>
                          <a:pt x="887" y="202"/>
                        </a:lnTo>
                        <a:lnTo>
                          <a:pt x="886" y="205"/>
                        </a:lnTo>
                        <a:lnTo>
                          <a:pt x="876" y="211"/>
                        </a:lnTo>
                        <a:lnTo>
                          <a:pt x="873" y="211"/>
                        </a:lnTo>
                        <a:lnTo>
                          <a:pt x="876" y="219"/>
                        </a:lnTo>
                        <a:lnTo>
                          <a:pt x="881" y="231"/>
                        </a:lnTo>
                        <a:lnTo>
                          <a:pt x="887" y="257"/>
                        </a:lnTo>
                        <a:lnTo>
                          <a:pt x="905" y="264"/>
                        </a:lnTo>
                        <a:lnTo>
                          <a:pt x="910" y="270"/>
                        </a:lnTo>
                        <a:lnTo>
                          <a:pt x="919" y="290"/>
                        </a:lnTo>
                        <a:lnTo>
                          <a:pt x="919" y="308"/>
                        </a:lnTo>
                        <a:lnTo>
                          <a:pt x="937" y="321"/>
                        </a:lnTo>
                        <a:lnTo>
                          <a:pt x="962" y="333"/>
                        </a:lnTo>
                        <a:lnTo>
                          <a:pt x="964" y="333"/>
                        </a:lnTo>
                        <a:lnTo>
                          <a:pt x="964" y="334"/>
                        </a:lnTo>
                        <a:lnTo>
                          <a:pt x="978" y="407"/>
                        </a:lnTo>
                        <a:lnTo>
                          <a:pt x="983" y="444"/>
                        </a:lnTo>
                        <a:lnTo>
                          <a:pt x="984" y="447"/>
                        </a:lnTo>
                        <a:lnTo>
                          <a:pt x="983" y="450"/>
                        </a:lnTo>
                        <a:lnTo>
                          <a:pt x="973" y="457"/>
                        </a:lnTo>
                        <a:lnTo>
                          <a:pt x="972" y="473"/>
                        </a:lnTo>
                        <a:lnTo>
                          <a:pt x="983" y="487"/>
                        </a:lnTo>
                        <a:lnTo>
                          <a:pt x="995" y="509"/>
                        </a:lnTo>
                        <a:lnTo>
                          <a:pt x="1000" y="532"/>
                        </a:lnTo>
                        <a:lnTo>
                          <a:pt x="1001" y="554"/>
                        </a:lnTo>
                        <a:lnTo>
                          <a:pt x="1001" y="585"/>
                        </a:lnTo>
                        <a:lnTo>
                          <a:pt x="1004" y="593"/>
                        </a:lnTo>
                        <a:lnTo>
                          <a:pt x="1004" y="606"/>
                        </a:lnTo>
                        <a:lnTo>
                          <a:pt x="1000" y="628"/>
                        </a:lnTo>
                        <a:lnTo>
                          <a:pt x="999" y="684"/>
                        </a:lnTo>
                        <a:lnTo>
                          <a:pt x="990" y="691"/>
                        </a:lnTo>
                        <a:lnTo>
                          <a:pt x="979" y="693"/>
                        </a:lnTo>
                        <a:lnTo>
                          <a:pt x="978" y="702"/>
                        </a:lnTo>
                        <a:lnTo>
                          <a:pt x="983" y="715"/>
                        </a:lnTo>
                        <a:lnTo>
                          <a:pt x="1001" y="737"/>
                        </a:lnTo>
                        <a:lnTo>
                          <a:pt x="1011" y="753"/>
                        </a:lnTo>
                        <a:lnTo>
                          <a:pt x="1012" y="773"/>
                        </a:lnTo>
                        <a:lnTo>
                          <a:pt x="1015" y="785"/>
                        </a:lnTo>
                        <a:lnTo>
                          <a:pt x="1029" y="800"/>
                        </a:lnTo>
                        <a:lnTo>
                          <a:pt x="1048" y="801"/>
                        </a:lnTo>
                        <a:lnTo>
                          <a:pt x="1059" y="801"/>
                        </a:lnTo>
                        <a:lnTo>
                          <a:pt x="1088" y="815"/>
                        </a:lnTo>
                        <a:lnTo>
                          <a:pt x="1106" y="844"/>
                        </a:lnTo>
                        <a:lnTo>
                          <a:pt x="1110" y="858"/>
                        </a:lnTo>
                        <a:lnTo>
                          <a:pt x="1112" y="864"/>
                        </a:lnTo>
                        <a:lnTo>
                          <a:pt x="1086" y="882"/>
                        </a:lnTo>
                        <a:lnTo>
                          <a:pt x="1042" y="913"/>
                        </a:lnTo>
                        <a:lnTo>
                          <a:pt x="999" y="944"/>
                        </a:lnTo>
                        <a:lnTo>
                          <a:pt x="956" y="974"/>
                        </a:lnTo>
                        <a:lnTo>
                          <a:pt x="911" y="1005"/>
                        </a:lnTo>
                        <a:lnTo>
                          <a:pt x="867" y="1036"/>
                        </a:lnTo>
                        <a:lnTo>
                          <a:pt x="824" y="1066"/>
                        </a:lnTo>
                        <a:lnTo>
                          <a:pt x="781" y="1096"/>
                        </a:lnTo>
                        <a:lnTo>
                          <a:pt x="766" y="1101"/>
                        </a:lnTo>
                        <a:lnTo>
                          <a:pt x="704" y="1115"/>
                        </a:lnTo>
                        <a:lnTo>
                          <a:pt x="695" y="1117"/>
                        </a:lnTo>
                        <a:lnTo>
                          <a:pt x="690" y="1119"/>
                        </a:lnTo>
                        <a:lnTo>
                          <a:pt x="680" y="1124"/>
                        </a:lnTo>
                        <a:lnTo>
                          <a:pt x="672" y="1124"/>
                        </a:lnTo>
                        <a:lnTo>
                          <a:pt x="663" y="1129"/>
                        </a:lnTo>
                        <a:lnTo>
                          <a:pt x="656" y="1129"/>
                        </a:lnTo>
                        <a:lnTo>
                          <a:pt x="650" y="1128"/>
                        </a:lnTo>
                        <a:lnTo>
                          <a:pt x="642" y="1119"/>
                        </a:lnTo>
                        <a:lnTo>
                          <a:pt x="642" y="1114"/>
                        </a:lnTo>
                        <a:lnTo>
                          <a:pt x="645" y="1109"/>
                        </a:lnTo>
                        <a:lnTo>
                          <a:pt x="644" y="1103"/>
                        </a:lnTo>
                        <a:lnTo>
                          <a:pt x="645" y="1101"/>
                        </a:lnTo>
                        <a:lnTo>
                          <a:pt x="649" y="1098"/>
                        </a:lnTo>
                        <a:lnTo>
                          <a:pt x="649" y="1096"/>
                        </a:lnTo>
                        <a:lnTo>
                          <a:pt x="646" y="1092"/>
                        </a:lnTo>
                        <a:lnTo>
                          <a:pt x="646" y="1088"/>
                        </a:lnTo>
                        <a:lnTo>
                          <a:pt x="647" y="1086"/>
                        </a:lnTo>
                        <a:lnTo>
                          <a:pt x="646" y="1080"/>
                        </a:lnTo>
                        <a:lnTo>
                          <a:pt x="645" y="1080"/>
                        </a:lnTo>
                        <a:lnTo>
                          <a:pt x="644" y="1076"/>
                        </a:lnTo>
                        <a:lnTo>
                          <a:pt x="640" y="1074"/>
                        </a:lnTo>
                        <a:lnTo>
                          <a:pt x="631" y="1071"/>
                        </a:lnTo>
                        <a:lnTo>
                          <a:pt x="623" y="1066"/>
                        </a:lnTo>
                        <a:lnTo>
                          <a:pt x="618" y="1066"/>
                        </a:lnTo>
                        <a:lnTo>
                          <a:pt x="614" y="1064"/>
                        </a:lnTo>
                        <a:lnTo>
                          <a:pt x="603" y="1064"/>
                        </a:lnTo>
                        <a:lnTo>
                          <a:pt x="599" y="1061"/>
                        </a:lnTo>
                        <a:lnTo>
                          <a:pt x="596" y="1054"/>
                        </a:lnTo>
                        <a:lnTo>
                          <a:pt x="593" y="1053"/>
                        </a:lnTo>
                        <a:lnTo>
                          <a:pt x="585" y="1054"/>
                        </a:lnTo>
                        <a:lnTo>
                          <a:pt x="575" y="1052"/>
                        </a:lnTo>
                        <a:lnTo>
                          <a:pt x="570" y="1049"/>
                        </a:lnTo>
                        <a:lnTo>
                          <a:pt x="563" y="1043"/>
                        </a:lnTo>
                        <a:lnTo>
                          <a:pt x="561" y="1038"/>
                        </a:lnTo>
                        <a:lnTo>
                          <a:pt x="560" y="1032"/>
                        </a:lnTo>
                        <a:lnTo>
                          <a:pt x="558" y="1031"/>
                        </a:lnTo>
                        <a:lnTo>
                          <a:pt x="547" y="1025"/>
                        </a:lnTo>
                        <a:lnTo>
                          <a:pt x="539" y="1023"/>
                        </a:lnTo>
                        <a:lnTo>
                          <a:pt x="533" y="1020"/>
                        </a:lnTo>
                        <a:lnTo>
                          <a:pt x="532" y="1016"/>
                        </a:lnTo>
                        <a:lnTo>
                          <a:pt x="533" y="1007"/>
                        </a:lnTo>
                        <a:lnTo>
                          <a:pt x="529" y="1004"/>
                        </a:lnTo>
                        <a:lnTo>
                          <a:pt x="529" y="999"/>
                        </a:lnTo>
                        <a:lnTo>
                          <a:pt x="267" y="817"/>
                        </a:lnTo>
                        <a:lnTo>
                          <a:pt x="203" y="773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67" name="Freeform 17"/>
                  <p:cNvSpPr>
                    <a:spLocks/>
                  </p:cNvSpPr>
                  <p:nvPr/>
                </p:nvSpPr>
                <p:spPr bwMode="gray">
                  <a:xfrm>
                    <a:off x="2330" y="2178"/>
                    <a:ext cx="132" cy="146"/>
                  </a:xfrm>
                  <a:custGeom>
                    <a:avLst/>
                    <a:gdLst>
                      <a:gd name="T0" fmla="*/ 4 w 661"/>
                      <a:gd name="T1" fmla="*/ 14 h 727"/>
                      <a:gd name="T2" fmla="*/ 1 w 661"/>
                      <a:gd name="T3" fmla="*/ 14 h 727"/>
                      <a:gd name="T4" fmla="*/ 0 w 661"/>
                      <a:gd name="T5" fmla="*/ 15 h 727"/>
                      <a:gd name="T6" fmla="*/ 0 w 661"/>
                      <a:gd name="T7" fmla="*/ 15 h 727"/>
                      <a:gd name="T8" fmla="*/ 1 w 661"/>
                      <a:gd name="T9" fmla="*/ 16 h 727"/>
                      <a:gd name="T10" fmla="*/ 2 w 661"/>
                      <a:gd name="T11" fmla="*/ 16 h 727"/>
                      <a:gd name="T12" fmla="*/ 2 w 661"/>
                      <a:gd name="T13" fmla="*/ 18 h 727"/>
                      <a:gd name="T14" fmla="*/ 1 w 661"/>
                      <a:gd name="T15" fmla="*/ 18 h 727"/>
                      <a:gd name="T16" fmla="*/ 2 w 661"/>
                      <a:gd name="T17" fmla="*/ 20 h 727"/>
                      <a:gd name="T18" fmla="*/ 2 w 661"/>
                      <a:gd name="T19" fmla="*/ 23 h 727"/>
                      <a:gd name="T20" fmla="*/ 1 w 661"/>
                      <a:gd name="T21" fmla="*/ 25 h 727"/>
                      <a:gd name="T22" fmla="*/ 1 w 661"/>
                      <a:gd name="T23" fmla="*/ 26 h 727"/>
                      <a:gd name="T24" fmla="*/ 1 w 661"/>
                      <a:gd name="T25" fmla="*/ 25 h 727"/>
                      <a:gd name="T26" fmla="*/ 2 w 661"/>
                      <a:gd name="T27" fmla="*/ 25 h 727"/>
                      <a:gd name="T28" fmla="*/ 3 w 661"/>
                      <a:gd name="T29" fmla="*/ 25 h 727"/>
                      <a:gd name="T30" fmla="*/ 4 w 661"/>
                      <a:gd name="T31" fmla="*/ 25 h 727"/>
                      <a:gd name="T32" fmla="*/ 4 w 661"/>
                      <a:gd name="T33" fmla="*/ 25 h 727"/>
                      <a:gd name="T34" fmla="*/ 5 w 661"/>
                      <a:gd name="T35" fmla="*/ 25 h 727"/>
                      <a:gd name="T36" fmla="*/ 6 w 661"/>
                      <a:gd name="T37" fmla="*/ 25 h 727"/>
                      <a:gd name="T38" fmla="*/ 6 w 661"/>
                      <a:gd name="T39" fmla="*/ 26 h 727"/>
                      <a:gd name="T40" fmla="*/ 7 w 661"/>
                      <a:gd name="T41" fmla="*/ 26 h 727"/>
                      <a:gd name="T42" fmla="*/ 7 w 661"/>
                      <a:gd name="T43" fmla="*/ 26 h 727"/>
                      <a:gd name="T44" fmla="*/ 8 w 661"/>
                      <a:gd name="T45" fmla="*/ 27 h 727"/>
                      <a:gd name="T46" fmla="*/ 8 w 661"/>
                      <a:gd name="T47" fmla="*/ 27 h 727"/>
                      <a:gd name="T48" fmla="*/ 9 w 661"/>
                      <a:gd name="T49" fmla="*/ 28 h 727"/>
                      <a:gd name="T50" fmla="*/ 9 w 661"/>
                      <a:gd name="T51" fmla="*/ 28 h 727"/>
                      <a:gd name="T52" fmla="*/ 9 w 661"/>
                      <a:gd name="T53" fmla="*/ 28 h 727"/>
                      <a:gd name="T54" fmla="*/ 9 w 661"/>
                      <a:gd name="T55" fmla="*/ 28 h 727"/>
                      <a:gd name="T56" fmla="*/ 10 w 661"/>
                      <a:gd name="T57" fmla="*/ 29 h 727"/>
                      <a:gd name="T58" fmla="*/ 10 w 661"/>
                      <a:gd name="T59" fmla="*/ 29 h 727"/>
                      <a:gd name="T60" fmla="*/ 11 w 661"/>
                      <a:gd name="T61" fmla="*/ 29 h 727"/>
                      <a:gd name="T62" fmla="*/ 12 w 661"/>
                      <a:gd name="T63" fmla="*/ 27 h 727"/>
                      <a:gd name="T64" fmla="*/ 12 w 661"/>
                      <a:gd name="T65" fmla="*/ 27 h 727"/>
                      <a:gd name="T66" fmla="*/ 13 w 661"/>
                      <a:gd name="T67" fmla="*/ 28 h 727"/>
                      <a:gd name="T68" fmla="*/ 14 w 661"/>
                      <a:gd name="T69" fmla="*/ 29 h 727"/>
                      <a:gd name="T70" fmla="*/ 21 w 661"/>
                      <a:gd name="T71" fmla="*/ 28 h 727"/>
                      <a:gd name="T72" fmla="*/ 25 w 661"/>
                      <a:gd name="T73" fmla="*/ 26 h 727"/>
                      <a:gd name="T74" fmla="*/ 24 w 661"/>
                      <a:gd name="T75" fmla="*/ 21 h 727"/>
                      <a:gd name="T76" fmla="*/ 23 w 661"/>
                      <a:gd name="T77" fmla="*/ 14 h 727"/>
                      <a:gd name="T78" fmla="*/ 23 w 661"/>
                      <a:gd name="T79" fmla="*/ 8 h 727"/>
                      <a:gd name="T80" fmla="*/ 23 w 661"/>
                      <a:gd name="T81" fmla="*/ 3 h 727"/>
                      <a:gd name="T82" fmla="*/ 18 w 661"/>
                      <a:gd name="T83" fmla="*/ 3 h 727"/>
                      <a:gd name="T84" fmla="*/ 12 w 661"/>
                      <a:gd name="T85" fmla="*/ 3 h 727"/>
                      <a:gd name="T86" fmla="*/ 11 w 661"/>
                      <a:gd name="T87" fmla="*/ 8 h 727"/>
                      <a:gd name="T88" fmla="*/ 10 w 661"/>
                      <a:gd name="T89" fmla="*/ 9 h 727"/>
                      <a:gd name="T90" fmla="*/ 9 w 661"/>
                      <a:gd name="T91" fmla="*/ 10 h 727"/>
                      <a:gd name="T92" fmla="*/ 9 w 661"/>
                      <a:gd name="T93" fmla="*/ 12 h 727"/>
                      <a:gd name="T94" fmla="*/ 9 w 661"/>
                      <a:gd name="T95" fmla="*/ 14 h 727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661"/>
                      <a:gd name="T145" fmla="*/ 0 h 727"/>
                      <a:gd name="T146" fmla="*/ 661 w 661"/>
                      <a:gd name="T147" fmla="*/ 727 h 727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661" h="727">
                        <a:moveTo>
                          <a:pt x="196" y="347"/>
                        </a:moveTo>
                        <a:lnTo>
                          <a:pt x="148" y="347"/>
                        </a:lnTo>
                        <a:lnTo>
                          <a:pt x="96" y="347"/>
                        </a:lnTo>
                        <a:lnTo>
                          <a:pt x="45" y="347"/>
                        </a:lnTo>
                        <a:lnTo>
                          <a:pt x="16" y="347"/>
                        </a:lnTo>
                        <a:lnTo>
                          <a:pt x="14" y="353"/>
                        </a:lnTo>
                        <a:lnTo>
                          <a:pt x="6" y="360"/>
                        </a:lnTo>
                        <a:lnTo>
                          <a:pt x="2" y="365"/>
                        </a:lnTo>
                        <a:lnTo>
                          <a:pt x="5" y="364"/>
                        </a:lnTo>
                        <a:lnTo>
                          <a:pt x="0" y="369"/>
                        </a:lnTo>
                        <a:lnTo>
                          <a:pt x="0" y="371"/>
                        </a:lnTo>
                        <a:lnTo>
                          <a:pt x="0" y="369"/>
                        </a:lnTo>
                        <a:lnTo>
                          <a:pt x="10" y="365"/>
                        </a:lnTo>
                        <a:lnTo>
                          <a:pt x="12" y="369"/>
                        </a:lnTo>
                        <a:lnTo>
                          <a:pt x="22" y="391"/>
                        </a:lnTo>
                        <a:lnTo>
                          <a:pt x="23" y="393"/>
                        </a:lnTo>
                        <a:lnTo>
                          <a:pt x="30" y="391"/>
                        </a:lnTo>
                        <a:lnTo>
                          <a:pt x="40" y="409"/>
                        </a:lnTo>
                        <a:lnTo>
                          <a:pt x="41" y="414"/>
                        </a:lnTo>
                        <a:lnTo>
                          <a:pt x="41" y="429"/>
                        </a:lnTo>
                        <a:lnTo>
                          <a:pt x="41" y="437"/>
                        </a:lnTo>
                        <a:lnTo>
                          <a:pt x="35" y="455"/>
                        </a:lnTo>
                        <a:lnTo>
                          <a:pt x="33" y="458"/>
                        </a:lnTo>
                        <a:lnTo>
                          <a:pt x="28" y="460"/>
                        </a:lnTo>
                        <a:lnTo>
                          <a:pt x="27" y="463"/>
                        </a:lnTo>
                        <a:lnTo>
                          <a:pt x="45" y="488"/>
                        </a:lnTo>
                        <a:lnTo>
                          <a:pt x="49" y="501"/>
                        </a:lnTo>
                        <a:lnTo>
                          <a:pt x="50" y="515"/>
                        </a:lnTo>
                        <a:lnTo>
                          <a:pt x="51" y="527"/>
                        </a:lnTo>
                        <a:lnTo>
                          <a:pt x="50" y="563"/>
                        </a:lnTo>
                        <a:lnTo>
                          <a:pt x="46" y="577"/>
                        </a:lnTo>
                        <a:lnTo>
                          <a:pt x="32" y="614"/>
                        </a:lnTo>
                        <a:lnTo>
                          <a:pt x="30" y="623"/>
                        </a:lnTo>
                        <a:lnTo>
                          <a:pt x="24" y="639"/>
                        </a:lnTo>
                        <a:lnTo>
                          <a:pt x="23" y="651"/>
                        </a:lnTo>
                        <a:lnTo>
                          <a:pt x="24" y="650"/>
                        </a:lnTo>
                        <a:lnTo>
                          <a:pt x="28" y="647"/>
                        </a:lnTo>
                        <a:lnTo>
                          <a:pt x="32" y="640"/>
                        </a:lnTo>
                        <a:lnTo>
                          <a:pt x="37" y="627"/>
                        </a:lnTo>
                        <a:lnTo>
                          <a:pt x="40" y="627"/>
                        </a:lnTo>
                        <a:lnTo>
                          <a:pt x="43" y="625"/>
                        </a:lnTo>
                        <a:lnTo>
                          <a:pt x="50" y="627"/>
                        </a:lnTo>
                        <a:lnTo>
                          <a:pt x="59" y="627"/>
                        </a:lnTo>
                        <a:lnTo>
                          <a:pt x="69" y="629"/>
                        </a:lnTo>
                        <a:lnTo>
                          <a:pt x="76" y="628"/>
                        </a:lnTo>
                        <a:lnTo>
                          <a:pt x="78" y="625"/>
                        </a:lnTo>
                        <a:lnTo>
                          <a:pt x="89" y="623"/>
                        </a:lnTo>
                        <a:lnTo>
                          <a:pt x="98" y="624"/>
                        </a:lnTo>
                        <a:lnTo>
                          <a:pt x="100" y="623"/>
                        </a:lnTo>
                        <a:lnTo>
                          <a:pt x="100" y="619"/>
                        </a:lnTo>
                        <a:lnTo>
                          <a:pt x="102" y="619"/>
                        </a:lnTo>
                        <a:lnTo>
                          <a:pt x="108" y="619"/>
                        </a:lnTo>
                        <a:lnTo>
                          <a:pt x="113" y="618"/>
                        </a:lnTo>
                        <a:lnTo>
                          <a:pt x="119" y="620"/>
                        </a:lnTo>
                        <a:lnTo>
                          <a:pt x="135" y="620"/>
                        </a:lnTo>
                        <a:lnTo>
                          <a:pt x="136" y="622"/>
                        </a:lnTo>
                        <a:lnTo>
                          <a:pt x="141" y="620"/>
                        </a:lnTo>
                        <a:lnTo>
                          <a:pt x="143" y="625"/>
                        </a:lnTo>
                        <a:lnTo>
                          <a:pt x="150" y="627"/>
                        </a:lnTo>
                        <a:lnTo>
                          <a:pt x="161" y="635"/>
                        </a:lnTo>
                        <a:lnTo>
                          <a:pt x="162" y="641"/>
                        </a:lnTo>
                        <a:lnTo>
                          <a:pt x="169" y="649"/>
                        </a:lnTo>
                        <a:lnTo>
                          <a:pt x="173" y="647"/>
                        </a:lnTo>
                        <a:lnTo>
                          <a:pt x="179" y="646"/>
                        </a:lnTo>
                        <a:lnTo>
                          <a:pt x="179" y="650"/>
                        </a:lnTo>
                        <a:lnTo>
                          <a:pt x="183" y="651"/>
                        </a:lnTo>
                        <a:lnTo>
                          <a:pt x="188" y="647"/>
                        </a:lnTo>
                        <a:lnTo>
                          <a:pt x="190" y="647"/>
                        </a:lnTo>
                        <a:lnTo>
                          <a:pt x="200" y="662"/>
                        </a:lnTo>
                        <a:lnTo>
                          <a:pt x="205" y="672"/>
                        </a:lnTo>
                        <a:lnTo>
                          <a:pt x="205" y="676"/>
                        </a:lnTo>
                        <a:lnTo>
                          <a:pt x="209" y="677"/>
                        </a:lnTo>
                        <a:lnTo>
                          <a:pt x="212" y="682"/>
                        </a:lnTo>
                        <a:lnTo>
                          <a:pt x="212" y="684"/>
                        </a:lnTo>
                        <a:lnTo>
                          <a:pt x="215" y="686"/>
                        </a:lnTo>
                        <a:lnTo>
                          <a:pt x="218" y="684"/>
                        </a:lnTo>
                        <a:lnTo>
                          <a:pt x="220" y="684"/>
                        </a:lnTo>
                        <a:lnTo>
                          <a:pt x="222" y="692"/>
                        </a:lnTo>
                        <a:lnTo>
                          <a:pt x="225" y="693"/>
                        </a:lnTo>
                        <a:lnTo>
                          <a:pt x="227" y="697"/>
                        </a:lnTo>
                        <a:lnTo>
                          <a:pt x="223" y="698"/>
                        </a:lnTo>
                        <a:lnTo>
                          <a:pt x="223" y="699"/>
                        </a:lnTo>
                        <a:lnTo>
                          <a:pt x="228" y="700"/>
                        </a:lnTo>
                        <a:lnTo>
                          <a:pt x="231" y="704"/>
                        </a:lnTo>
                        <a:lnTo>
                          <a:pt x="234" y="706"/>
                        </a:lnTo>
                        <a:lnTo>
                          <a:pt x="238" y="706"/>
                        </a:lnTo>
                        <a:lnTo>
                          <a:pt x="244" y="709"/>
                        </a:lnTo>
                        <a:lnTo>
                          <a:pt x="247" y="713"/>
                        </a:lnTo>
                        <a:lnTo>
                          <a:pt x="248" y="717"/>
                        </a:lnTo>
                        <a:lnTo>
                          <a:pt x="250" y="719"/>
                        </a:lnTo>
                        <a:lnTo>
                          <a:pt x="256" y="721"/>
                        </a:lnTo>
                        <a:lnTo>
                          <a:pt x="263" y="727"/>
                        </a:lnTo>
                        <a:lnTo>
                          <a:pt x="286" y="705"/>
                        </a:lnTo>
                        <a:lnTo>
                          <a:pt x="293" y="687"/>
                        </a:lnTo>
                        <a:lnTo>
                          <a:pt x="297" y="676"/>
                        </a:lnTo>
                        <a:lnTo>
                          <a:pt x="302" y="665"/>
                        </a:lnTo>
                        <a:lnTo>
                          <a:pt x="304" y="663"/>
                        </a:lnTo>
                        <a:lnTo>
                          <a:pt x="307" y="665"/>
                        </a:lnTo>
                        <a:lnTo>
                          <a:pt x="308" y="666"/>
                        </a:lnTo>
                        <a:lnTo>
                          <a:pt x="314" y="667"/>
                        </a:lnTo>
                        <a:lnTo>
                          <a:pt x="318" y="670"/>
                        </a:lnTo>
                        <a:lnTo>
                          <a:pt x="323" y="683"/>
                        </a:lnTo>
                        <a:lnTo>
                          <a:pt x="333" y="701"/>
                        </a:lnTo>
                        <a:lnTo>
                          <a:pt x="347" y="705"/>
                        </a:lnTo>
                        <a:lnTo>
                          <a:pt x="350" y="705"/>
                        </a:lnTo>
                        <a:lnTo>
                          <a:pt x="376" y="683"/>
                        </a:lnTo>
                        <a:lnTo>
                          <a:pt x="463" y="686"/>
                        </a:lnTo>
                        <a:lnTo>
                          <a:pt x="534" y="687"/>
                        </a:lnTo>
                        <a:lnTo>
                          <a:pt x="607" y="688"/>
                        </a:lnTo>
                        <a:lnTo>
                          <a:pt x="625" y="688"/>
                        </a:lnTo>
                        <a:lnTo>
                          <a:pt x="637" y="641"/>
                        </a:lnTo>
                        <a:lnTo>
                          <a:pt x="615" y="634"/>
                        </a:lnTo>
                        <a:lnTo>
                          <a:pt x="609" y="577"/>
                        </a:lnTo>
                        <a:lnTo>
                          <a:pt x="604" y="522"/>
                        </a:lnTo>
                        <a:lnTo>
                          <a:pt x="598" y="468"/>
                        </a:lnTo>
                        <a:lnTo>
                          <a:pt x="592" y="414"/>
                        </a:lnTo>
                        <a:lnTo>
                          <a:pt x="587" y="359"/>
                        </a:lnTo>
                        <a:lnTo>
                          <a:pt x="581" y="302"/>
                        </a:lnTo>
                        <a:lnTo>
                          <a:pt x="576" y="247"/>
                        </a:lnTo>
                        <a:lnTo>
                          <a:pt x="570" y="191"/>
                        </a:lnTo>
                        <a:lnTo>
                          <a:pt x="564" y="133"/>
                        </a:lnTo>
                        <a:lnTo>
                          <a:pt x="661" y="133"/>
                        </a:lnTo>
                        <a:lnTo>
                          <a:pt x="584" y="82"/>
                        </a:lnTo>
                        <a:lnTo>
                          <a:pt x="525" y="44"/>
                        </a:lnTo>
                        <a:lnTo>
                          <a:pt x="458" y="0"/>
                        </a:lnTo>
                        <a:lnTo>
                          <a:pt x="458" y="70"/>
                        </a:lnTo>
                        <a:lnTo>
                          <a:pt x="405" y="70"/>
                        </a:lnTo>
                        <a:lnTo>
                          <a:pt x="352" y="70"/>
                        </a:lnTo>
                        <a:lnTo>
                          <a:pt x="299" y="70"/>
                        </a:lnTo>
                        <a:lnTo>
                          <a:pt x="281" y="70"/>
                        </a:lnTo>
                        <a:lnTo>
                          <a:pt x="281" y="128"/>
                        </a:lnTo>
                        <a:lnTo>
                          <a:pt x="281" y="187"/>
                        </a:lnTo>
                        <a:lnTo>
                          <a:pt x="281" y="222"/>
                        </a:lnTo>
                        <a:lnTo>
                          <a:pt x="261" y="229"/>
                        </a:lnTo>
                        <a:lnTo>
                          <a:pt x="244" y="231"/>
                        </a:lnTo>
                        <a:lnTo>
                          <a:pt x="228" y="236"/>
                        </a:lnTo>
                        <a:lnTo>
                          <a:pt x="223" y="240"/>
                        </a:lnTo>
                        <a:lnTo>
                          <a:pt x="220" y="245"/>
                        </a:lnTo>
                        <a:lnTo>
                          <a:pt x="215" y="256"/>
                        </a:lnTo>
                        <a:lnTo>
                          <a:pt x="213" y="264"/>
                        </a:lnTo>
                        <a:lnTo>
                          <a:pt x="215" y="290"/>
                        </a:lnTo>
                        <a:lnTo>
                          <a:pt x="218" y="310"/>
                        </a:lnTo>
                        <a:lnTo>
                          <a:pt x="218" y="331"/>
                        </a:lnTo>
                        <a:lnTo>
                          <a:pt x="222" y="347"/>
                        </a:lnTo>
                        <a:lnTo>
                          <a:pt x="196" y="347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68" name="Freeform 18"/>
                  <p:cNvSpPr>
                    <a:spLocks/>
                  </p:cNvSpPr>
                  <p:nvPr/>
                </p:nvSpPr>
                <p:spPr bwMode="gray">
                  <a:xfrm>
                    <a:off x="2374" y="2067"/>
                    <a:ext cx="131" cy="105"/>
                  </a:xfrm>
                  <a:custGeom>
                    <a:avLst/>
                    <a:gdLst>
                      <a:gd name="T0" fmla="*/ 8 w 656"/>
                      <a:gd name="T1" fmla="*/ 21 h 526"/>
                      <a:gd name="T2" fmla="*/ 3 w 656"/>
                      <a:gd name="T3" fmla="*/ 21 h 526"/>
                      <a:gd name="T4" fmla="*/ 0 w 656"/>
                      <a:gd name="T5" fmla="*/ 21 h 526"/>
                      <a:gd name="T6" fmla="*/ 1 w 656"/>
                      <a:gd name="T7" fmla="*/ 20 h 526"/>
                      <a:gd name="T8" fmla="*/ 3 w 656"/>
                      <a:gd name="T9" fmla="*/ 19 h 526"/>
                      <a:gd name="T10" fmla="*/ 4 w 656"/>
                      <a:gd name="T11" fmla="*/ 19 h 526"/>
                      <a:gd name="T12" fmla="*/ 6 w 656"/>
                      <a:gd name="T13" fmla="*/ 18 h 526"/>
                      <a:gd name="T14" fmla="*/ 7 w 656"/>
                      <a:gd name="T15" fmla="*/ 16 h 526"/>
                      <a:gd name="T16" fmla="*/ 7 w 656"/>
                      <a:gd name="T17" fmla="*/ 14 h 526"/>
                      <a:gd name="T18" fmla="*/ 7 w 656"/>
                      <a:gd name="T19" fmla="*/ 12 h 526"/>
                      <a:gd name="T20" fmla="*/ 8 w 656"/>
                      <a:gd name="T21" fmla="*/ 11 h 526"/>
                      <a:gd name="T22" fmla="*/ 9 w 656"/>
                      <a:gd name="T23" fmla="*/ 9 h 526"/>
                      <a:gd name="T24" fmla="*/ 10 w 656"/>
                      <a:gd name="T25" fmla="*/ 7 h 526"/>
                      <a:gd name="T26" fmla="*/ 12 w 656"/>
                      <a:gd name="T27" fmla="*/ 6 h 526"/>
                      <a:gd name="T28" fmla="*/ 14 w 656"/>
                      <a:gd name="T29" fmla="*/ 5 h 526"/>
                      <a:gd name="T30" fmla="*/ 15 w 656"/>
                      <a:gd name="T31" fmla="*/ 2 h 526"/>
                      <a:gd name="T32" fmla="*/ 17 w 656"/>
                      <a:gd name="T33" fmla="*/ 0 h 526"/>
                      <a:gd name="T34" fmla="*/ 19 w 656"/>
                      <a:gd name="T35" fmla="*/ 2 h 526"/>
                      <a:gd name="T36" fmla="*/ 20 w 656"/>
                      <a:gd name="T37" fmla="*/ 2 h 526"/>
                      <a:gd name="T38" fmla="*/ 22 w 656"/>
                      <a:gd name="T39" fmla="*/ 2 h 526"/>
                      <a:gd name="T40" fmla="*/ 23 w 656"/>
                      <a:gd name="T41" fmla="*/ 2 h 526"/>
                      <a:gd name="T42" fmla="*/ 24 w 656"/>
                      <a:gd name="T43" fmla="*/ 2 h 526"/>
                      <a:gd name="T44" fmla="*/ 24 w 656"/>
                      <a:gd name="T45" fmla="*/ 3 h 526"/>
                      <a:gd name="T46" fmla="*/ 25 w 656"/>
                      <a:gd name="T47" fmla="*/ 3 h 526"/>
                      <a:gd name="T48" fmla="*/ 25 w 656"/>
                      <a:gd name="T49" fmla="*/ 3 h 526"/>
                      <a:gd name="T50" fmla="*/ 25 w 656"/>
                      <a:gd name="T51" fmla="*/ 4 h 526"/>
                      <a:gd name="T52" fmla="*/ 25 w 656"/>
                      <a:gd name="T53" fmla="*/ 5 h 526"/>
                      <a:gd name="T54" fmla="*/ 25 w 656"/>
                      <a:gd name="T55" fmla="*/ 6 h 526"/>
                      <a:gd name="T56" fmla="*/ 25 w 656"/>
                      <a:gd name="T57" fmla="*/ 7 h 526"/>
                      <a:gd name="T58" fmla="*/ 25 w 656"/>
                      <a:gd name="T59" fmla="*/ 7 h 526"/>
                      <a:gd name="T60" fmla="*/ 26 w 656"/>
                      <a:gd name="T61" fmla="*/ 9 h 526"/>
                      <a:gd name="T62" fmla="*/ 26 w 656"/>
                      <a:gd name="T63" fmla="*/ 9 h 526"/>
                      <a:gd name="T64" fmla="*/ 26 w 656"/>
                      <a:gd name="T65" fmla="*/ 10 h 526"/>
                      <a:gd name="T66" fmla="*/ 26 w 656"/>
                      <a:gd name="T67" fmla="*/ 10 h 526"/>
                      <a:gd name="T68" fmla="*/ 24 w 656"/>
                      <a:gd name="T69" fmla="*/ 10 h 526"/>
                      <a:gd name="T70" fmla="*/ 23 w 656"/>
                      <a:gd name="T71" fmla="*/ 10 h 526"/>
                      <a:gd name="T72" fmla="*/ 22 w 656"/>
                      <a:gd name="T73" fmla="*/ 10 h 526"/>
                      <a:gd name="T74" fmla="*/ 22 w 656"/>
                      <a:gd name="T75" fmla="*/ 11 h 526"/>
                      <a:gd name="T76" fmla="*/ 21 w 656"/>
                      <a:gd name="T77" fmla="*/ 11 h 526"/>
                      <a:gd name="T78" fmla="*/ 20 w 656"/>
                      <a:gd name="T79" fmla="*/ 11 h 526"/>
                      <a:gd name="T80" fmla="*/ 20 w 656"/>
                      <a:gd name="T81" fmla="*/ 11 h 526"/>
                      <a:gd name="T82" fmla="*/ 20 w 656"/>
                      <a:gd name="T83" fmla="*/ 12 h 526"/>
                      <a:gd name="T84" fmla="*/ 20 w 656"/>
                      <a:gd name="T85" fmla="*/ 12 h 526"/>
                      <a:gd name="T86" fmla="*/ 20 w 656"/>
                      <a:gd name="T87" fmla="*/ 12 h 526"/>
                      <a:gd name="T88" fmla="*/ 21 w 656"/>
                      <a:gd name="T89" fmla="*/ 13 h 526"/>
                      <a:gd name="T90" fmla="*/ 18 w 656"/>
                      <a:gd name="T91" fmla="*/ 14 h 526"/>
                      <a:gd name="T92" fmla="*/ 17 w 656"/>
                      <a:gd name="T93" fmla="*/ 14 h 526"/>
                      <a:gd name="T94" fmla="*/ 17 w 656"/>
                      <a:gd name="T95" fmla="*/ 15 h 526"/>
                      <a:gd name="T96" fmla="*/ 15 w 656"/>
                      <a:gd name="T97" fmla="*/ 16 h 526"/>
                      <a:gd name="T98" fmla="*/ 14 w 656"/>
                      <a:gd name="T99" fmla="*/ 16 h 526"/>
                      <a:gd name="T100" fmla="*/ 14 w 656"/>
                      <a:gd name="T101" fmla="*/ 16 h 526"/>
                      <a:gd name="T102" fmla="*/ 13 w 656"/>
                      <a:gd name="T103" fmla="*/ 16 h 526"/>
                      <a:gd name="T104" fmla="*/ 12 w 656"/>
                      <a:gd name="T105" fmla="*/ 16 h 526"/>
                      <a:gd name="T106" fmla="*/ 11 w 656"/>
                      <a:gd name="T107" fmla="*/ 17 h 52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w 656"/>
                      <a:gd name="T163" fmla="*/ 0 h 526"/>
                      <a:gd name="T164" fmla="*/ 656 w 656"/>
                      <a:gd name="T165" fmla="*/ 526 h 526"/>
                    </a:gdLst>
                    <a:ahLst/>
                    <a:cxnLst>
                      <a:cxn ang="T108">
                        <a:pos x="T0" y="T1"/>
                      </a:cxn>
                      <a:cxn ang="T109">
                        <a:pos x="T2" y="T3"/>
                      </a:cxn>
                      <a:cxn ang="T110">
                        <a:pos x="T4" y="T5"/>
                      </a:cxn>
                      <a:cxn ang="T111">
                        <a:pos x="T6" y="T7"/>
                      </a:cxn>
                      <a:cxn ang="T112">
                        <a:pos x="T8" y="T9"/>
                      </a:cxn>
                      <a:cxn ang="T113">
                        <a:pos x="T10" y="T11"/>
                      </a:cxn>
                      <a:cxn ang="T114">
                        <a:pos x="T12" y="T13"/>
                      </a:cxn>
                      <a:cxn ang="T115">
                        <a:pos x="T14" y="T15"/>
                      </a:cxn>
                      <a:cxn ang="T116">
                        <a:pos x="T16" y="T17"/>
                      </a:cxn>
                      <a:cxn ang="T117">
                        <a:pos x="T18" y="T19"/>
                      </a:cxn>
                      <a:cxn ang="T118">
                        <a:pos x="T20" y="T21"/>
                      </a:cxn>
                      <a:cxn ang="T119">
                        <a:pos x="T22" y="T23"/>
                      </a:cxn>
                      <a:cxn ang="T120">
                        <a:pos x="T24" y="T25"/>
                      </a:cxn>
                      <a:cxn ang="T121">
                        <a:pos x="T26" y="T27"/>
                      </a:cxn>
                      <a:cxn ang="T122">
                        <a:pos x="T28" y="T29"/>
                      </a:cxn>
                      <a:cxn ang="T123">
                        <a:pos x="T30" y="T31"/>
                      </a:cxn>
                      <a:cxn ang="T124">
                        <a:pos x="T32" y="T33"/>
                      </a:cxn>
                      <a:cxn ang="T125">
                        <a:pos x="T34" y="T35"/>
                      </a:cxn>
                      <a:cxn ang="T126">
                        <a:pos x="T36" y="T37"/>
                      </a:cxn>
                      <a:cxn ang="T127">
                        <a:pos x="T38" y="T39"/>
                      </a:cxn>
                      <a:cxn ang="T128">
                        <a:pos x="T40" y="T41"/>
                      </a:cxn>
                      <a:cxn ang="T129">
                        <a:pos x="T42" y="T43"/>
                      </a:cxn>
                      <a:cxn ang="T130">
                        <a:pos x="T44" y="T45"/>
                      </a:cxn>
                      <a:cxn ang="T131">
                        <a:pos x="T46" y="T47"/>
                      </a:cxn>
                      <a:cxn ang="T132">
                        <a:pos x="T48" y="T49"/>
                      </a:cxn>
                      <a:cxn ang="T133">
                        <a:pos x="T50" y="T51"/>
                      </a:cxn>
                      <a:cxn ang="T134">
                        <a:pos x="T52" y="T53"/>
                      </a:cxn>
                      <a:cxn ang="T135">
                        <a:pos x="T54" y="T55"/>
                      </a:cxn>
                      <a:cxn ang="T136">
                        <a:pos x="T56" y="T57"/>
                      </a:cxn>
                      <a:cxn ang="T137">
                        <a:pos x="T58" y="T59"/>
                      </a:cxn>
                      <a:cxn ang="T138">
                        <a:pos x="T60" y="T61"/>
                      </a:cxn>
                      <a:cxn ang="T139">
                        <a:pos x="T62" y="T63"/>
                      </a:cxn>
                      <a:cxn ang="T140">
                        <a:pos x="T64" y="T65"/>
                      </a:cxn>
                      <a:cxn ang="T141">
                        <a:pos x="T66" y="T67"/>
                      </a:cxn>
                      <a:cxn ang="T142">
                        <a:pos x="T68" y="T69"/>
                      </a:cxn>
                      <a:cxn ang="T143">
                        <a:pos x="T70" y="T71"/>
                      </a:cxn>
                      <a:cxn ang="T144">
                        <a:pos x="T72" y="T73"/>
                      </a:cxn>
                      <a:cxn ang="T145">
                        <a:pos x="T74" y="T75"/>
                      </a:cxn>
                      <a:cxn ang="T146">
                        <a:pos x="T76" y="T77"/>
                      </a:cxn>
                      <a:cxn ang="T147">
                        <a:pos x="T78" y="T79"/>
                      </a:cxn>
                      <a:cxn ang="T148">
                        <a:pos x="T80" y="T81"/>
                      </a:cxn>
                      <a:cxn ang="T149">
                        <a:pos x="T82" y="T83"/>
                      </a:cxn>
                      <a:cxn ang="T150">
                        <a:pos x="T84" y="T85"/>
                      </a:cxn>
                      <a:cxn ang="T151">
                        <a:pos x="T86" y="T87"/>
                      </a:cxn>
                      <a:cxn ang="T152">
                        <a:pos x="T88" y="T89"/>
                      </a:cxn>
                      <a:cxn ang="T153">
                        <a:pos x="T90" y="T91"/>
                      </a:cxn>
                      <a:cxn ang="T154">
                        <a:pos x="T92" y="T93"/>
                      </a:cxn>
                      <a:cxn ang="T155">
                        <a:pos x="T94" y="T95"/>
                      </a:cxn>
                      <a:cxn ang="T156">
                        <a:pos x="T96" y="T97"/>
                      </a:cxn>
                      <a:cxn ang="T157">
                        <a:pos x="T98" y="T99"/>
                      </a:cxn>
                      <a:cxn ang="T158">
                        <a:pos x="T100" y="T101"/>
                      </a:cxn>
                      <a:cxn ang="T159">
                        <a:pos x="T102" y="T103"/>
                      </a:cxn>
                      <a:cxn ang="T160">
                        <a:pos x="T104" y="T105"/>
                      </a:cxn>
                      <a:cxn ang="T161">
                        <a:pos x="T106" y="T107"/>
                      </a:cxn>
                    </a:cxnLst>
                    <a:rect l="T162" t="T163" r="T164" b="T165"/>
                    <a:pathLst>
                      <a:path w="656" h="526">
                        <a:moveTo>
                          <a:pt x="240" y="457"/>
                        </a:moveTo>
                        <a:lnTo>
                          <a:pt x="240" y="526"/>
                        </a:lnTo>
                        <a:lnTo>
                          <a:pt x="204" y="526"/>
                        </a:lnTo>
                        <a:lnTo>
                          <a:pt x="161" y="526"/>
                        </a:lnTo>
                        <a:lnTo>
                          <a:pt x="120" y="526"/>
                        </a:lnTo>
                        <a:lnTo>
                          <a:pt x="79" y="526"/>
                        </a:lnTo>
                        <a:lnTo>
                          <a:pt x="43" y="526"/>
                        </a:lnTo>
                        <a:lnTo>
                          <a:pt x="9" y="526"/>
                        </a:lnTo>
                        <a:lnTo>
                          <a:pt x="0" y="526"/>
                        </a:lnTo>
                        <a:lnTo>
                          <a:pt x="5" y="515"/>
                        </a:lnTo>
                        <a:lnTo>
                          <a:pt x="14" y="511"/>
                        </a:lnTo>
                        <a:lnTo>
                          <a:pt x="27" y="511"/>
                        </a:lnTo>
                        <a:lnTo>
                          <a:pt x="46" y="507"/>
                        </a:lnTo>
                        <a:lnTo>
                          <a:pt x="77" y="495"/>
                        </a:lnTo>
                        <a:lnTo>
                          <a:pt x="86" y="487"/>
                        </a:lnTo>
                        <a:lnTo>
                          <a:pt x="97" y="475"/>
                        </a:lnTo>
                        <a:lnTo>
                          <a:pt x="101" y="472"/>
                        </a:lnTo>
                        <a:lnTo>
                          <a:pt x="112" y="464"/>
                        </a:lnTo>
                        <a:lnTo>
                          <a:pt x="129" y="456"/>
                        </a:lnTo>
                        <a:lnTo>
                          <a:pt x="140" y="445"/>
                        </a:lnTo>
                        <a:lnTo>
                          <a:pt x="144" y="439"/>
                        </a:lnTo>
                        <a:lnTo>
                          <a:pt x="149" y="437"/>
                        </a:lnTo>
                        <a:lnTo>
                          <a:pt x="154" y="433"/>
                        </a:lnTo>
                        <a:lnTo>
                          <a:pt x="166" y="411"/>
                        </a:lnTo>
                        <a:lnTo>
                          <a:pt x="182" y="384"/>
                        </a:lnTo>
                        <a:lnTo>
                          <a:pt x="183" y="379"/>
                        </a:lnTo>
                        <a:lnTo>
                          <a:pt x="182" y="362"/>
                        </a:lnTo>
                        <a:lnTo>
                          <a:pt x="172" y="343"/>
                        </a:lnTo>
                        <a:lnTo>
                          <a:pt x="175" y="332"/>
                        </a:lnTo>
                        <a:lnTo>
                          <a:pt x="175" y="305"/>
                        </a:lnTo>
                        <a:lnTo>
                          <a:pt x="177" y="297"/>
                        </a:lnTo>
                        <a:lnTo>
                          <a:pt x="194" y="267"/>
                        </a:lnTo>
                        <a:lnTo>
                          <a:pt x="194" y="263"/>
                        </a:lnTo>
                        <a:lnTo>
                          <a:pt x="207" y="256"/>
                        </a:lnTo>
                        <a:lnTo>
                          <a:pt x="204" y="258"/>
                        </a:lnTo>
                        <a:lnTo>
                          <a:pt x="214" y="235"/>
                        </a:lnTo>
                        <a:lnTo>
                          <a:pt x="213" y="224"/>
                        </a:lnTo>
                        <a:lnTo>
                          <a:pt x="235" y="198"/>
                        </a:lnTo>
                        <a:lnTo>
                          <a:pt x="244" y="184"/>
                        </a:lnTo>
                        <a:lnTo>
                          <a:pt x="253" y="175"/>
                        </a:lnTo>
                        <a:lnTo>
                          <a:pt x="271" y="166"/>
                        </a:lnTo>
                        <a:lnTo>
                          <a:pt x="299" y="155"/>
                        </a:lnTo>
                        <a:lnTo>
                          <a:pt x="314" y="148"/>
                        </a:lnTo>
                        <a:lnTo>
                          <a:pt x="337" y="132"/>
                        </a:lnTo>
                        <a:lnTo>
                          <a:pt x="348" y="120"/>
                        </a:lnTo>
                        <a:lnTo>
                          <a:pt x="354" y="102"/>
                        </a:lnTo>
                        <a:lnTo>
                          <a:pt x="365" y="89"/>
                        </a:lnTo>
                        <a:lnTo>
                          <a:pt x="376" y="56"/>
                        </a:lnTo>
                        <a:lnTo>
                          <a:pt x="392" y="12"/>
                        </a:lnTo>
                        <a:lnTo>
                          <a:pt x="398" y="7"/>
                        </a:lnTo>
                        <a:lnTo>
                          <a:pt x="419" y="0"/>
                        </a:lnTo>
                        <a:lnTo>
                          <a:pt x="429" y="18"/>
                        </a:lnTo>
                        <a:lnTo>
                          <a:pt x="443" y="32"/>
                        </a:lnTo>
                        <a:lnTo>
                          <a:pt x="465" y="48"/>
                        </a:lnTo>
                        <a:lnTo>
                          <a:pt x="475" y="51"/>
                        </a:lnTo>
                        <a:lnTo>
                          <a:pt x="499" y="42"/>
                        </a:lnTo>
                        <a:lnTo>
                          <a:pt x="507" y="45"/>
                        </a:lnTo>
                        <a:lnTo>
                          <a:pt x="525" y="45"/>
                        </a:lnTo>
                        <a:lnTo>
                          <a:pt x="541" y="43"/>
                        </a:lnTo>
                        <a:lnTo>
                          <a:pt x="548" y="40"/>
                        </a:lnTo>
                        <a:lnTo>
                          <a:pt x="557" y="45"/>
                        </a:lnTo>
                        <a:lnTo>
                          <a:pt x="564" y="51"/>
                        </a:lnTo>
                        <a:lnTo>
                          <a:pt x="574" y="53"/>
                        </a:lnTo>
                        <a:lnTo>
                          <a:pt x="580" y="53"/>
                        </a:lnTo>
                        <a:lnTo>
                          <a:pt x="585" y="52"/>
                        </a:lnTo>
                        <a:lnTo>
                          <a:pt x="604" y="56"/>
                        </a:lnTo>
                        <a:lnTo>
                          <a:pt x="604" y="61"/>
                        </a:lnTo>
                        <a:lnTo>
                          <a:pt x="606" y="66"/>
                        </a:lnTo>
                        <a:lnTo>
                          <a:pt x="612" y="71"/>
                        </a:lnTo>
                        <a:lnTo>
                          <a:pt x="613" y="73"/>
                        </a:lnTo>
                        <a:lnTo>
                          <a:pt x="617" y="78"/>
                        </a:lnTo>
                        <a:lnTo>
                          <a:pt x="621" y="79"/>
                        </a:lnTo>
                        <a:lnTo>
                          <a:pt x="623" y="83"/>
                        </a:lnTo>
                        <a:lnTo>
                          <a:pt x="622" y="85"/>
                        </a:lnTo>
                        <a:lnTo>
                          <a:pt x="621" y="85"/>
                        </a:lnTo>
                        <a:lnTo>
                          <a:pt x="620" y="88"/>
                        </a:lnTo>
                        <a:lnTo>
                          <a:pt x="626" y="96"/>
                        </a:lnTo>
                        <a:lnTo>
                          <a:pt x="622" y="104"/>
                        </a:lnTo>
                        <a:lnTo>
                          <a:pt x="624" y="111"/>
                        </a:lnTo>
                        <a:lnTo>
                          <a:pt x="627" y="122"/>
                        </a:lnTo>
                        <a:lnTo>
                          <a:pt x="626" y="131"/>
                        </a:lnTo>
                        <a:lnTo>
                          <a:pt x="626" y="141"/>
                        </a:lnTo>
                        <a:lnTo>
                          <a:pt x="623" y="144"/>
                        </a:lnTo>
                        <a:lnTo>
                          <a:pt x="631" y="152"/>
                        </a:lnTo>
                        <a:lnTo>
                          <a:pt x="631" y="156"/>
                        </a:lnTo>
                        <a:lnTo>
                          <a:pt x="631" y="160"/>
                        </a:lnTo>
                        <a:lnTo>
                          <a:pt x="629" y="166"/>
                        </a:lnTo>
                        <a:lnTo>
                          <a:pt x="628" y="171"/>
                        </a:lnTo>
                        <a:lnTo>
                          <a:pt x="631" y="179"/>
                        </a:lnTo>
                        <a:lnTo>
                          <a:pt x="633" y="186"/>
                        </a:lnTo>
                        <a:lnTo>
                          <a:pt x="633" y="192"/>
                        </a:lnTo>
                        <a:lnTo>
                          <a:pt x="640" y="207"/>
                        </a:lnTo>
                        <a:lnTo>
                          <a:pt x="649" y="215"/>
                        </a:lnTo>
                        <a:lnTo>
                          <a:pt x="656" y="220"/>
                        </a:lnTo>
                        <a:lnTo>
                          <a:pt x="656" y="222"/>
                        </a:lnTo>
                        <a:lnTo>
                          <a:pt x="651" y="224"/>
                        </a:lnTo>
                        <a:lnTo>
                          <a:pt x="648" y="231"/>
                        </a:lnTo>
                        <a:lnTo>
                          <a:pt x="647" y="238"/>
                        </a:lnTo>
                        <a:lnTo>
                          <a:pt x="649" y="242"/>
                        </a:lnTo>
                        <a:lnTo>
                          <a:pt x="649" y="245"/>
                        </a:lnTo>
                        <a:lnTo>
                          <a:pt x="647" y="246"/>
                        </a:lnTo>
                        <a:lnTo>
                          <a:pt x="639" y="242"/>
                        </a:lnTo>
                        <a:lnTo>
                          <a:pt x="627" y="242"/>
                        </a:lnTo>
                        <a:lnTo>
                          <a:pt x="616" y="241"/>
                        </a:lnTo>
                        <a:lnTo>
                          <a:pt x="611" y="242"/>
                        </a:lnTo>
                        <a:lnTo>
                          <a:pt x="580" y="242"/>
                        </a:lnTo>
                        <a:lnTo>
                          <a:pt x="570" y="245"/>
                        </a:lnTo>
                        <a:lnTo>
                          <a:pt x="567" y="247"/>
                        </a:lnTo>
                        <a:lnTo>
                          <a:pt x="563" y="249"/>
                        </a:lnTo>
                        <a:lnTo>
                          <a:pt x="556" y="246"/>
                        </a:lnTo>
                        <a:lnTo>
                          <a:pt x="553" y="247"/>
                        </a:lnTo>
                        <a:lnTo>
                          <a:pt x="551" y="252"/>
                        </a:lnTo>
                        <a:lnTo>
                          <a:pt x="552" y="257"/>
                        </a:lnTo>
                        <a:lnTo>
                          <a:pt x="551" y="263"/>
                        </a:lnTo>
                        <a:lnTo>
                          <a:pt x="548" y="266"/>
                        </a:lnTo>
                        <a:lnTo>
                          <a:pt x="535" y="272"/>
                        </a:lnTo>
                        <a:lnTo>
                          <a:pt x="527" y="273"/>
                        </a:lnTo>
                        <a:lnTo>
                          <a:pt x="520" y="274"/>
                        </a:lnTo>
                        <a:lnTo>
                          <a:pt x="513" y="273"/>
                        </a:lnTo>
                        <a:lnTo>
                          <a:pt x="508" y="273"/>
                        </a:lnTo>
                        <a:lnTo>
                          <a:pt x="503" y="277"/>
                        </a:lnTo>
                        <a:lnTo>
                          <a:pt x="502" y="282"/>
                        </a:lnTo>
                        <a:lnTo>
                          <a:pt x="502" y="288"/>
                        </a:lnTo>
                        <a:lnTo>
                          <a:pt x="503" y="290"/>
                        </a:lnTo>
                        <a:lnTo>
                          <a:pt x="508" y="290"/>
                        </a:lnTo>
                        <a:lnTo>
                          <a:pt x="509" y="293"/>
                        </a:lnTo>
                        <a:lnTo>
                          <a:pt x="504" y="298"/>
                        </a:lnTo>
                        <a:lnTo>
                          <a:pt x="503" y="309"/>
                        </a:lnTo>
                        <a:lnTo>
                          <a:pt x="504" y="309"/>
                        </a:lnTo>
                        <a:lnTo>
                          <a:pt x="507" y="308"/>
                        </a:lnTo>
                        <a:lnTo>
                          <a:pt x="509" y="308"/>
                        </a:lnTo>
                        <a:lnTo>
                          <a:pt x="510" y="310"/>
                        </a:lnTo>
                        <a:lnTo>
                          <a:pt x="515" y="314"/>
                        </a:lnTo>
                        <a:lnTo>
                          <a:pt x="516" y="317"/>
                        </a:lnTo>
                        <a:lnTo>
                          <a:pt x="514" y="321"/>
                        </a:lnTo>
                        <a:lnTo>
                          <a:pt x="493" y="325"/>
                        </a:lnTo>
                        <a:lnTo>
                          <a:pt x="467" y="342"/>
                        </a:lnTo>
                        <a:lnTo>
                          <a:pt x="461" y="342"/>
                        </a:lnTo>
                        <a:lnTo>
                          <a:pt x="446" y="348"/>
                        </a:lnTo>
                        <a:lnTo>
                          <a:pt x="436" y="355"/>
                        </a:lnTo>
                        <a:lnTo>
                          <a:pt x="433" y="363"/>
                        </a:lnTo>
                        <a:lnTo>
                          <a:pt x="433" y="365"/>
                        </a:lnTo>
                        <a:lnTo>
                          <a:pt x="430" y="371"/>
                        </a:lnTo>
                        <a:lnTo>
                          <a:pt x="424" y="376"/>
                        </a:lnTo>
                        <a:lnTo>
                          <a:pt x="418" y="381"/>
                        </a:lnTo>
                        <a:lnTo>
                          <a:pt x="401" y="389"/>
                        </a:lnTo>
                        <a:lnTo>
                          <a:pt x="385" y="391"/>
                        </a:lnTo>
                        <a:lnTo>
                          <a:pt x="376" y="391"/>
                        </a:lnTo>
                        <a:lnTo>
                          <a:pt x="371" y="394"/>
                        </a:lnTo>
                        <a:lnTo>
                          <a:pt x="354" y="392"/>
                        </a:lnTo>
                        <a:lnTo>
                          <a:pt x="353" y="396"/>
                        </a:lnTo>
                        <a:lnTo>
                          <a:pt x="353" y="405"/>
                        </a:lnTo>
                        <a:lnTo>
                          <a:pt x="350" y="406"/>
                        </a:lnTo>
                        <a:lnTo>
                          <a:pt x="342" y="406"/>
                        </a:lnTo>
                        <a:lnTo>
                          <a:pt x="337" y="403"/>
                        </a:lnTo>
                        <a:lnTo>
                          <a:pt x="330" y="405"/>
                        </a:lnTo>
                        <a:lnTo>
                          <a:pt x="323" y="403"/>
                        </a:lnTo>
                        <a:lnTo>
                          <a:pt x="319" y="407"/>
                        </a:lnTo>
                        <a:lnTo>
                          <a:pt x="312" y="413"/>
                        </a:lnTo>
                        <a:lnTo>
                          <a:pt x="306" y="417"/>
                        </a:lnTo>
                        <a:lnTo>
                          <a:pt x="299" y="423"/>
                        </a:lnTo>
                        <a:lnTo>
                          <a:pt x="287" y="423"/>
                        </a:lnTo>
                        <a:lnTo>
                          <a:pt x="266" y="437"/>
                        </a:lnTo>
                        <a:lnTo>
                          <a:pt x="240" y="457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69" name="Freeform 19"/>
                  <p:cNvSpPr>
                    <a:spLocks/>
                  </p:cNvSpPr>
                  <p:nvPr/>
                </p:nvSpPr>
                <p:spPr bwMode="gray">
                  <a:xfrm>
                    <a:off x="2966" y="2356"/>
                    <a:ext cx="112" cy="148"/>
                  </a:xfrm>
                  <a:custGeom>
                    <a:avLst/>
                    <a:gdLst>
                      <a:gd name="T0" fmla="*/ 0 w 561"/>
                      <a:gd name="T1" fmla="*/ 28 h 740"/>
                      <a:gd name="T2" fmla="*/ 0 w 561"/>
                      <a:gd name="T3" fmla="*/ 24 h 740"/>
                      <a:gd name="T4" fmla="*/ 0 w 561"/>
                      <a:gd name="T5" fmla="*/ 20 h 740"/>
                      <a:gd name="T6" fmla="*/ 2 w 561"/>
                      <a:gd name="T7" fmla="*/ 17 h 740"/>
                      <a:gd name="T8" fmla="*/ 4 w 561"/>
                      <a:gd name="T9" fmla="*/ 17 h 740"/>
                      <a:gd name="T10" fmla="*/ 6 w 561"/>
                      <a:gd name="T11" fmla="*/ 15 h 740"/>
                      <a:gd name="T12" fmla="*/ 12 w 561"/>
                      <a:gd name="T13" fmla="*/ 12 h 740"/>
                      <a:gd name="T14" fmla="*/ 15 w 561"/>
                      <a:gd name="T15" fmla="*/ 8 h 740"/>
                      <a:gd name="T16" fmla="*/ 7 w 561"/>
                      <a:gd name="T17" fmla="*/ 6 h 740"/>
                      <a:gd name="T18" fmla="*/ 5 w 561"/>
                      <a:gd name="T19" fmla="*/ 5 h 740"/>
                      <a:gd name="T20" fmla="*/ 5 w 561"/>
                      <a:gd name="T21" fmla="*/ 4 h 740"/>
                      <a:gd name="T22" fmla="*/ 4 w 561"/>
                      <a:gd name="T23" fmla="*/ 4 h 740"/>
                      <a:gd name="T24" fmla="*/ 4 w 561"/>
                      <a:gd name="T25" fmla="*/ 2 h 740"/>
                      <a:gd name="T26" fmla="*/ 5 w 561"/>
                      <a:gd name="T27" fmla="*/ 1 h 740"/>
                      <a:gd name="T28" fmla="*/ 5 w 561"/>
                      <a:gd name="T29" fmla="*/ 1 h 740"/>
                      <a:gd name="T30" fmla="*/ 6 w 561"/>
                      <a:gd name="T31" fmla="*/ 2 h 740"/>
                      <a:gd name="T32" fmla="*/ 7 w 561"/>
                      <a:gd name="T33" fmla="*/ 3 h 740"/>
                      <a:gd name="T34" fmla="*/ 9 w 561"/>
                      <a:gd name="T35" fmla="*/ 3 h 740"/>
                      <a:gd name="T36" fmla="*/ 10 w 561"/>
                      <a:gd name="T37" fmla="*/ 3 h 740"/>
                      <a:gd name="T38" fmla="*/ 10 w 561"/>
                      <a:gd name="T39" fmla="*/ 2 h 740"/>
                      <a:gd name="T40" fmla="*/ 11 w 561"/>
                      <a:gd name="T41" fmla="*/ 2 h 740"/>
                      <a:gd name="T42" fmla="*/ 12 w 561"/>
                      <a:gd name="T43" fmla="*/ 3 h 740"/>
                      <a:gd name="T44" fmla="*/ 13 w 561"/>
                      <a:gd name="T45" fmla="*/ 2 h 740"/>
                      <a:gd name="T46" fmla="*/ 13 w 561"/>
                      <a:gd name="T47" fmla="*/ 2 h 740"/>
                      <a:gd name="T48" fmla="*/ 15 w 561"/>
                      <a:gd name="T49" fmla="*/ 2 h 740"/>
                      <a:gd name="T50" fmla="*/ 16 w 561"/>
                      <a:gd name="T51" fmla="*/ 2 h 740"/>
                      <a:gd name="T52" fmla="*/ 17 w 561"/>
                      <a:gd name="T53" fmla="*/ 1 h 740"/>
                      <a:gd name="T54" fmla="*/ 18 w 561"/>
                      <a:gd name="T55" fmla="*/ 1 h 740"/>
                      <a:gd name="T56" fmla="*/ 19 w 561"/>
                      <a:gd name="T57" fmla="*/ 1 h 740"/>
                      <a:gd name="T58" fmla="*/ 20 w 561"/>
                      <a:gd name="T59" fmla="*/ 1 h 740"/>
                      <a:gd name="T60" fmla="*/ 21 w 561"/>
                      <a:gd name="T61" fmla="*/ 0 h 740"/>
                      <a:gd name="T62" fmla="*/ 22 w 561"/>
                      <a:gd name="T63" fmla="*/ 0 h 740"/>
                      <a:gd name="T64" fmla="*/ 22 w 561"/>
                      <a:gd name="T65" fmla="*/ 1 h 740"/>
                      <a:gd name="T66" fmla="*/ 22 w 561"/>
                      <a:gd name="T67" fmla="*/ 2 h 740"/>
                      <a:gd name="T68" fmla="*/ 22 w 561"/>
                      <a:gd name="T69" fmla="*/ 2 h 740"/>
                      <a:gd name="T70" fmla="*/ 22 w 561"/>
                      <a:gd name="T71" fmla="*/ 3 h 740"/>
                      <a:gd name="T72" fmla="*/ 22 w 561"/>
                      <a:gd name="T73" fmla="*/ 3 h 740"/>
                      <a:gd name="T74" fmla="*/ 22 w 561"/>
                      <a:gd name="T75" fmla="*/ 3 h 740"/>
                      <a:gd name="T76" fmla="*/ 22 w 561"/>
                      <a:gd name="T77" fmla="*/ 4 h 740"/>
                      <a:gd name="T78" fmla="*/ 22 w 561"/>
                      <a:gd name="T79" fmla="*/ 4 h 740"/>
                      <a:gd name="T80" fmla="*/ 22 w 561"/>
                      <a:gd name="T81" fmla="*/ 4 h 740"/>
                      <a:gd name="T82" fmla="*/ 21 w 561"/>
                      <a:gd name="T83" fmla="*/ 6 h 740"/>
                      <a:gd name="T84" fmla="*/ 21 w 561"/>
                      <a:gd name="T85" fmla="*/ 7 h 740"/>
                      <a:gd name="T86" fmla="*/ 20 w 561"/>
                      <a:gd name="T87" fmla="*/ 8 h 740"/>
                      <a:gd name="T88" fmla="*/ 19 w 561"/>
                      <a:gd name="T89" fmla="*/ 9 h 740"/>
                      <a:gd name="T90" fmla="*/ 19 w 561"/>
                      <a:gd name="T91" fmla="*/ 9 h 740"/>
                      <a:gd name="T92" fmla="*/ 18 w 561"/>
                      <a:gd name="T93" fmla="*/ 12 h 740"/>
                      <a:gd name="T94" fmla="*/ 17 w 561"/>
                      <a:gd name="T95" fmla="*/ 14 h 740"/>
                      <a:gd name="T96" fmla="*/ 17 w 561"/>
                      <a:gd name="T97" fmla="*/ 14 h 740"/>
                      <a:gd name="T98" fmla="*/ 16 w 561"/>
                      <a:gd name="T99" fmla="*/ 16 h 740"/>
                      <a:gd name="T100" fmla="*/ 15 w 561"/>
                      <a:gd name="T101" fmla="*/ 16 h 740"/>
                      <a:gd name="T102" fmla="*/ 14 w 561"/>
                      <a:gd name="T103" fmla="*/ 17 h 740"/>
                      <a:gd name="T104" fmla="*/ 13 w 561"/>
                      <a:gd name="T105" fmla="*/ 18 h 740"/>
                      <a:gd name="T106" fmla="*/ 12 w 561"/>
                      <a:gd name="T107" fmla="*/ 20 h 740"/>
                      <a:gd name="T108" fmla="*/ 11 w 561"/>
                      <a:gd name="T109" fmla="*/ 21 h 740"/>
                      <a:gd name="T110" fmla="*/ 10 w 561"/>
                      <a:gd name="T111" fmla="*/ 22 h 740"/>
                      <a:gd name="T112" fmla="*/ 9 w 561"/>
                      <a:gd name="T113" fmla="*/ 22 h 740"/>
                      <a:gd name="T114" fmla="*/ 5 w 561"/>
                      <a:gd name="T115" fmla="*/ 26 h 740"/>
                      <a:gd name="T116" fmla="*/ 4 w 561"/>
                      <a:gd name="T117" fmla="*/ 27 h 740"/>
                      <a:gd name="T118" fmla="*/ 3 w 561"/>
                      <a:gd name="T119" fmla="*/ 27 h 740"/>
                      <a:gd name="T120" fmla="*/ 3 w 561"/>
                      <a:gd name="T121" fmla="*/ 27 h 740"/>
                      <a:gd name="T122" fmla="*/ 2 w 561"/>
                      <a:gd name="T123" fmla="*/ 28 h 740"/>
                      <a:gd name="T124" fmla="*/ 1 w 561"/>
                      <a:gd name="T125" fmla="*/ 30 h 740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60000 65536"/>
                      <a:gd name="T184" fmla="*/ 0 60000 65536"/>
                      <a:gd name="T185" fmla="*/ 0 60000 65536"/>
                      <a:gd name="T186" fmla="*/ 0 60000 65536"/>
                      <a:gd name="T187" fmla="*/ 0 60000 65536"/>
                      <a:gd name="T188" fmla="*/ 0 60000 65536"/>
                      <a:gd name="T189" fmla="*/ 0 w 561"/>
                      <a:gd name="T190" fmla="*/ 0 h 740"/>
                      <a:gd name="T191" fmla="*/ 561 w 561"/>
                      <a:gd name="T192" fmla="*/ 740 h 740"/>
                    </a:gdLst>
                    <a:ahLst/>
                    <a:cxnLst>
                      <a:cxn ang="T126">
                        <a:pos x="T0" y="T1"/>
                      </a:cxn>
                      <a:cxn ang="T127">
                        <a:pos x="T2" y="T3"/>
                      </a:cxn>
                      <a:cxn ang="T128">
                        <a:pos x="T4" y="T5"/>
                      </a:cxn>
                      <a:cxn ang="T129">
                        <a:pos x="T6" y="T7"/>
                      </a:cxn>
                      <a:cxn ang="T130">
                        <a:pos x="T8" y="T9"/>
                      </a:cxn>
                      <a:cxn ang="T131">
                        <a:pos x="T10" y="T11"/>
                      </a:cxn>
                      <a:cxn ang="T132">
                        <a:pos x="T12" y="T13"/>
                      </a:cxn>
                      <a:cxn ang="T133">
                        <a:pos x="T14" y="T15"/>
                      </a:cxn>
                      <a:cxn ang="T134">
                        <a:pos x="T16" y="T17"/>
                      </a:cxn>
                      <a:cxn ang="T135">
                        <a:pos x="T18" y="T19"/>
                      </a:cxn>
                      <a:cxn ang="T136">
                        <a:pos x="T20" y="T21"/>
                      </a:cxn>
                      <a:cxn ang="T137">
                        <a:pos x="T22" y="T23"/>
                      </a:cxn>
                      <a:cxn ang="T138">
                        <a:pos x="T24" y="T25"/>
                      </a:cxn>
                      <a:cxn ang="T139">
                        <a:pos x="T26" y="T27"/>
                      </a:cxn>
                      <a:cxn ang="T140">
                        <a:pos x="T28" y="T29"/>
                      </a:cxn>
                      <a:cxn ang="T141">
                        <a:pos x="T30" y="T31"/>
                      </a:cxn>
                      <a:cxn ang="T142">
                        <a:pos x="T32" y="T33"/>
                      </a:cxn>
                      <a:cxn ang="T143">
                        <a:pos x="T34" y="T35"/>
                      </a:cxn>
                      <a:cxn ang="T144">
                        <a:pos x="T36" y="T37"/>
                      </a:cxn>
                      <a:cxn ang="T145">
                        <a:pos x="T38" y="T39"/>
                      </a:cxn>
                      <a:cxn ang="T146">
                        <a:pos x="T40" y="T41"/>
                      </a:cxn>
                      <a:cxn ang="T147">
                        <a:pos x="T42" y="T43"/>
                      </a:cxn>
                      <a:cxn ang="T148">
                        <a:pos x="T44" y="T45"/>
                      </a:cxn>
                      <a:cxn ang="T149">
                        <a:pos x="T46" y="T47"/>
                      </a:cxn>
                      <a:cxn ang="T150">
                        <a:pos x="T48" y="T49"/>
                      </a:cxn>
                      <a:cxn ang="T151">
                        <a:pos x="T50" y="T51"/>
                      </a:cxn>
                      <a:cxn ang="T152">
                        <a:pos x="T52" y="T53"/>
                      </a:cxn>
                      <a:cxn ang="T153">
                        <a:pos x="T54" y="T55"/>
                      </a:cxn>
                      <a:cxn ang="T154">
                        <a:pos x="T56" y="T57"/>
                      </a:cxn>
                      <a:cxn ang="T155">
                        <a:pos x="T58" y="T59"/>
                      </a:cxn>
                      <a:cxn ang="T156">
                        <a:pos x="T60" y="T61"/>
                      </a:cxn>
                      <a:cxn ang="T157">
                        <a:pos x="T62" y="T63"/>
                      </a:cxn>
                      <a:cxn ang="T158">
                        <a:pos x="T64" y="T65"/>
                      </a:cxn>
                      <a:cxn ang="T159">
                        <a:pos x="T66" y="T67"/>
                      </a:cxn>
                      <a:cxn ang="T160">
                        <a:pos x="T68" y="T69"/>
                      </a:cxn>
                      <a:cxn ang="T161">
                        <a:pos x="T70" y="T71"/>
                      </a:cxn>
                      <a:cxn ang="T162">
                        <a:pos x="T72" y="T73"/>
                      </a:cxn>
                      <a:cxn ang="T163">
                        <a:pos x="T74" y="T75"/>
                      </a:cxn>
                      <a:cxn ang="T164">
                        <a:pos x="T76" y="T77"/>
                      </a:cxn>
                      <a:cxn ang="T165">
                        <a:pos x="T78" y="T79"/>
                      </a:cxn>
                      <a:cxn ang="T166">
                        <a:pos x="T80" y="T81"/>
                      </a:cxn>
                      <a:cxn ang="T167">
                        <a:pos x="T82" y="T83"/>
                      </a:cxn>
                      <a:cxn ang="T168">
                        <a:pos x="T84" y="T85"/>
                      </a:cxn>
                      <a:cxn ang="T169">
                        <a:pos x="T86" y="T87"/>
                      </a:cxn>
                      <a:cxn ang="T170">
                        <a:pos x="T88" y="T89"/>
                      </a:cxn>
                      <a:cxn ang="T171">
                        <a:pos x="T90" y="T91"/>
                      </a:cxn>
                      <a:cxn ang="T172">
                        <a:pos x="T92" y="T93"/>
                      </a:cxn>
                      <a:cxn ang="T173">
                        <a:pos x="T94" y="T95"/>
                      </a:cxn>
                      <a:cxn ang="T174">
                        <a:pos x="T96" y="T97"/>
                      </a:cxn>
                      <a:cxn ang="T175">
                        <a:pos x="T98" y="T99"/>
                      </a:cxn>
                      <a:cxn ang="T176">
                        <a:pos x="T100" y="T101"/>
                      </a:cxn>
                      <a:cxn ang="T177">
                        <a:pos x="T102" y="T103"/>
                      </a:cxn>
                      <a:cxn ang="T178">
                        <a:pos x="T104" y="T105"/>
                      </a:cxn>
                      <a:cxn ang="T179">
                        <a:pos x="T106" y="T107"/>
                      </a:cxn>
                      <a:cxn ang="T180">
                        <a:pos x="T108" y="T109"/>
                      </a:cxn>
                      <a:cxn ang="T181">
                        <a:pos x="T110" y="T111"/>
                      </a:cxn>
                      <a:cxn ang="T182">
                        <a:pos x="T112" y="T113"/>
                      </a:cxn>
                      <a:cxn ang="T183">
                        <a:pos x="T114" y="T115"/>
                      </a:cxn>
                      <a:cxn ang="T184">
                        <a:pos x="T116" y="T117"/>
                      </a:cxn>
                      <a:cxn ang="T185">
                        <a:pos x="T118" y="T119"/>
                      </a:cxn>
                      <a:cxn ang="T186">
                        <a:pos x="T120" y="T121"/>
                      </a:cxn>
                      <a:cxn ang="T187">
                        <a:pos x="T122" y="T123"/>
                      </a:cxn>
                      <a:cxn ang="T188">
                        <a:pos x="T124" y="T125"/>
                      </a:cxn>
                    </a:cxnLst>
                    <a:rect l="T189" t="T190" r="T191" b="T192"/>
                    <a:pathLst>
                      <a:path w="561" h="740">
                        <a:moveTo>
                          <a:pt x="30" y="740"/>
                        </a:moveTo>
                        <a:lnTo>
                          <a:pt x="29" y="737"/>
                        </a:lnTo>
                        <a:lnTo>
                          <a:pt x="6" y="708"/>
                        </a:lnTo>
                        <a:lnTo>
                          <a:pt x="0" y="700"/>
                        </a:lnTo>
                        <a:lnTo>
                          <a:pt x="0" y="657"/>
                        </a:lnTo>
                        <a:lnTo>
                          <a:pt x="0" y="604"/>
                        </a:lnTo>
                        <a:lnTo>
                          <a:pt x="0" y="551"/>
                        </a:lnTo>
                        <a:lnTo>
                          <a:pt x="0" y="498"/>
                        </a:lnTo>
                        <a:lnTo>
                          <a:pt x="3" y="496"/>
                        </a:lnTo>
                        <a:lnTo>
                          <a:pt x="25" y="474"/>
                        </a:lnTo>
                        <a:lnTo>
                          <a:pt x="46" y="442"/>
                        </a:lnTo>
                        <a:lnTo>
                          <a:pt x="48" y="437"/>
                        </a:lnTo>
                        <a:lnTo>
                          <a:pt x="51" y="433"/>
                        </a:lnTo>
                        <a:lnTo>
                          <a:pt x="66" y="426"/>
                        </a:lnTo>
                        <a:lnTo>
                          <a:pt x="102" y="414"/>
                        </a:lnTo>
                        <a:lnTo>
                          <a:pt x="114" y="401"/>
                        </a:lnTo>
                        <a:lnTo>
                          <a:pt x="127" y="393"/>
                        </a:lnTo>
                        <a:lnTo>
                          <a:pt x="148" y="384"/>
                        </a:lnTo>
                        <a:lnTo>
                          <a:pt x="157" y="379"/>
                        </a:lnTo>
                        <a:lnTo>
                          <a:pt x="221" y="379"/>
                        </a:lnTo>
                        <a:lnTo>
                          <a:pt x="302" y="297"/>
                        </a:lnTo>
                        <a:lnTo>
                          <a:pt x="373" y="227"/>
                        </a:lnTo>
                        <a:lnTo>
                          <a:pt x="383" y="215"/>
                        </a:lnTo>
                        <a:lnTo>
                          <a:pt x="384" y="212"/>
                        </a:lnTo>
                        <a:lnTo>
                          <a:pt x="331" y="213"/>
                        </a:lnTo>
                        <a:lnTo>
                          <a:pt x="244" y="181"/>
                        </a:lnTo>
                        <a:lnTo>
                          <a:pt x="166" y="154"/>
                        </a:lnTo>
                        <a:lnTo>
                          <a:pt x="159" y="147"/>
                        </a:lnTo>
                        <a:lnTo>
                          <a:pt x="140" y="132"/>
                        </a:lnTo>
                        <a:lnTo>
                          <a:pt x="132" y="122"/>
                        </a:lnTo>
                        <a:lnTo>
                          <a:pt x="126" y="116"/>
                        </a:lnTo>
                        <a:lnTo>
                          <a:pt x="124" y="110"/>
                        </a:lnTo>
                        <a:lnTo>
                          <a:pt x="119" y="107"/>
                        </a:lnTo>
                        <a:lnTo>
                          <a:pt x="113" y="100"/>
                        </a:lnTo>
                        <a:lnTo>
                          <a:pt x="110" y="95"/>
                        </a:lnTo>
                        <a:lnTo>
                          <a:pt x="103" y="88"/>
                        </a:lnTo>
                        <a:lnTo>
                          <a:pt x="98" y="65"/>
                        </a:lnTo>
                        <a:lnTo>
                          <a:pt x="99" y="60"/>
                        </a:lnTo>
                        <a:lnTo>
                          <a:pt x="103" y="55"/>
                        </a:lnTo>
                        <a:lnTo>
                          <a:pt x="105" y="49"/>
                        </a:lnTo>
                        <a:lnTo>
                          <a:pt x="115" y="37"/>
                        </a:lnTo>
                        <a:lnTo>
                          <a:pt x="120" y="25"/>
                        </a:lnTo>
                        <a:lnTo>
                          <a:pt x="123" y="23"/>
                        </a:lnTo>
                        <a:lnTo>
                          <a:pt x="125" y="27"/>
                        </a:lnTo>
                        <a:lnTo>
                          <a:pt x="130" y="29"/>
                        </a:lnTo>
                        <a:lnTo>
                          <a:pt x="135" y="38"/>
                        </a:lnTo>
                        <a:lnTo>
                          <a:pt x="140" y="41"/>
                        </a:lnTo>
                        <a:lnTo>
                          <a:pt x="151" y="57"/>
                        </a:lnTo>
                        <a:lnTo>
                          <a:pt x="167" y="73"/>
                        </a:lnTo>
                        <a:lnTo>
                          <a:pt x="179" y="82"/>
                        </a:lnTo>
                        <a:lnTo>
                          <a:pt x="186" y="84"/>
                        </a:lnTo>
                        <a:lnTo>
                          <a:pt x="193" y="82"/>
                        </a:lnTo>
                        <a:lnTo>
                          <a:pt x="215" y="83"/>
                        </a:lnTo>
                        <a:lnTo>
                          <a:pt x="222" y="77"/>
                        </a:lnTo>
                        <a:lnTo>
                          <a:pt x="231" y="72"/>
                        </a:lnTo>
                        <a:lnTo>
                          <a:pt x="238" y="70"/>
                        </a:lnTo>
                        <a:lnTo>
                          <a:pt x="248" y="64"/>
                        </a:lnTo>
                        <a:lnTo>
                          <a:pt x="253" y="62"/>
                        </a:lnTo>
                        <a:lnTo>
                          <a:pt x="255" y="60"/>
                        </a:lnTo>
                        <a:lnTo>
                          <a:pt x="258" y="57"/>
                        </a:lnTo>
                        <a:lnTo>
                          <a:pt x="260" y="57"/>
                        </a:lnTo>
                        <a:lnTo>
                          <a:pt x="265" y="61"/>
                        </a:lnTo>
                        <a:lnTo>
                          <a:pt x="269" y="61"/>
                        </a:lnTo>
                        <a:lnTo>
                          <a:pt x="271" y="62"/>
                        </a:lnTo>
                        <a:lnTo>
                          <a:pt x="283" y="61"/>
                        </a:lnTo>
                        <a:lnTo>
                          <a:pt x="291" y="67"/>
                        </a:lnTo>
                        <a:lnTo>
                          <a:pt x="302" y="67"/>
                        </a:lnTo>
                        <a:lnTo>
                          <a:pt x="312" y="65"/>
                        </a:lnTo>
                        <a:lnTo>
                          <a:pt x="317" y="61"/>
                        </a:lnTo>
                        <a:lnTo>
                          <a:pt x="322" y="56"/>
                        </a:lnTo>
                        <a:lnTo>
                          <a:pt x="331" y="54"/>
                        </a:lnTo>
                        <a:lnTo>
                          <a:pt x="336" y="48"/>
                        </a:lnTo>
                        <a:lnTo>
                          <a:pt x="342" y="44"/>
                        </a:lnTo>
                        <a:lnTo>
                          <a:pt x="353" y="41"/>
                        </a:lnTo>
                        <a:lnTo>
                          <a:pt x="365" y="46"/>
                        </a:lnTo>
                        <a:lnTo>
                          <a:pt x="372" y="45"/>
                        </a:lnTo>
                        <a:lnTo>
                          <a:pt x="382" y="44"/>
                        </a:lnTo>
                        <a:lnTo>
                          <a:pt x="393" y="43"/>
                        </a:lnTo>
                        <a:lnTo>
                          <a:pt x="398" y="41"/>
                        </a:lnTo>
                        <a:lnTo>
                          <a:pt x="411" y="33"/>
                        </a:lnTo>
                        <a:lnTo>
                          <a:pt x="417" y="33"/>
                        </a:lnTo>
                        <a:lnTo>
                          <a:pt x="430" y="37"/>
                        </a:lnTo>
                        <a:lnTo>
                          <a:pt x="447" y="29"/>
                        </a:lnTo>
                        <a:lnTo>
                          <a:pt x="451" y="28"/>
                        </a:lnTo>
                        <a:lnTo>
                          <a:pt x="458" y="29"/>
                        </a:lnTo>
                        <a:lnTo>
                          <a:pt x="462" y="24"/>
                        </a:lnTo>
                        <a:lnTo>
                          <a:pt x="473" y="25"/>
                        </a:lnTo>
                        <a:lnTo>
                          <a:pt x="481" y="24"/>
                        </a:lnTo>
                        <a:lnTo>
                          <a:pt x="496" y="21"/>
                        </a:lnTo>
                        <a:lnTo>
                          <a:pt x="501" y="17"/>
                        </a:lnTo>
                        <a:lnTo>
                          <a:pt x="514" y="12"/>
                        </a:lnTo>
                        <a:lnTo>
                          <a:pt x="518" y="2"/>
                        </a:lnTo>
                        <a:lnTo>
                          <a:pt x="527" y="0"/>
                        </a:lnTo>
                        <a:lnTo>
                          <a:pt x="535" y="0"/>
                        </a:lnTo>
                        <a:lnTo>
                          <a:pt x="546" y="7"/>
                        </a:lnTo>
                        <a:lnTo>
                          <a:pt x="555" y="7"/>
                        </a:lnTo>
                        <a:lnTo>
                          <a:pt x="556" y="8"/>
                        </a:lnTo>
                        <a:lnTo>
                          <a:pt x="555" y="14"/>
                        </a:lnTo>
                        <a:lnTo>
                          <a:pt x="555" y="19"/>
                        </a:lnTo>
                        <a:lnTo>
                          <a:pt x="549" y="27"/>
                        </a:lnTo>
                        <a:lnTo>
                          <a:pt x="548" y="33"/>
                        </a:lnTo>
                        <a:lnTo>
                          <a:pt x="548" y="41"/>
                        </a:lnTo>
                        <a:lnTo>
                          <a:pt x="554" y="46"/>
                        </a:lnTo>
                        <a:lnTo>
                          <a:pt x="551" y="52"/>
                        </a:lnTo>
                        <a:lnTo>
                          <a:pt x="552" y="59"/>
                        </a:lnTo>
                        <a:lnTo>
                          <a:pt x="551" y="66"/>
                        </a:lnTo>
                        <a:lnTo>
                          <a:pt x="552" y="75"/>
                        </a:lnTo>
                        <a:lnTo>
                          <a:pt x="551" y="78"/>
                        </a:lnTo>
                        <a:lnTo>
                          <a:pt x="544" y="83"/>
                        </a:lnTo>
                        <a:lnTo>
                          <a:pt x="545" y="86"/>
                        </a:lnTo>
                        <a:lnTo>
                          <a:pt x="551" y="84"/>
                        </a:lnTo>
                        <a:lnTo>
                          <a:pt x="552" y="82"/>
                        </a:lnTo>
                        <a:lnTo>
                          <a:pt x="554" y="82"/>
                        </a:lnTo>
                        <a:lnTo>
                          <a:pt x="556" y="84"/>
                        </a:lnTo>
                        <a:lnTo>
                          <a:pt x="561" y="86"/>
                        </a:lnTo>
                        <a:lnTo>
                          <a:pt x="561" y="89"/>
                        </a:lnTo>
                        <a:lnTo>
                          <a:pt x="560" y="91"/>
                        </a:lnTo>
                        <a:lnTo>
                          <a:pt x="559" y="91"/>
                        </a:lnTo>
                        <a:lnTo>
                          <a:pt x="552" y="88"/>
                        </a:lnTo>
                        <a:lnTo>
                          <a:pt x="545" y="88"/>
                        </a:lnTo>
                        <a:lnTo>
                          <a:pt x="540" y="91"/>
                        </a:lnTo>
                        <a:lnTo>
                          <a:pt x="539" y="92"/>
                        </a:lnTo>
                        <a:lnTo>
                          <a:pt x="539" y="99"/>
                        </a:lnTo>
                        <a:lnTo>
                          <a:pt x="533" y="125"/>
                        </a:lnTo>
                        <a:lnTo>
                          <a:pt x="533" y="141"/>
                        </a:lnTo>
                        <a:lnTo>
                          <a:pt x="530" y="145"/>
                        </a:lnTo>
                        <a:lnTo>
                          <a:pt x="528" y="156"/>
                        </a:lnTo>
                        <a:lnTo>
                          <a:pt x="524" y="159"/>
                        </a:lnTo>
                        <a:lnTo>
                          <a:pt x="518" y="164"/>
                        </a:lnTo>
                        <a:lnTo>
                          <a:pt x="511" y="181"/>
                        </a:lnTo>
                        <a:lnTo>
                          <a:pt x="502" y="190"/>
                        </a:lnTo>
                        <a:lnTo>
                          <a:pt x="497" y="202"/>
                        </a:lnTo>
                        <a:lnTo>
                          <a:pt x="497" y="204"/>
                        </a:lnTo>
                        <a:lnTo>
                          <a:pt x="492" y="207"/>
                        </a:lnTo>
                        <a:lnTo>
                          <a:pt x="485" y="215"/>
                        </a:lnTo>
                        <a:lnTo>
                          <a:pt x="482" y="220"/>
                        </a:lnTo>
                        <a:lnTo>
                          <a:pt x="480" y="226"/>
                        </a:lnTo>
                        <a:lnTo>
                          <a:pt x="479" y="237"/>
                        </a:lnTo>
                        <a:lnTo>
                          <a:pt x="462" y="271"/>
                        </a:lnTo>
                        <a:lnTo>
                          <a:pt x="447" y="296"/>
                        </a:lnTo>
                        <a:lnTo>
                          <a:pt x="444" y="303"/>
                        </a:lnTo>
                        <a:lnTo>
                          <a:pt x="438" y="325"/>
                        </a:lnTo>
                        <a:lnTo>
                          <a:pt x="431" y="344"/>
                        </a:lnTo>
                        <a:lnTo>
                          <a:pt x="422" y="351"/>
                        </a:lnTo>
                        <a:lnTo>
                          <a:pt x="419" y="353"/>
                        </a:lnTo>
                        <a:lnTo>
                          <a:pt x="416" y="357"/>
                        </a:lnTo>
                        <a:lnTo>
                          <a:pt x="414" y="358"/>
                        </a:lnTo>
                        <a:lnTo>
                          <a:pt x="409" y="363"/>
                        </a:lnTo>
                        <a:lnTo>
                          <a:pt x="394" y="378"/>
                        </a:lnTo>
                        <a:lnTo>
                          <a:pt x="389" y="389"/>
                        </a:lnTo>
                        <a:lnTo>
                          <a:pt x="389" y="390"/>
                        </a:lnTo>
                        <a:lnTo>
                          <a:pt x="388" y="395"/>
                        </a:lnTo>
                        <a:lnTo>
                          <a:pt x="382" y="405"/>
                        </a:lnTo>
                        <a:lnTo>
                          <a:pt x="373" y="420"/>
                        </a:lnTo>
                        <a:lnTo>
                          <a:pt x="362" y="432"/>
                        </a:lnTo>
                        <a:lnTo>
                          <a:pt x="363" y="432"/>
                        </a:lnTo>
                        <a:lnTo>
                          <a:pt x="352" y="442"/>
                        </a:lnTo>
                        <a:lnTo>
                          <a:pt x="340" y="453"/>
                        </a:lnTo>
                        <a:lnTo>
                          <a:pt x="334" y="461"/>
                        </a:lnTo>
                        <a:lnTo>
                          <a:pt x="323" y="474"/>
                        </a:lnTo>
                        <a:lnTo>
                          <a:pt x="306" y="486"/>
                        </a:lnTo>
                        <a:lnTo>
                          <a:pt x="297" y="492"/>
                        </a:lnTo>
                        <a:lnTo>
                          <a:pt x="297" y="495"/>
                        </a:lnTo>
                        <a:lnTo>
                          <a:pt x="290" y="506"/>
                        </a:lnTo>
                        <a:lnTo>
                          <a:pt x="277" y="520"/>
                        </a:lnTo>
                        <a:lnTo>
                          <a:pt x="264" y="532"/>
                        </a:lnTo>
                        <a:lnTo>
                          <a:pt x="249" y="541"/>
                        </a:lnTo>
                        <a:lnTo>
                          <a:pt x="243" y="545"/>
                        </a:lnTo>
                        <a:lnTo>
                          <a:pt x="231" y="549"/>
                        </a:lnTo>
                        <a:lnTo>
                          <a:pt x="223" y="550"/>
                        </a:lnTo>
                        <a:lnTo>
                          <a:pt x="216" y="554"/>
                        </a:lnTo>
                        <a:lnTo>
                          <a:pt x="193" y="572"/>
                        </a:lnTo>
                        <a:lnTo>
                          <a:pt x="139" y="620"/>
                        </a:lnTo>
                        <a:lnTo>
                          <a:pt x="120" y="640"/>
                        </a:lnTo>
                        <a:lnTo>
                          <a:pt x="113" y="648"/>
                        </a:lnTo>
                        <a:lnTo>
                          <a:pt x="103" y="659"/>
                        </a:lnTo>
                        <a:lnTo>
                          <a:pt x="91" y="663"/>
                        </a:lnTo>
                        <a:lnTo>
                          <a:pt x="87" y="660"/>
                        </a:lnTo>
                        <a:lnTo>
                          <a:pt x="84" y="665"/>
                        </a:lnTo>
                        <a:lnTo>
                          <a:pt x="87" y="665"/>
                        </a:lnTo>
                        <a:lnTo>
                          <a:pt x="88" y="669"/>
                        </a:lnTo>
                        <a:lnTo>
                          <a:pt x="87" y="672"/>
                        </a:lnTo>
                        <a:lnTo>
                          <a:pt x="83" y="674"/>
                        </a:lnTo>
                        <a:lnTo>
                          <a:pt x="81" y="681"/>
                        </a:lnTo>
                        <a:lnTo>
                          <a:pt x="75" y="691"/>
                        </a:lnTo>
                        <a:lnTo>
                          <a:pt x="61" y="705"/>
                        </a:lnTo>
                        <a:lnTo>
                          <a:pt x="50" y="718"/>
                        </a:lnTo>
                        <a:lnTo>
                          <a:pt x="37" y="730"/>
                        </a:lnTo>
                        <a:lnTo>
                          <a:pt x="32" y="739"/>
                        </a:lnTo>
                        <a:lnTo>
                          <a:pt x="30" y="740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70" name="Freeform 20"/>
                  <p:cNvSpPr>
                    <a:spLocks/>
                  </p:cNvSpPr>
                  <p:nvPr/>
                </p:nvSpPr>
                <p:spPr bwMode="gray">
                  <a:xfrm>
                    <a:off x="2756" y="2228"/>
                    <a:ext cx="181" cy="219"/>
                  </a:xfrm>
                  <a:custGeom>
                    <a:avLst/>
                    <a:gdLst>
                      <a:gd name="T0" fmla="*/ 5 w 907"/>
                      <a:gd name="T1" fmla="*/ 15 h 1097"/>
                      <a:gd name="T2" fmla="*/ 3 w 907"/>
                      <a:gd name="T3" fmla="*/ 17 h 1097"/>
                      <a:gd name="T4" fmla="*/ 2 w 907"/>
                      <a:gd name="T5" fmla="*/ 18 h 1097"/>
                      <a:gd name="T6" fmla="*/ 1 w 907"/>
                      <a:gd name="T7" fmla="*/ 20 h 1097"/>
                      <a:gd name="T8" fmla="*/ 1 w 907"/>
                      <a:gd name="T9" fmla="*/ 21 h 1097"/>
                      <a:gd name="T10" fmla="*/ 0 w 907"/>
                      <a:gd name="T11" fmla="*/ 23 h 1097"/>
                      <a:gd name="T12" fmla="*/ 0 w 907"/>
                      <a:gd name="T13" fmla="*/ 24 h 1097"/>
                      <a:gd name="T14" fmla="*/ 1 w 907"/>
                      <a:gd name="T15" fmla="*/ 25 h 1097"/>
                      <a:gd name="T16" fmla="*/ 2 w 907"/>
                      <a:gd name="T17" fmla="*/ 27 h 1097"/>
                      <a:gd name="T18" fmla="*/ 2 w 907"/>
                      <a:gd name="T19" fmla="*/ 28 h 1097"/>
                      <a:gd name="T20" fmla="*/ 4 w 907"/>
                      <a:gd name="T21" fmla="*/ 31 h 1097"/>
                      <a:gd name="T22" fmla="*/ 4 w 907"/>
                      <a:gd name="T23" fmla="*/ 33 h 1097"/>
                      <a:gd name="T24" fmla="*/ 6 w 907"/>
                      <a:gd name="T25" fmla="*/ 34 h 1097"/>
                      <a:gd name="T26" fmla="*/ 7 w 907"/>
                      <a:gd name="T27" fmla="*/ 35 h 1097"/>
                      <a:gd name="T28" fmla="*/ 9 w 907"/>
                      <a:gd name="T29" fmla="*/ 36 h 1097"/>
                      <a:gd name="T30" fmla="*/ 10 w 907"/>
                      <a:gd name="T31" fmla="*/ 38 h 1097"/>
                      <a:gd name="T32" fmla="*/ 12 w 907"/>
                      <a:gd name="T33" fmla="*/ 40 h 1097"/>
                      <a:gd name="T34" fmla="*/ 13 w 907"/>
                      <a:gd name="T35" fmla="*/ 41 h 1097"/>
                      <a:gd name="T36" fmla="*/ 15 w 907"/>
                      <a:gd name="T37" fmla="*/ 42 h 1097"/>
                      <a:gd name="T38" fmla="*/ 17 w 907"/>
                      <a:gd name="T39" fmla="*/ 42 h 1097"/>
                      <a:gd name="T40" fmla="*/ 19 w 907"/>
                      <a:gd name="T41" fmla="*/ 44 h 1097"/>
                      <a:gd name="T42" fmla="*/ 21 w 907"/>
                      <a:gd name="T43" fmla="*/ 44 h 1097"/>
                      <a:gd name="T44" fmla="*/ 22 w 907"/>
                      <a:gd name="T45" fmla="*/ 44 h 1097"/>
                      <a:gd name="T46" fmla="*/ 25 w 907"/>
                      <a:gd name="T47" fmla="*/ 43 h 1097"/>
                      <a:gd name="T48" fmla="*/ 26 w 907"/>
                      <a:gd name="T49" fmla="*/ 43 h 1097"/>
                      <a:gd name="T50" fmla="*/ 29 w 907"/>
                      <a:gd name="T51" fmla="*/ 42 h 1097"/>
                      <a:gd name="T52" fmla="*/ 31 w 907"/>
                      <a:gd name="T53" fmla="*/ 40 h 1097"/>
                      <a:gd name="T54" fmla="*/ 29 w 907"/>
                      <a:gd name="T55" fmla="*/ 39 h 1097"/>
                      <a:gd name="T56" fmla="*/ 28 w 907"/>
                      <a:gd name="T57" fmla="*/ 37 h 1097"/>
                      <a:gd name="T58" fmla="*/ 27 w 907"/>
                      <a:gd name="T59" fmla="*/ 36 h 1097"/>
                      <a:gd name="T60" fmla="*/ 25 w 907"/>
                      <a:gd name="T61" fmla="*/ 35 h 1097"/>
                      <a:gd name="T62" fmla="*/ 25 w 907"/>
                      <a:gd name="T63" fmla="*/ 34 h 1097"/>
                      <a:gd name="T64" fmla="*/ 26 w 907"/>
                      <a:gd name="T65" fmla="*/ 33 h 1097"/>
                      <a:gd name="T66" fmla="*/ 27 w 907"/>
                      <a:gd name="T67" fmla="*/ 30 h 1097"/>
                      <a:gd name="T68" fmla="*/ 27 w 907"/>
                      <a:gd name="T69" fmla="*/ 29 h 1097"/>
                      <a:gd name="T70" fmla="*/ 28 w 907"/>
                      <a:gd name="T71" fmla="*/ 28 h 1097"/>
                      <a:gd name="T72" fmla="*/ 29 w 907"/>
                      <a:gd name="T73" fmla="*/ 26 h 1097"/>
                      <a:gd name="T74" fmla="*/ 31 w 907"/>
                      <a:gd name="T75" fmla="*/ 23 h 1097"/>
                      <a:gd name="T76" fmla="*/ 32 w 907"/>
                      <a:gd name="T77" fmla="*/ 19 h 1097"/>
                      <a:gd name="T78" fmla="*/ 33 w 907"/>
                      <a:gd name="T79" fmla="*/ 15 h 1097"/>
                      <a:gd name="T80" fmla="*/ 34 w 907"/>
                      <a:gd name="T81" fmla="*/ 14 h 1097"/>
                      <a:gd name="T82" fmla="*/ 35 w 907"/>
                      <a:gd name="T83" fmla="*/ 13 h 1097"/>
                      <a:gd name="T84" fmla="*/ 36 w 907"/>
                      <a:gd name="T85" fmla="*/ 11 h 1097"/>
                      <a:gd name="T86" fmla="*/ 35 w 907"/>
                      <a:gd name="T87" fmla="*/ 11 h 1097"/>
                      <a:gd name="T88" fmla="*/ 34 w 907"/>
                      <a:gd name="T89" fmla="*/ 10 h 1097"/>
                      <a:gd name="T90" fmla="*/ 33 w 907"/>
                      <a:gd name="T91" fmla="*/ 6 h 1097"/>
                      <a:gd name="T92" fmla="*/ 33 w 907"/>
                      <a:gd name="T93" fmla="*/ 4 h 1097"/>
                      <a:gd name="T94" fmla="*/ 32 w 907"/>
                      <a:gd name="T95" fmla="*/ 2 h 1097"/>
                      <a:gd name="T96" fmla="*/ 30 w 907"/>
                      <a:gd name="T97" fmla="*/ 0 h 1097"/>
                      <a:gd name="T98" fmla="*/ 27 w 907"/>
                      <a:gd name="T99" fmla="*/ 2 h 1097"/>
                      <a:gd name="T100" fmla="*/ 21 w 907"/>
                      <a:gd name="T101" fmla="*/ 3 h 1097"/>
                      <a:gd name="T102" fmla="*/ 21 w 907"/>
                      <a:gd name="T103" fmla="*/ 2 h 1097"/>
                      <a:gd name="T104" fmla="*/ 15 w 907"/>
                      <a:gd name="T105" fmla="*/ 3 h 1097"/>
                      <a:gd name="T106" fmla="*/ 7 w 907"/>
                      <a:gd name="T107" fmla="*/ 3 h 1097"/>
                      <a:gd name="T108" fmla="*/ 5 w 907"/>
                      <a:gd name="T109" fmla="*/ 8 h 1097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w 907"/>
                      <a:gd name="T166" fmla="*/ 0 h 1097"/>
                      <a:gd name="T167" fmla="*/ 907 w 907"/>
                      <a:gd name="T168" fmla="*/ 1097 h 1097"/>
                    </a:gdLst>
                    <a:ahLst/>
                    <a:cxnLst>
                      <a:cxn ang="T110">
                        <a:pos x="T0" y="T1"/>
                      </a:cxn>
                      <a:cxn ang="T111">
                        <a:pos x="T2" y="T3"/>
                      </a:cxn>
                      <a:cxn ang="T112">
                        <a:pos x="T4" y="T5"/>
                      </a:cxn>
                      <a:cxn ang="T113">
                        <a:pos x="T6" y="T7"/>
                      </a:cxn>
                      <a:cxn ang="T114">
                        <a:pos x="T8" y="T9"/>
                      </a:cxn>
                      <a:cxn ang="T115">
                        <a:pos x="T10" y="T11"/>
                      </a:cxn>
                      <a:cxn ang="T116">
                        <a:pos x="T12" y="T13"/>
                      </a:cxn>
                      <a:cxn ang="T117">
                        <a:pos x="T14" y="T15"/>
                      </a:cxn>
                      <a:cxn ang="T118">
                        <a:pos x="T16" y="T17"/>
                      </a:cxn>
                      <a:cxn ang="T119">
                        <a:pos x="T18" y="T19"/>
                      </a:cxn>
                      <a:cxn ang="T120">
                        <a:pos x="T20" y="T21"/>
                      </a:cxn>
                      <a:cxn ang="T121">
                        <a:pos x="T22" y="T23"/>
                      </a:cxn>
                      <a:cxn ang="T122">
                        <a:pos x="T24" y="T25"/>
                      </a:cxn>
                      <a:cxn ang="T123">
                        <a:pos x="T26" y="T27"/>
                      </a:cxn>
                      <a:cxn ang="T124">
                        <a:pos x="T28" y="T29"/>
                      </a:cxn>
                      <a:cxn ang="T125">
                        <a:pos x="T30" y="T31"/>
                      </a:cxn>
                      <a:cxn ang="T126">
                        <a:pos x="T32" y="T33"/>
                      </a:cxn>
                      <a:cxn ang="T127">
                        <a:pos x="T34" y="T35"/>
                      </a:cxn>
                      <a:cxn ang="T128">
                        <a:pos x="T36" y="T37"/>
                      </a:cxn>
                      <a:cxn ang="T129">
                        <a:pos x="T38" y="T39"/>
                      </a:cxn>
                      <a:cxn ang="T130">
                        <a:pos x="T40" y="T41"/>
                      </a:cxn>
                      <a:cxn ang="T131">
                        <a:pos x="T42" y="T43"/>
                      </a:cxn>
                      <a:cxn ang="T132">
                        <a:pos x="T44" y="T45"/>
                      </a:cxn>
                      <a:cxn ang="T133">
                        <a:pos x="T46" y="T47"/>
                      </a:cxn>
                      <a:cxn ang="T134">
                        <a:pos x="T48" y="T49"/>
                      </a:cxn>
                      <a:cxn ang="T135">
                        <a:pos x="T50" y="T51"/>
                      </a:cxn>
                      <a:cxn ang="T136">
                        <a:pos x="T52" y="T53"/>
                      </a:cxn>
                      <a:cxn ang="T137">
                        <a:pos x="T54" y="T55"/>
                      </a:cxn>
                      <a:cxn ang="T138">
                        <a:pos x="T56" y="T57"/>
                      </a:cxn>
                      <a:cxn ang="T139">
                        <a:pos x="T58" y="T59"/>
                      </a:cxn>
                      <a:cxn ang="T140">
                        <a:pos x="T60" y="T61"/>
                      </a:cxn>
                      <a:cxn ang="T141">
                        <a:pos x="T62" y="T63"/>
                      </a:cxn>
                      <a:cxn ang="T142">
                        <a:pos x="T64" y="T65"/>
                      </a:cxn>
                      <a:cxn ang="T143">
                        <a:pos x="T66" y="T67"/>
                      </a:cxn>
                      <a:cxn ang="T144">
                        <a:pos x="T68" y="T69"/>
                      </a:cxn>
                      <a:cxn ang="T145">
                        <a:pos x="T70" y="T71"/>
                      </a:cxn>
                      <a:cxn ang="T146">
                        <a:pos x="T72" y="T73"/>
                      </a:cxn>
                      <a:cxn ang="T147">
                        <a:pos x="T74" y="T75"/>
                      </a:cxn>
                      <a:cxn ang="T148">
                        <a:pos x="T76" y="T77"/>
                      </a:cxn>
                      <a:cxn ang="T149">
                        <a:pos x="T78" y="T79"/>
                      </a:cxn>
                      <a:cxn ang="T150">
                        <a:pos x="T80" y="T81"/>
                      </a:cxn>
                      <a:cxn ang="T151">
                        <a:pos x="T82" y="T83"/>
                      </a:cxn>
                      <a:cxn ang="T152">
                        <a:pos x="T84" y="T85"/>
                      </a:cxn>
                      <a:cxn ang="T153">
                        <a:pos x="T86" y="T87"/>
                      </a:cxn>
                      <a:cxn ang="T154">
                        <a:pos x="T88" y="T89"/>
                      </a:cxn>
                      <a:cxn ang="T155">
                        <a:pos x="T90" y="T91"/>
                      </a:cxn>
                      <a:cxn ang="T156">
                        <a:pos x="T92" y="T93"/>
                      </a:cxn>
                      <a:cxn ang="T157">
                        <a:pos x="T94" y="T95"/>
                      </a:cxn>
                      <a:cxn ang="T158">
                        <a:pos x="T96" y="T97"/>
                      </a:cxn>
                      <a:cxn ang="T159">
                        <a:pos x="T98" y="T99"/>
                      </a:cxn>
                      <a:cxn ang="T160">
                        <a:pos x="T100" y="T101"/>
                      </a:cxn>
                      <a:cxn ang="T161">
                        <a:pos x="T102" y="T103"/>
                      </a:cxn>
                      <a:cxn ang="T162">
                        <a:pos x="T104" y="T105"/>
                      </a:cxn>
                      <a:cxn ang="T163">
                        <a:pos x="T106" y="T107"/>
                      </a:cxn>
                      <a:cxn ang="T164">
                        <a:pos x="T108" y="T109"/>
                      </a:cxn>
                    </a:cxnLst>
                    <a:rect l="T165" t="T166" r="T167" b="T168"/>
                    <a:pathLst>
                      <a:path w="907" h="1097">
                        <a:moveTo>
                          <a:pt x="118" y="210"/>
                        </a:moveTo>
                        <a:lnTo>
                          <a:pt x="118" y="266"/>
                        </a:lnTo>
                        <a:lnTo>
                          <a:pt x="118" y="320"/>
                        </a:lnTo>
                        <a:lnTo>
                          <a:pt x="118" y="375"/>
                        </a:lnTo>
                        <a:lnTo>
                          <a:pt x="116" y="424"/>
                        </a:lnTo>
                        <a:lnTo>
                          <a:pt x="110" y="425"/>
                        </a:lnTo>
                        <a:lnTo>
                          <a:pt x="81" y="425"/>
                        </a:lnTo>
                        <a:lnTo>
                          <a:pt x="72" y="426"/>
                        </a:lnTo>
                        <a:lnTo>
                          <a:pt x="60" y="428"/>
                        </a:lnTo>
                        <a:lnTo>
                          <a:pt x="59" y="429"/>
                        </a:lnTo>
                        <a:lnTo>
                          <a:pt x="56" y="438"/>
                        </a:lnTo>
                        <a:lnTo>
                          <a:pt x="55" y="449"/>
                        </a:lnTo>
                        <a:lnTo>
                          <a:pt x="51" y="460"/>
                        </a:lnTo>
                        <a:lnTo>
                          <a:pt x="39" y="477"/>
                        </a:lnTo>
                        <a:lnTo>
                          <a:pt x="23" y="495"/>
                        </a:lnTo>
                        <a:lnTo>
                          <a:pt x="23" y="508"/>
                        </a:lnTo>
                        <a:lnTo>
                          <a:pt x="24" y="516"/>
                        </a:lnTo>
                        <a:lnTo>
                          <a:pt x="23" y="521"/>
                        </a:lnTo>
                        <a:lnTo>
                          <a:pt x="22" y="522"/>
                        </a:lnTo>
                        <a:lnTo>
                          <a:pt x="14" y="527"/>
                        </a:lnTo>
                        <a:lnTo>
                          <a:pt x="11" y="531"/>
                        </a:lnTo>
                        <a:lnTo>
                          <a:pt x="9" y="541"/>
                        </a:lnTo>
                        <a:lnTo>
                          <a:pt x="9" y="555"/>
                        </a:lnTo>
                        <a:lnTo>
                          <a:pt x="7" y="564"/>
                        </a:lnTo>
                        <a:lnTo>
                          <a:pt x="1" y="575"/>
                        </a:lnTo>
                        <a:lnTo>
                          <a:pt x="0" y="580"/>
                        </a:lnTo>
                        <a:lnTo>
                          <a:pt x="0" y="596"/>
                        </a:lnTo>
                        <a:lnTo>
                          <a:pt x="3" y="596"/>
                        </a:lnTo>
                        <a:lnTo>
                          <a:pt x="8" y="595"/>
                        </a:lnTo>
                        <a:lnTo>
                          <a:pt x="24" y="591"/>
                        </a:lnTo>
                        <a:lnTo>
                          <a:pt x="23" y="607"/>
                        </a:lnTo>
                        <a:lnTo>
                          <a:pt x="28" y="623"/>
                        </a:lnTo>
                        <a:lnTo>
                          <a:pt x="40" y="657"/>
                        </a:lnTo>
                        <a:lnTo>
                          <a:pt x="41" y="659"/>
                        </a:lnTo>
                        <a:lnTo>
                          <a:pt x="48" y="662"/>
                        </a:lnTo>
                        <a:lnTo>
                          <a:pt x="51" y="667"/>
                        </a:lnTo>
                        <a:lnTo>
                          <a:pt x="54" y="676"/>
                        </a:lnTo>
                        <a:lnTo>
                          <a:pt x="54" y="684"/>
                        </a:lnTo>
                        <a:lnTo>
                          <a:pt x="45" y="688"/>
                        </a:lnTo>
                        <a:lnTo>
                          <a:pt x="55" y="703"/>
                        </a:lnTo>
                        <a:lnTo>
                          <a:pt x="72" y="722"/>
                        </a:lnTo>
                        <a:lnTo>
                          <a:pt x="88" y="743"/>
                        </a:lnTo>
                        <a:lnTo>
                          <a:pt x="93" y="759"/>
                        </a:lnTo>
                        <a:lnTo>
                          <a:pt x="88" y="777"/>
                        </a:lnTo>
                        <a:lnTo>
                          <a:pt x="86" y="793"/>
                        </a:lnTo>
                        <a:lnTo>
                          <a:pt x="88" y="806"/>
                        </a:lnTo>
                        <a:lnTo>
                          <a:pt x="98" y="816"/>
                        </a:lnTo>
                        <a:lnTo>
                          <a:pt x="109" y="817"/>
                        </a:lnTo>
                        <a:lnTo>
                          <a:pt x="122" y="821"/>
                        </a:lnTo>
                        <a:lnTo>
                          <a:pt x="127" y="836"/>
                        </a:lnTo>
                        <a:lnTo>
                          <a:pt x="138" y="840"/>
                        </a:lnTo>
                        <a:lnTo>
                          <a:pt x="161" y="840"/>
                        </a:lnTo>
                        <a:lnTo>
                          <a:pt x="169" y="847"/>
                        </a:lnTo>
                        <a:lnTo>
                          <a:pt x="179" y="854"/>
                        </a:lnTo>
                        <a:lnTo>
                          <a:pt x="180" y="859"/>
                        </a:lnTo>
                        <a:lnTo>
                          <a:pt x="179" y="869"/>
                        </a:lnTo>
                        <a:lnTo>
                          <a:pt x="185" y="880"/>
                        </a:lnTo>
                        <a:lnTo>
                          <a:pt x="204" y="892"/>
                        </a:lnTo>
                        <a:lnTo>
                          <a:pt x="222" y="904"/>
                        </a:lnTo>
                        <a:lnTo>
                          <a:pt x="229" y="914"/>
                        </a:lnTo>
                        <a:lnTo>
                          <a:pt x="240" y="920"/>
                        </a:lnTo>
                        <a:lnTo>
                          <a:pt x="245" y="930"/>
                        </a:lnTo>
                        <a:lnTo>
                          <a:pt x="249" y="941"/>
                        </a:lnTo>
                        <a:lnTo>
                          <a:pt x="256" y="950"/>
                        </a:lnTo>
                        <a:lnTo>
                          <a:pt x="258" y="961"/>
                        </a:lnTo>
                        <a:lnTo>
                          <a:pt x="267" y="964"/>
                        </a:lnTo>
                        <a:lnTo>
                          <a:pt x="297" y="984"/>
                        </a:lnTo>
                        <a:lnTo>
                          <a:pt x="303" y="993"/>
                        </a:lnTo>
                        <a:lnTo>
                          <a:pt x="304" y="1004"/>
                        </a:lnTo>
                        <a:lnTo>
                          <a:pt x="310" y="1011"/>
                        </a:lnTo>
                        <a:lnTo>
                          <a:pt x="317" y="1022"/>
                        </a:lnTo>
                        <a:lnTo>
                          <a:pt x="329" y="1031"/>
                        </a:lnTo>
                        <a:lnTo>
                          <a:pt x="335" y="1039"/>
                        </a:lnTo>
                        <a:lnTo>
                          <a:pt x="340" y="1049"/>
                        </a:lnTo>
                        <a:lnTo>
                          <a:pt x="363" y="1058"/>
                        </a:lnTo>
                        <a:lnTo>
                          <a:pt x="369" y="1055"/>
                        </a:lnTo>
                        <a:lnTo>
                          <a:pt x="376" y="1047"/>
                        </a:lnTo>
                        <a:lnTo>
                          <a:pt x="403" y="1053"/>
                        </a:lnTo>
                        <a:lnTo>
                          <a:pt x="414" y="1052"/>
                        </a:lnTo>
                        <a:lnTo>
                          <a:pt x="426" y="1042"/>
                        </a:lnTo>
                        <a:lnTo>
                          <a:pt x="437" y="1048"/>
                        </a:lnTo>
                        <a:lnTo>
                          <a:pt x="461" y="1074"/>
                        </a:lnTo>
                        <a:lnTo>
                          <a:pt x="475" y="1082"/>
                        </a:lnTo>
                        <a:lnTo>
                          <a:pt x="484" y="1091"/>
                        </a:lnTo>
                        <a:lnTo>
                          <a:pt x="490" y="1096"/>
                        </a:lnTo>
                        <a:lnTo>
                          <a:pt x="496" y="1096"/>
                        </a:lnTo>
                        <a:lnTo>
                          <a:pt x="503" y="1091"/>
                        </a:lnTo>
                        <a:lnTo>
                          <a:pt x="517" y="1090"/>
                        </a:lnTo>
                        <a:lnTo>
                          <a:pt x="528" y="1093"/>
                        </a:lnTo>
                        <a:lnTo>
                          <a:pt x="538" y="1091"/>
                        </a:lnTo>
                        <a:lnTo>
                          <a:pt x="550" y="1090"/>
                        </a:lnTo>
                        <a:lnTo>
                          <a:pt x="556" y="1097"/>
                        </a:lnTo>
                        <a:lnTo>
                          <a:pt x="573" y="1093"/>
                        </a:lnTo>
                        <a:lnTo>
                          <a:pt x="587" y="1092"/>
                        </a:lnTo>
                        <a:lnTo>
                          <a:pt x="600" y="1087"/>
                        </a:lnTo>
                        <a:lnTo>
                          <a:pt x="616" y="1089"/>
                        </a:lnTo>
                        <a:lnTo>
                          <a:pt x="635" y="1089"/>
                        </a:lnTo>
                        <a:lnTo>
                          <a:pt x="662" y="1071"/>
                        </a:lnTo>
                        <a:lnTo>
                          <a:pt x="662" y="1068"/>
                        </a:lnTo>
                        <a:lnTo>
                          <a:pt x="662" y="1071"/>
                        </a:lnTo>
                        <a:lnTo>
                          <a:pt x="678" y="1052"/>
                        </a:lnTo>
                        <a:lnTo>
                          <a:pt x="690" y="1044"/>
                        </a:lnTo>
                        <a:lnTo>
                          <a:pt x="701" y="1043"/>
                        </a:lnTo>
                        <a:lnTo>
                          <a:pt x="731" y="1046"/>
                        </a:lnTo>
                        <a:lnTo>
                          <a:pt x="744" y="1046"/>
                        </a:lnTo>
                        <a:lnTo>
                          <a:pt x="765" y="1043"/>
                        </a:lnTo>
                        <a:lnTo>
                          <a:pt x="766" y="1021"/>
                        </a:lnTo>
                        <a:lnTo>
                          <a:pt x="767" y="1011"/>
                        </a:lnTo>
                        <a:lnTo>
                          <a:pt x="766" y="1004"/>
                        </a:lnTo>
                        <a:lnTo>
                          <a:pt x="759" y="999"/>
                        </a:lnTo>
                        <a:lnTo>
                          <a:pt x="735" y="994"/>
                        </a:lnTo>
                        <a:lnTo>
                          <a:pt x="727" y="988"/>
                        </a:lnTo>
                        <a:lnTo>
                          <a:pt x="722" y="979"/>
                        </a:lnTo>
                        <a:lnTo>
                          <a:pt x="712" y="952"/>
                        </a:lnTo>
                        <a:lnTo>
                          <a:pt x="707" y="940"/>
                        </a:lnTo>
                        <a:lnTo>
                          <a:pt x="702" y="930"/>
                        </a:lnTo>
                        <a:lnTo>
                          <a:pt x="680" y="917"/>
                        </a:lnTo>
                        <a:lnTo>
                          <a:pt x="673" y="909"/>
                        </a:lnTo>
                        <a:lnTo>
                          <a:pt x="667" y="901"/>
                        </a:lnTo>
                        <a:lnTo>
                          <a:pt x="665" y="891"/>
                        </a:lnTo>
                        <a:lnTo>
                          <a:pt x="657" y="881"/>
                        </a:lnTo>
                        <a:lnTo>
                          <a:pt x="648" y="876"/>
                        </a:lnTo>
                        <a:lnTo>
                          <a:pt x="637" y="872"/>
                        </a:lnTo>
                        <a:lnTo>
                          <a:pt x="629" y="874"/>
                        </a:lnTo>
                        <a:lnTo>
                          <a:pt x="621" y="867"/>
                        </a:lnTo>
                        <a:lnTo>
                          <a:pt x="615" y="867"/>
                        </a:lnTo>
                        <a:lnTo>
                          <a:pt x="609" y="863"/>
                        </a:lnTo>
                        <a:lnTo>
                          <a:pt x="614" y="855"/>
                        </a:lnTo>
                        <a:lnTo>
                          <a:pt x="620" y="850"/>
                        </a:lnTo>
                        <a:lnTo>
                          <a:pt x="620" y="836"/>
                        </a:lnTo>
                        <a:lnTo>
                          <a:pt x="630" y="832"/>
                        </a:lnTo>
                        <a:lnTo>
                          <a:pt x="652" y="834"/>
                        </a:lnTo>
                        <a:lnTo>
                          <a:pt x="663" y="829"/>
                        </a:lnTo>
                        <a:lnTo>
                          <a:pt x="670" y="823"/>
                        </a:lnTo>
                        <a:lnTo>
                          <a:pt x="672" y="808"/>
                        </a:lnTo>
                        <a:lnTo>
                          <a:pt x="672" y="763"/>
                        </a:lnTo>
                        <a:lnTo>
                          <a:pt x="676" y="747"/>
                        </a:lnTo>
                        <a:lnTo>
                          <a:pt x="678" y="736"/>
                        </a:lnTo>
                        <a:lnTo>
                          <a:pt x="676" y="730"/>
                        </a:lnTo>
                        <a:lnTo>
                          <a:pt x="676" y="719"/>
                        </a:lnTo>
                        <a:lnTo>
                          <a:pt x="680" y="721"/>
                        </a:lnTo>
                        <a:lnTo>
                          <a:pt x="683" y="714"/>
                        </a:lnTo>
                        <a:lnTo>
                          <a:pt x="690" y="702"/>
                        </a:lnTo>
                        <a:lnTo>
                          <a:pt x="697" y="697"/>
                        </a:lnTo>
                        <a:lnTo>
                          <a:pt x="708" y="697"/>
                        </a:lnTo>
                        <a:lnTo>
                          <a:pt x="713" y="692"/>
                        </a:lnTo>
                        <a:lnTo>
                          <a:pt x="718" y="665"/>
                        </a:lnTo>
                        <a:lnTo>
                          <a:pt x="723" y="651"/>
                        </a:lnTo>
                        <a:lnTo>
                          <a:pt x="758" y="602"/>
                        </a:lnTo>
                        <a:lnTo>
                          <a:pt x="767" y="592"/>
                        </a:lnTo>
                        <a:lnTo>
                          <a:pt x="776" y="590"/>
                        </a:lnTo>
                        <a:lnTo>
                          <a:pt x="783" y="582"/>
                        </a:lnTo>
                        <a:lnTo>
                          <a:pt x="801" y="525"/>
                        </a:lnTo>
                        <a:lnTo>
                          <a:pt x="801" y="509"/>
                        </a:lnTo>
                        <a:lnTo>
                          <a:pt x="798" y="493"/>
                        </a:lnTo>
                        <a:lnTo>
                          <a:pt x="798" y="473"/>
                        </a:lnTo>
                        <a:lnTo>
                          <a:pt x="802" y="456"/>
                        </a:lnTo>
                        <a:lnTo>
                          <a:pt x="809" y="442"/>
                        </a:lnTo>
                        <a:lnTo>
                          <a:pt x="818" y="408"/>
                        </a:lnTo>
                        <a:lnTo>
                          <a:pt x="821" y="387"/>
                        </a:lnTo>
                        <a:lnTo>
                          <a:pt x="821" y="379"/>
                        </a:lnTo>
                        <a:lnTo>
                          <a:pt x="825" y="358"/>
                        </a:lnTo>
                        <a:lnTo>
                          <a:pt x="829" y="349"/>
                        </a:lnTo>
                        <a:lnTo>
                          <a:pt x="842" y="348"/>
                        </a:lnTo>
                        <a:lnTo>
                          <a:pt x="851" y="343"/>
                        </a:lnTo>
                        <a:lnTo>
                          <a:pt x="856" y="336"/>
                        </a:lnTo>
                        <a:lnTo>
                          <a:pt x="877" y="326"/>
                        </a:lnTo>
                        <a:lnTo>
                          <a:pt x="885" y="323"/>
                        </a:lnTo>
                        <a:lnTo>
                          <a:pt x="898" y="317"/>
                        </a:lnTo>
                        <a:lnTo>
                          <a:pt x="905" y="302"/>
                        </a:lnTo>
                        <a:lnTo>
                          <a:pt x="907" y="293"/>
                        </a:lnTo>
                        <a:lnTo>
                          <a:pt x="904" y="284"/>
                        </a:lnTo>
                        <a:lnTo>
                          <a:pt x="899" y="284"/>
                        </a:lnTo>
                        <a:lnTo>
                          <a:pt x="896" y="280"/>
                        </a:lnTo>
                        <a:lnTo>
                          <a:pt x="891" y="282"/>
                        </a:lnTo>
                        <a:lnTo>
                          <a:pt x="887" y="270"/>
                        </a:lnTo>
                        <a:lnTo>
                          <a:pt x="880" y="264"/>
                        </a:lnTo>
                        <a:lnTo>
                          <a:pt x="873" y="263"/>
                        </a:lnTo>
                        <a:lnTo>
                          <a:pt x="858" y="257"/>
                        </a:lnTo>
                        <a:lnTo>
                          <a:pt x="852" y="252"/>
                        </a:lnTo>
                        <a:lnTo>
                          <a:pt x="847" y="245"/>
                        </a:lnTo>
                        <a:lnTo>
                          <a:pt x="840" y="214"/>
                        </a:lnTo>
                        <a:lnTo>
                          <a:pt x="837" y="191"/>
                        </a:lnTo>
                        <a:lnTo>
                          <a:pt x="837" y="157"/>
                        </a:lnTo>
                        <a:lnTo>
                          <a:pt x="836" y="117"/>
                        </a:lnTo>
                        <a:lnTo>
                          <a:pt x="839" y="118"/>
                        </a:lnTo>
                        <a:lnTo>
                          <a:pt x="836" y="111"/>
                        </a:lnTo>
                        <a:lnTo>
                          <a:pt x="821" y="94"/>
                        </a:lnTo>
                        <a:lnTo>
                          <a:pt x="820" y="81"/>
                        </a:lnTo>
                        <a:lnTo>
                          <a:pt x="819" y="65"/>
                        </a:lnTo>
                        <a:lnTo>
                          <a:pt x="808" y="49"/>
                        </a:lnTo>
                        <a:lnTo>
                          <a:pt x="798" y="44"/>
                        </a:lnTo>
                        <a:lnTo>
                          <a:pt x="787" y="31"/>
                        </a:lnTo>
                        <a:lnTo>
                          <a:pt x="776" y="25"/>
                        </a:lnTo>
                        <a:lnTo>
                          <a:pt x="761" y="19"/>
                        </a:lnTo>
                        <a:lnTo>
                          <a:pt x="749" y="0"/>
                        </a:lnTo>
                        <a:lnTo>
                          <a:pt x="727" y="20"/>
                        </a:lnTo>
                        <a:lnTo>
                          <a:pt x="713" y="15"/>
                        </a:lnTo>
                        <a:lnTo>
                          <a:pt x="701" y="46"/>
                        </a:lnTo>
                        <a:lnTo>
                          <a:pt x="672" y="53"/>
                        </a:lnTo>
                        <a:lnTo>
                          <a:pt x="664" y="78"/>
                        </a:lnTo>
                        <a:lnTo>
                          <a:pt x="637" y="80"/>
                        </a:lnTo>
                        <a:lnTo>
                          <a:pt x="619" y="67"/>
                        </a:lnTo>
                        <a:lnTo>
                          <a:pt x="522" y="65"/>
                        </a:lnTo>
                        <a:lnTo>
                          <a:pt x="527" y="54"/>
                        </a:lnTo>
                        <a:lnTo>
                          <a:pt x="524" y="54"/>
                        </a:lnTo>
                        <a:lnTo>
                          <a:pt x="522" y="53"/>
                        </a:lnTo>
                        <a:lnTo>
                          <a:pt x="519" y="53"/>
                        </a:lnTo>
                        <a:lnTo>
                          <a:pt x="512" y="65"/>
                        </a:lnTo>
                        <a:lnTo>
                          <a:pt x="484" y="65"/>
                        </a:lnTo>
                        <a:lnTo>
                          <a:pt x="431" y="65"/>
                        </a:lnTo>
                        <a:lnTo>
                          <a:pt x="379" y="65"/>
                        </a:lnTo>
                        <a:lnTo>
                          <a:pt x="326" y="65"/>
                        </a:lnTo>
                        <a:lnTo>
                          <a:pt x="275" y="65"/>
                        </a:lnTo>
                        <a:lnTo>
                          <a:pt x="223" y="65"/>
                        </a:lnTo>
                        <a:lnTo>
                          <a:pt x="170" y="65"/>
                        </a:lnTo>
                        <a:lnTo>
                          <a:pt x="170" y="118"/>
                        </a:lnTo>
                        <a:lnTo>
                          <a:pt x="170" y="177"/>
                        </a:lnTo>
                        <a:lnTo>
                          <a:pt x="118" y="177"/>
                        </a:lnTo>
                        <a:lnTo>
                          <a:pt x="118" y="210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71" name="Freeform 21"/>
                  <p:cNvSpPr>
                    <a:spLocks/>
                  </p:cNvSpPr>
                  <p:nvPr/>
                </p:nvSpPr>
                <p:spPr bwMode="gray">
                  <a:xfrm>
                    <a:off x="2517" y="2222"/>
                    <a:ext cx="174" cy="136"/>
                  </a:xfrm>
                  <a:custGeom>
                    <a:avLst/>
                    <a:gdLst>
                      <a:gd name="T0" fmla="*/ 9 w 872"/>
                      <a:gd name="T1" fmla="*/ 15 h 678"/>
                      <a:gd name="T2" fmla="*/ 8 w 872"/>
                      <a:gd name="T3" fmla="*/ 18 h 678"/>
                      <a:gd name="T4" fmla="*/ 8 w 872"/>
                      <a:gd name="T5" fmla="*/ 19 h 678"/>
                      <a:gd name="T6" fmla="*/ 7 w 872"/>
                      <a:gd name="T7" fmla="*/ 19 h 678"/>
                      <a:gd name="T8" fmla="*/ 6 w 872"/>
                      <a:gd name="T9" fmla="*/ 19 h 678"/>
                      <a:gd name="T10" fmla="*/ 2 w 872"/>
                      <a:gd name="T11" fmla="*/ 20 h 678"/>
                      <a:gd name="T12" fmla="*/ 0 w 872"/>
                      <a:gd name="T13" fmla="*/ 21 h 678"/>
                      <a:gd name="T14" fmla="*/ 0 w 872"/>
                      <a:gd name="T15" fmla="*/ 21 h 678"/>
                      <a:gd name="T16" fmla="*/ 1 w 872"/>
                      <a:gd name="T17" fmla="*/ 22 h 678"/>
                      <a:gd name="T18" fmla="*/ 2 w 872"/>
                      <a:gd name="T19" fmla="*/ 24 h 678"/>
                      <a:gd name="T20" fmla="*/ 3 w 872"/>
                      <a:gd name="T21" fmla="*/ 25 h 678"/>
                      <a:gd name="T22" fmla="*/ 4 w 872"/>
                      <a:gd name="T23" fmla="*/ 25 h 678"/>
                      <a:gd name="T24" fmla="*/ 4 w 872"/>
                      <a:gd name="T25" fmla="*/ 25 h 678"/>
                      <a:gd name="T26" fmla="*/ 5 w 872"/>
                      <a:gd name="T27" fmla="*/ 26 h 678"/>
                      <a:gd name="T28" fmla="*/ 4 w 872"/>
                      <a:gd name="T29" fmla="*/ 26 h 678"/>
                      <a:gd name="T30" fmla="*/ 5 w 872"/>
                      <a:gd name="T31" fmla="*/ 26 h 678"/>
                      <a:gd name="T32" fmla="*/ 5 w 872"/>
                      <a:gd name="T33" fmla="*/ 26 h 678"/>
                      <a:gd name="T34" fmla="*/ 6 w 872"/>
                      <a:gd name="T35" fmla="*/ 26 h 678"/>
                      <a:gd name="T36" fmla="*/ 7 w 872"/>
                      <a:gd name="T37" fmla="*/ 26 h 678"/>
                      <a:gd name="T38" fmla="*/ 8 w 872"/>
                      <a:gd name="T39" fmla="*/ 27 h 678"/>
                      <a:gd name="T40" fmla="*/ 8 w 872"/>
                      <a:gd name="T41" fmla="*/ 26 h 678"/>
                      <a:gd name="T42" fmla="*/ 8 w 872"/>
                      <a:gd name="T43" fmla="*/ 25 h 678"/>
                      <a:gd name="T44" fmla="*/ 9 w 872"/>
                      <a:gd name="T45" fmla="*/ 24 h 678"/>
                      <a:gd name="T46" fmla="*/ 10 w 872"/>
                      <a:gd name="T47" fmla="*/ 23 h 678"/>
                      <a:gd name="T48" fmla="*/ 12 w 872"/>
                      <a:gd name="T49" fmla="*/ 23 h 678"/>
                      <a:gd name="T50" fmla="*/ 15 w 872"/>
                      <a:gd name="T51" fmla="*/ 24 h 678"/>
                      <a:gd name="T52" fmla="*/ 15 w 872"/>
                      <a:gd name="T53" fmla="*/ 24 h 678"/>
                      <a:gd name="T54" fmla="*/ 17 w 872"/>
                      <a:gd name="T55" fmla="*/ 24 h 678"/>
                      <a:gd name="T56" fmla="*/ 19 w 872"/>
                      <a:gd name="T57" fmla="*/ 25 h 678"/>
                      <a:gd name="T58" fmla="*/ 21 w 872"/>
                      <a:gd name="T59" fmla="*/ 25 h 678"/>
                      <a:gd name="T60" fmla="*/ 22 w 872"/>
                      <a:gd name="T61" fmla="*/ 24 h 678"/>
                      <a:gd name="T62" fmla="*/ 24 w 872"/>
                      <a:gd name="T63" fmla="*/ 24 h 678"/>
                      <a:gd name="T64" fmla="*/ 26 w 872"/>
                      <a:gd name="T65" fmla="*/ 24 h 678"/>
                      <a:gd name="T66" fmla="*/ 27 w 872"/>
                      <a:gd name="T67" fmla="*/ 24 h 678"/>
                      <a:gd name="T68" fmla="*/ 27 w 872"/>
                      <a:gd name="T69" fmla="*/ 23 h 678"/>
                      <a:gd name="T70" fmla="*/ 28 w 872"/>
                      <a:gd name="T71" fmla="*/ 23 h 678"/>
                      <a:gd name="T72" fmla="*/ 29 w 872"/>
                      <a:gd name="T73" fmla="*/ 23 h 678"/>
                      <a:gd name="T74" fmla="*/ 28 w 872"/>
                      <a:gd name="T75" fmla="*/ 22 h 678"/>
                      <a:gd name="T76" fmla="*/ 29 w 872"/>
                      <a:gd name="T77" fmla="*/ 21 h 678"/>
                      <a:gd name="T78" fmla="*/ 29 w 872"/>
                      <a:gd name="T79" fmla="*/ 21 h 678"/>
                      <a:gd name="T80" fmla="*/ 30 w 872"/>
                      <a:gd name="T81" fmla="*/ 20 h 678"/>
                      <a:gd name="T82" fmla="*/ 33 w 872"/>
                      <a:gd name="T83" fmla="*/ 15 h 678"/>
                      <a:gd name="T84" fmla="*/ 35 w 872"/>
                      <a:gd name="T85" fmla="*/ 7 h 678"/>
                      <a:gd name="T86" fmla="*/ 33 w 872"/>
                      <a:gd name="T87" fmla="*/ 6 h 678"/>
                      <a:gd name="T88" fmla="*/ 33 w 872"/>
                      <a:gd name="T89" fmla="*/ 5 h 678"/>
                      <a:gd name="T90" fmla="*/ 33 w 872"/>
                      <a:gd name="T91" fmla="*/ 5 h 678"/>
                      <a:gd name="T92" fmla="*/ 32 w 872"/>
                      <a:gd name="T93" fmla="*/ 1 h 678"/>
                      <a:gd name="T94" fmla="*/ 31 w 872"/>
                      <a:gd name="T95" fmla="*/ 0 h 678"/>
                      <a:gd name="T96" fmla="*/ 29 w 872"/>
                      <a:gd name="T97" fmla="*/ 0 h 678"/>
                      <a:gd name="T98" fmla="*/ 26 w 872"/>
                      <a:gd name="T99" fmla="*/ 0 h 678"/>
                      <a:gd name="T100" fmla="*/ 23 w 872"/>
                      <a:gd name="T101" fmla="*/ 2 h 678"/>
                      <a:gd name="T102" fmla="*/ 17 w 872"/>
                      <a:gd name="T103" fmla="*/ 6 h 678"/>
                      <a:gd name="T104" fmla="*/ 12 w 872"/>
                      <a:gd name="T105" fmla="*/ 9 h 678"/>
                      <a:gd name="T106" fmla="*/ 9 w 872"/>
                      <a:gd name="T107" fmla="*/ 10 h 678"/>
                      <a:gd name="T108" fmla="*/ 9 w 872"/>
                      <a:gd name="T109" fmla="*/ 11 h 678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w 872"/>
                      <a:gd name="T166" fmla="*/ 0 h 678"/>
                      <a:gd name="T167" fmla="*/ 872 w 872"/>
                      <a:gd name="T168" fmla="*/ 678 h 678"/>
                    </a:gdLst>
                    <a:ahLst/>
                    <a:cxnLst>
                      <a:cxn ang="T110">
                        <a:pos x="T0" y="T1"/>
                      </a:cxn>
                      <a:cxn ang="T111">
                        <a:pos x="T2" y="T3"/>
                      </a:cxn>
                      <a:cxn ang="T112">
                        <a:pos x="T4" y="T5"/>
                      </a:cxn>
                      <a:cxn ang="T113">
                        <a:pos x="T6" y="T7"/>
                      </a:cxn>
                      <a:cxn ang="T114">
                        <a:pos x="T8" y="T9"/>
                      </a:cxn>
                      <a:cxn ang="T115">
                        <a:pos x="T10" y="T11"/>
                      </a:cxn>
                      <a:cxn ang="T116">
                        <a:pos x="T12" y="T13"/>
                      </a:cxn>
                      <a:cxn ang="T117">
                        <a:pos x="T14" y="T15"/>
                      </a:cxn>
                      <a:cxn ang="T118">
                        <a:pos x="T16" y="T17"/>
                      </a:cxn>
                      <a:cxn ang="T119">
                        <a:pos x="T18" y="T19"/>
                      </a:cxn>
                      <a:cxn ang="T120">
                        <a:pos x="T20" y="T21"/>
                      </a:cxn>
                      <a:cxn ang="T121">
                        <a:pos x="T22" y="T23"/>
                      </a:cxn>
                      <a:cxn ang="T122">
                        <a:pos x="T24" y="T25"/>
                      </a:cxn>
                      <a:cxn ang="T123">
                        <a:pos x="T26" y="T27"/>
                      </a:cxn>
                      <a:cxn ang="T124">
                        <a:pos x="T28" y="T29"/>
                      </a:cxn>
                      <a:cxn ang="T125">
                        <a:pos x="T30" y="T31"/>
                      </a:cxn>
                      <a:cxn ang="T126">
                        <a:pos x="T32" y="T33"/>
                      </a:cxn>
                      <a:cxn ang="T127">
                        <a:pos x="T34" y="T35"/>
                      </a:cxn>
                      <a:cxn ang="T128">
                        <a:pos x="T36" y="T37"/>
                      </a:cxn>
                      <a:cxn ang="T129">
                        <a:pos x="T38" y="T39"/>
                      </a:cxn>
                      <a:cxn ang="T130">
                        <a:pos x="T40" y="T41"/>
                      </a:cxn>
                      <a:cxn ang="T131">
                        <a:pos x="T42" y="T43"/>
                      </a:cxn>
                      <a:cxn ang="T132">
                        <a:pos x="T44" y="T45"/>
                      </a:cxn>
                      <a:cxn ang="T133">
                        <a:pos x="T46" y="T47"/>
                      </a:cxn>
                      <a:cxn ang="T134">
                        <a:pos x="T48" y="T49"/>
                      </a:cxn>
                      <a:cxn ang="T135">
                        <a:pos x="T50" y="T51"/>
                      </a:cxn>
                      <a:cxn ang="T136">
                        <a:pos x="T52" y="T53"/>
                      </a:cxn>
                      <a:cxn ang="T137">
                        <a:pos x="T54" y="T55"/>
                      </a:cxn>
                      <a:cxn ang="T138">
                        <a:pos x="T56" y="T57"/>
                      </a:cxn>
                      <a:cxn ang="T139">
                        <a:pos x="T58" y="T59"/>
                      </a:cxn>
                      <a:cxn ang="T140">
                        <a:pos x="T60" y="T61"/>
                      </a:cxn>
                      <a:cxn ang="T141">
                        <a:pos x="T62" y="T63"/>
                      </a:cxn>
                      <a:cxn ang="T142">
                        <a:pos x="T64" y="T65"/>
                      </a:cxn>
                      <a:cxn ang="T143">
                        <a:pos x="T66" y="T67"/>
                      </a:cxn>
                      <a:cxn ang="T144">
                        <a:pos x="T68" y="T69"/>
                      </a:cxn>
                      <a:cxn ang="T145">
                        <a:pos x="T70" y="T71"/>
                      </a:cxn>
                      <a:cxn ang="T146">
                        <a:pos x="T72" y="T73"/>
                      </a:cxn>
                      <a:cxn ang="T147">
                        <a:pos x="T74" y="T75"/>
                      </a:cxn>
                      <a:cxn ang="T148">
                        <a:pos x="T76" y="T77"/>
                      </a:cxn>
                      <a:cxn ang="T149">
                        <a:pos x="T78" y="T79"/>
                      </a:cxn>
                      <a:cxn ang="T150">
                        <a:pos x="T80" y="T81"/>
                      </a:cxn>
                      <a:cxn ang="T151">
                        <a:pos x="T82" y="T83"/>
                      </a:cxn>
                      <a:cxn ang="T152">
                        <a:pos x="T84" y="T85"/>
                      </a:cxn>
                      <a:cxn ang="T153">
                        <a:pos x="T86" y="T87"/>
                      </a:cxn>
                      <a:cxn ang="T154">
                        <a:pos x="T88" y="T89"/>
                      </a:cxn>
                      <a:cxn ang="T155">
                        <a:pos x="T90" y="T91"/>
                      </a:cxn>
                      <a:cxn ang="T156">
                        <a:pos x="T92" y="T93"/>
                      </a:cxn>
                      <a:cxn ang="T157">
                        <a:pos x="T94" y="T95"/>
                      </a:cxn>
                      <a:cxn ang="T158">
                        <a:pos x="T96" y="T97"/>
                      </a:cxn>
                      <a:cxn ang="T159">
                        <a:pos x="T98" y="T99"/>
                      </a:cxn>
                      <a:cxn ang="T160">
                        <a:pos x="T100" y="T101"/>
                      </a:cxn>
                      <a:cxn ang="T161">
                        <a:pos x="T102" y="T103"/>
                      </a:cxn>
                      <a:cxn ang="T162">
                        <a:pos x="T104" y="T105"/>
                      </a:cxn>
                      <a:cxn ang="T163">
                        <a:pos x="T106" y="T107"/>
                      </a:cxn>
                      <a:cxn ang="T164">
                        <a:pos x="T108" y="T109"/>
                      </a:cxn>
                    </a:cxnLst>
                    <a:rect l="T165" t="T166" r="T167" b="T168"/>
                    <a:pathLst>
                      <a:path w="872" h="678">
                        <a:moveTo>
                          <a:pt x="222" y="271"/>
                        </a:moveTo>
                        <a:lnTo>
                          <a:pt x="222" y="327"/>
                        </a:lnTo>
                        <a:lnTo>
                          <a:pt x="222" y="381"/>
                        </a:lnTo>
                        <a:lnTo>
                          <a:pt x="222" y="435"/>
                        </a:lnTo>
                        <a:lnTo>
                          <a:pt x="219" y="436"/>
                        </a:lnTo>
                        <a:lnTo>
                          <a:pt x="209" y="442"/>
                        </a:lnTo>
                        <a:lnTo>
                          <a:pt x="205" y="448"/>
                        </a:lnTo>
                        <a:lnTo>
                          <a:pt x="204" y="456"/>
                        </a:lnTo>
                        <a:lnTo>
                          <a:pt x="192" y="463"/>
                        </a:lnTo>
                        <a:lnTo>
                          <a:pt x="188" y="466"/>
                        </a:lnTo>
                        <a:lnTo>
                          <a:pt x="186" y="469"/>
                        </a:lnTo>
                        <a:lnTo>
                          <a:pt x="186" y="474"/>
                        </a:lnTo>
                        <a:lnTo>
                          <a:pt x="173" y="473"/>
                        </a:lnTo>
                        <a:lnTo>
                          <a:pt x="160" y="472"/>
                        </a:lnTo>
                        <a:lnTo>
                          <a:pt x="160" y="475"/>
                        </a:lnTo>
                        <a:lnTo>
                          <a:pt x="155" y="474"/>
                        </a:lnTo>
                        <a:lnTo>
                          <a:pt x="66" y="475"/>
                        </a:lnTo>
                        <a:lnTo>
                          <a:pt x="42" y="495"/>
                        </a:lnTo>
                        <a:lnTo>
                          <a:pt x="5" y="495"/>
                        </a:lnTo>
                        <a:lnTo>
                          <a:pt x="4" y="499"/>
                        </a:lnTo>
                        <a:lnTo>
                          <a:pt x="3" y="511"/>
                        </a:lnTo>
                        <a:lnTo>
                          <a:pt x="0" y="521"/>
                        </a:lnTo>
                        <a:lnTo>
                          <a:pt x="1" y="523"/>
                        </a:lnTo>
                        <a:lnTo>
                          <a:pt x="11" y="532"/>
                        </a:lnTo>
                        <a:lnTo>
                          <a:pt x="12" y="534"/>
                        </a:lnTo>
                        <a:lnTo>
                          <a:pt x="11" y="543"/>
                        </a:lnTo>
                        <a:lnTo>
                          <a:pt x="15" y="550"/>
                        </a:lnTo>
                        <a:lnTo>
                          <a:pt x="27" y="565"/>
                        </a:lnTo>
                        <a:lnTo>
                          <a:pt x="44" y="579"/>
                        </a:lnTo>
                        <a:lnTo>
                          <a:pt x="49" y="588"/>
                        </a:lnTo>
                        <a:lnTo>
                          <a:pt x="55" y="603"/>
                        </a:lnTo>
                        <a:lnTo>
                          <a:pt x="59" y="609"/>
                        </a:lnTo>
                        <a:lnTo>
                          <a:pt x="70" y="622"/>
                        </a:lnTo>
                        <a:lnTo>
                          <a:pt x="78" y="626"/>
                        </a:lnTo>
                        <a:lnTo>
                          <a:pt x="89" y="629"/>
                        </a:lnTo>
                        <a:lnTo>
                          <a:pt x="92" y="629"/>
                        </a:lnTo>
                        <a:lnTo>
                          <a:pt x="97" y="628"/>
                        </a:lnTo>
                        <a:lnTo>
                          <a:pt x="102" y="623"/>
                        </a:lnTo>
                        <a:lnTo>
                          <a:pt x="106" y="622"/>
                        </a:lnTo>
                        <a:lnTo>
                          <a:pt x="112" y="625"/>
                        </a:lnTo>
                        <a:lnTo>
                          <a:pt x="118" y="635"/>
                        </a:lnTo>
                        <a:lnTo>
                          <a:pt x="119" y="637"/>
                        </a:lnTo>
                        <a:lnTo>
                          <a:pt x="118" y="640"/>
                        </a:lnTo>
                        <a:lnTo>
                          <a:pt x="113" y="640"/>
                        </a:lnTo>
                        <a:lnTo>
                          <a:pt x="109" y="641"/>
                        </a:lnTo>
                        <a:lnTo>
                          <a:pt x="108" y="645"/>
                        </a:lnTo>
                        <a:lnTo>
                          <a:pt x="109" y="649"/>
                        </a:lnTo>
                        <a:lnTo>
                          <a:pt x="116" y="656"/>
                        </a:lnTo>
                        <a:lnTo>
                          <a:pt x="127" y="666"/>
                        </a:lnTo>
                        <a:lnTo>
                          <a:pt x="134" y="662"/>
                        </a:lnTo>
                        <a:lnTo>
                          <a:pt x="127" y="653"/>
                        </a:lnTo>
                        <a:lnTo>
                          <a:pt x="127" y="649"/>
                        </a:lnTo>
                        <a:lnTo>
                          <a:pt x="138" y="646"/>
                        </a:lnTo>
                        <a:lnTo>
                          <a:pt x="143" y="645"/>
                        </a:lnTo>
                        <a:lnTo>
                          <a:pt x="151" y="641"/>
                        </a:lnTo>
                        <a:lnTo>
                          <a:pt x="154" y="642"/>
                        </a:lnTo>
                        <a:lnTo>
                          <a:pt x="165" y="653"/>
                        </a:lnTo>
                        <a:lnTo>
                          <a:pt x="177" y="666"/>
                        </a:lnTo>
                        <a:lnTo>
                          <a:pt x="184" y="671"/>
                        </a:lnTo>
                        <a:lnTo>
                          <a:pt x="193" y="678"/>
                        </a:lnTo>
                        <a:lnTo>
                          <a:pt x="194" y="671"/>
                        </a:lnTo>
                        <a:lnTo>
                          <a:pt x="192" y="646"/>
                        </a:lnTo>
                        <a:lnTo>
                          <a:pt x="193" y="637"/>
                        </a:lnTo>
                        <a:lnTo>
                          <a:pt x="195" y="633"/>
                        </a:lnTo>
                        <a:lnTo>
                          <a:pt x="199" y="628"/>
                        </a:lnTo>
                        <a:lnTo>
                          <a:pt x="206" y="624"/>
                        </a:lnTo>
                        <a:lnTo>
                          <a:pt x="211" y="618"/>
                        </a:lnTo>
                        <a:lnTo>
                          <a:pt x="219" y="604"/>
                        </a:lnTo>
                        <a:lnTo>
                          <a:pt x="221" y="586"/>
                        </a:lnTo>
                        <a:lnTo>
                          <a:pt x="222" y="582"/>
                        </a:lnTo>
                        <a:lnTo>
                          <a:pt x="240" y="570"/>
                        </a:lnTo>
                        <a:lnTo>
                          <a:pt x="259" y="565"/>
                        </a:lnTo>
                        <a:lnTo>
                          <a:pt x="277" y="565"/>
                        </a:lnTo>
                        <a:lnTo>
                          <a:pt x="283" y="564"/>
                        </a:lnTo>
                        <a:lnTo>
                          <a:pt x="291" y="561"/>
                        </a:lnTo>
                        <a:lnTo>
                          <a:pt x="306" y="563"/>
                        </a:lnTo>
                        <a:lnTo>
                          <a:pt x="343" y="581"/>
                        </a:lnTo>
                        <a:lnTo>
                          <a:pt x="365" y="602"/>
                        </a:lnTo>
                        <a:lnTo>
                          <a:pt x="372" y="607"/>
                        </a:lnTo>
                        <a:lnTo>
                          <a:pt x="377" y="609"/>
                        </a:lnTo>
                        <a:lnTo>
                          <a:pt x="386" y="609"/>
                        </a:lnTo>
                        <a:lnTo>
                          <a:pt x="392" y="599"/>
                        </a:lnTo>
                        <a:lnTo>
                          <a:pt x="408" y="591"/>
                        </a:lnTo>
                        <a:lnTo>
                          <a:pt x="418" y="588"/>
                        </a:lnTo>
                        <a:lnTo>
                          <a:pt x="430" y="588"/>
                        </a:lnTo>
                        <a:lnTo>
                          <a:pt x="447" y="598"/>
                        </a:lnTo>
                        <a:lnTo>
                          <a:pt x="471" y="613"/>
                        </a:lnTo>
                        <a:lnTo>
                          <a:pt x="483" y="617"/>
                        </a:lnTo>
                        <a:lnTo>
                          <a:pt x="506" y="619"/>
                        </a:lnTo>
                        <a:lnTo>
                          <a:pt x="519" y="618"/>
                        </a:lnTo>
                        <a:lnTo>
                          <a:pt x="533" y="608"/>
                        </a:lnTo>
                        <a:lnTo>
                          <a:pt x="550" y="593"/>
                        </a:lnTo>
                        <a:lnTo>
                          <a:pt x="559" y="588"/>
                        </a:lnTo>
                        <a:lnTo>
                          <a:pt x="585" y="588"/>
                        </a:lnTo>
                        <a:lnTo>
                          <a:pt x="603" y="591"/>
                        </a:lnTo>
                        <a:lnTo>
                          <a:pt x="613" y="587"/>
                        </a:lnTo>
                        <a:lnTo>
                          <a:pt x="633" y="585"/>
                        </a:lnTo>
                        <a:lnTo>
                          <a:pt x="640" y="587"/>
                        </a:lnTo>
                        <a:lnTo>
                          <a:pt x="647" y="591"/>
                        </a:lnTo>
                        <a:lnTo>
                          <a:pt x="655" y="593"/>
                        </a:lnTo>
                        <a:lnTo>
                          <a:pt x="661" y="597"/>
                        </a:lnTo>
                        <a:lnTo>
                          <a:pt x="672" y="597"/>
                        </a:lnTo>
                        <a:lnTo>
                          <a:pt x="678" y="593"/>
                        </a:lnTo>
                        <a:lnTo>
                          <a:pt x="688" y="583"/>
                        </a:lnTo>
                        <a:lnTo>
                          <a:pt x="688" y="582"/>
                        </a:lnTo>
                        <a:lnTo>
                          <a:pt x="694" y="577"/>
                        </a:lnTo>
                        <a:lnTo>
                          <a:pt x="702" y="576"/>
                        </a:lnTo>
                        <a:lnTo>
                          <a:pt x="708" y="576"/>
                        </a:lnTo>
                        <a:lnTo>
                          <a:pt x="714" y="564"/>
                        </a:lnTo>
                        <a:lnTo>
                          <a:pt x="715" y="564"/>
                        </a:lnTo>
                        <a:lnTo>
                          <a:pt x="718" y="561"/>
                        </a:lnTo>
                        <a:lnTo>
                          <a:pt x="713" y="556"/>
                        </a:lnTo>
                        <a:lnTo>
                          <a:pt x="709" y="550"/>
                        </a:lnTo>
                        <a:lnTo>
                          <a:pt x="709" y="545"/>
                        </a:lnTo>
                        <a:lnTo>
                          <a:pt x="714" y="538"/>
                        </a:lnTo>
                        <a:lnTo>
                          <a:pt x="720" y="534"/>
                        </a:lnTo>
                        <a:lnTo>
                          <a:pt x="725" y="533"/>
                        </a:lnTo>
                        <a:lnTo>
                          <a:pt x="730" y="531"/>
                        </a:lnTo>
                        <a:lnTo>
                          <a:pt x="727" y="520"/>
                        </a:lnTo>
                        <a:lnTo>
                          <a:pt x="732" y="515"/>
                        </a:lnTo>
                        <a:lnTo>
                          <a:pt x="740" y="513"/>
                        </a:lnTo>
                        <a:lnTo>
                          <a:pt x="740" y="504"/>
                        </a:lnTo>
                        <a:lnTo>
                          <a:pt x="746" y="501"/>
                        </a:lnTo>
                        <a:lnTo>
                          <a:pt x="746" y="490"/>
                        </a:lnTo>
                        <a:lnTo>
                          <a:pt x="834" y="391"/>
                        </a:lnTo>
                        <a:lnTo>
                          <a:pt x="838" y="386"/>
                        </a:lnTo>
                        <a:lnTo>
                          <a:pt x="844" y="287"/>
                        </a:lnTo>
                        <a:lnTo>
                          <a:pt x="859" y="208"/>
                        </a:lnTo>
                        <a:lnTo>
                          <a:pt x="872" y="184"/>
                        </a:lnTo>
                        <a:lnTo>
                          <a:pt x="849" y="171"/>
                        </a:lnTo>
                        <a:lnTo>
                          <a:pt x="843" y="166"/>
                        </a:lnTo>
                        <a:lnTo>
                          <a:pt x="837" y="160"/>
                        </a:lnTo>
                        <a:lnTo>
                          <a:pt x="833" y="154"/>
                        </a:lnTo>
                        <a:lnTo>
                          <a:pt x="829" y="142"/>
                        </a:lnTo>
                        <a:lnTo>
                          <a:pt x="826" y="135"/>
                        </a:lnTo>
                        <a:lnTo>
                          <a:pt x="826" y="133"/>
                        </a:lnTo>
                        <a:lnTo>
                          <a:pt x="821" y="123"/>
                        </a:lnTo>
                        <a:lnTo>
                          <a:pt x="818" y="117"/>
                        </a:lnTo>
                        <a:lnTo>
                          <a:pt x="818" y="31"/>
                        </a:lnTo>
                        <a:lnTo>
                          <a:pt x="801" y="36"/>
                        </a:lnTo>
                        <a:lnTo>
                          <a:pt x="795" y="26"/>
                        </a:lnTo>
                        <a:lnTo>
                          <a:pt x="791" y="22"/>
                        </a:lnTo>
                        <a:lnTo>
                          <a:pt x="776" y="15"/>
                        </a:lnTo>
                        <a:lnTo>
                          <a:pt x="773" y="11"/>
                        </a:lnTo>
                        <a:lnTo>
                          <a:pt x="768" y="7"/>
                        </a:lnTo>
                        <a:lnTo>
                          <a:pt x="759" y="5"/>
                        </a:lnTo>
                        <a:lnTo>
                          <a:pt x="720" y="1"/>
                        </a:lnTo>
                        <a:lnTo>
                          <a:pt x="677" y="2"/>
                        </a:lnTo>
                        <a:lnTo>
                          <a:pt x="646" y="0"/>
                        </a:lnTo>
                        <a:lnTo>
                          <a:pt x="643" y="1"/>
                        </a:lnTo>
                        <a:lnTo>
                          <a:pt x="638" y="4"/>
                        </a:lnTo>
                        <a:lnTo>
                          <a:pt x="612" y="22"/>
                        </a:lnTo>
                        <a:lnTo>
                          <a:pt x="568" y="53"/>
                        </a:lnTo>
                        <a:lnTo>
                          <a:pt x="525" y="84"/>
                        </a:lnTo>
                        <a:lnTo>
                          <a:pt x="482" y="114"/>
                        </a:lnTo>
                        <a:lnTo>
                          <a:pt x="437" y="145"/>
                        </a:lnTo>
                        <a:lnTo>
                          <a:pt x="393" y="176"/>
                        </a:lnTo>
                        <a:lnTo>
                          <a:pt x="350" y="206"/>
                        </a:lnTo>
                        <a:lnTo>
                          <a:pt x="307" y="236"/>
                        </a:lnTo>
                        <a:lnTo>
                          <a:pt x="292" y="241"/>
                        </a:lnTo>
                        <a:lnTo>
                          <a:pt x="230" y="255"/>
                        </a:lnTo>
                        <a:lnTo>
                          <a:pt x="221" y="257"/>
                        </a:lnTo>
                        <a:lnTo>
                          <a:pt x="221" y="259"/>
                        </a:lnTo>
                        <a:lnTo>
                          <a:pt x="222" y="260"/>
                        </a:lnTo>
                        <a:lnTo>
                          <a:pt x="222" y="271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72" name="Freeform 22"/>
                  <p:cNvSpPr>
                    <a:spLocks/>
                  </p:cNvSpPr>
                  <p:nvPr/>
                </p:nvSpPr>
                <p:spPr bwMode="gray">
                  <a:xfrm>
                    <a:off x="2878" y="2323"/>
                    <a:ext cx="165" cy="125"/>
                  </a:xfrm>
                  <a:custGeom>
                    <a:avLst/>
                    <a:gdLst>
                      <a:gd name="T0" fmla="*/ 7 w 824"/>
                      <a:gd name="T1" fmla="*/ 4 h 626"/>
                      <a:gd name="T2" fmla="*/ 6 w 824"/>
                      <a:gd name="T3" fmla="*/ 5 h 626"/>
                      <a:gd name="T4" fmla="*/ 4 w 824"/>
                      <a:gd name="T5" fmla="*/ 9 h 626"/>
                      <a:gd name="T6" fmla="*/ 3 w 824"/>
                      <a:gd name="T7" fmla="*/ 9 h 626"/>
                      <a:gd name="T8" fmla="*/ 3 w 824"/>
                      <a:gd name="T9" fmla="*/ 10 h 626"/>
                      <a:gd name="T10" fmla="*/ 3 w 824"/>
                      <a:gd name="T11" fmla="*/ 11 h 626"/>
                      <a:gd name="T12" fmla="*/ 2 w 824"/>
                      <a:gd name="T13" fmla="*/ 14 h 626"/>
                      <a:gd name="T14" fmla="*/ 1 w 824"/>
                      <a:gd name="T15" fmla="*/ 14 h 626"/>
                      <a:gd name="T16" fmla="*/ 0 w 824"/>
                      <a:gd name="T17" fmla="*/ 15 h 626"/>
                      <a:gd name="T18" fmla="*/ 0 w 824"/>
                      <a:gd name="T19" fmla="*/ 16 h 626"/>
                      <a:gd name="T20" fmla="*/ 2 w 824"/>
                      <a:gd name="T21" fmla="*/ 16 h 626"/>
                      <a:gd name="T22" fmla="*/ 2 w 824"/>
                      <a:gd name="T23" fmla="*/ 17 h 626"/>
                      <a:gd name="T24" fmla="*/ 4 w 824"/>
                      <a:gd name="T25" fmla="*/ 18 h 626"/>
                      <a:gd name="T26" fmla="*/ 5 w 824"/>
                      <a:gd name="T27" fmla="*/ 20 h 626"/>
                      <a:gd name="T28" fmla="*/ 6 w 824"/>
                      <a:gd name="T29" fmla="*/ 21 h 626"/>
                      <a:gd name="T30" fmla="*/ 6 w 824"/>
                      <a:gd name="T31" fmla="*/ 22 h 626"/>
                      <a:gd name="T32" fmla="*/ 7 w 824"/>
                      <a:gd name="T33" fmla="*/ 23 h 626"/>
                      <a:gd name="T34" fmla="*/ 10 w 824"/>
                      <a:gd name="T35" fmla="*/ 24 h 626"/>
                      <a:gd name="T36" fmla="*/ 12 w 824"/>
                      <a:gd name="T37" fmla="*/ 25 h 626"/>
                      <a:gd name="T38" fmla="*/ 15 w 824"/>
                      <a:gd name="T39" fmla="*/ 25 h 626"/>
                      <a:gd name="T40" fmla="*/ 17 w 824"/>
                      <a:gd name="T41" fmla="*/ 23 h 626"/>
                      <a:gd name="T42" fmla="*/ 19 w 824"/>
                      <a:gd name="T43" fmla="*/ 24 h 626"/>
                      <a:gd name="T44" fmla="*/ 20 w 824"/>
                      <a:gd name="T45" fmla="*/ 24 h 626"/>
                      <a:gd name="T46" fmla="*/ 23 w 824"/>
                      <a:gd name="T47" fmla="*/ 22 h 626"/>
                      <a:gd name="T48" fmla="*/ 26 w 824"/>
                      <a:gd name="T49" fmla="*/ 22 h 626"/>
                      <a:gd name="T50" fmla="*/ 33 w 824"/>
                      <a:gd name="T51" fmla="*/ 15 h 626"/>
                      <a:gd name="T52" fmla="*/ 27 w 824"/>
                      <a:gd name="T53" fmla="*/ 14 h 626"/>
                      <a:gd name="T54" fmla="*/ 23 w 824"/>
                      <a:gd name="T55" fmla="*/ 12 h 626"/>
                      <a:gd name="T56" fmla="*/ 23 w 824"/>
                      <a:gd name="T57" fmla="*/ 11 h 626"/>
                      <a:gd name="T58" fmla="*/ 22 w 824"/>
                      <a:gd name="T59" fmla="*/ 10 h 626"/>
                      <a:gd name="T60" fmla="*/ 22 w 824"/>
                      <a:gd name="T61" fmla="*/ 9 h 626"/>
                      <a:gd name="T62" fmla="*/ 21 w 824"/>
                      <a:gd name="T63" fmla="*/ 8 h 626"/>
                      <a:gd name="T64" fmla="*/ 21 w 824"/>
                      <a:gd name="T65" fmla="*/ 9 h 626"/>
                      <a:gd name="T66" fmla="*/ 20 w 824"/>
                      <a:gd name="T67" fmla="*/ 9 h 626"/>
                      <a:gd name="T68" fmla="*/ 19 w 824"/>
                      <a:gd name="T69" fmla="*/ 8 h 626"/>
                      <a:gd name="T70" fmla="*/ 20 w 824"/>
                      <a:gd name="T71" fmla="*/ 7 h 626"/>
                      <a:gd name="T72" fmla="*/ 21 w 824"/>
                      <a:gd name="T73" fmla="*/ 6 h 626"/>
                      <a:gd name="T74" fmla="*/ 20 w 824"/>
                      <a:gd name="T75" fmla="*/ 5 h 626"/>
                      <a:gd name="T76" fmla="*/ 19 w 824"/>
                      <a:gd name="T77" fmla="*/ 4 h 626"/>
                      <a:gd name="T78" fmla="*/ 18 w 824"/>
                      <a:gd name="T79" fmla="*/ 3 h 626"/>
                      <a:gd name="T80" fmla="*/ 17 w 824"/>
                      <a:gd name="T81" fmla="*/ 2 h 626"/>
                      <a:gd name="T82" fmla="*/ 16 w 824"/>
                      <a:gd name="T83" fmla="*/ 1 h 626"/>
                      <a:gd name="T84" fmla="*/ 15 w 824"/>
                      <a:gd name="T85" fmla="*/ 1 h 626"/>
                      <a:gd name="T86" fmla="*/ 14 w 824"/>
                      <a:gd name="T87" fmla="*/ 1 h 626"/>
                      <a:gd name="T88" fmla="*/ 14 w 824"/>
                      <a:gd name="T89" fmla="*/ 1 h 626"/>
                      <a:gd name="T90" fmla="*/ 13 w 824"/>
                      <a:gd name="T91" fmla="*/ 1 h 626"/>
                      <a:gd name="T92" fmla="*/ 13 w 824"/>
                      <a:gd name="T93" fmla="*/ 1 h 626"/>
                      <a:gd name="T94" fmla="*/ 12 w 824"/>
                      <a:gd name="T95" fmla="*/ 1 h 626"/>
                      <a:gd name="T96" fmla="*/ 11 w 824"/>
                      <a:gd name="T97" fmla="*/ 0 h 626"/>
                      <a:gd name="T98" fmla="*/ 11 w 824"/>
                      <a:gd name="T99" fmla="*/ 0 h 626"/>
                      <a:gd name="T100" fmla="*/ 9 w 824"/>
                      <a:gd name="T101" fmla="*/ 1 h 626"/>
                      <a:gd name="T102" fmla="*/ 9 w 824"/>
                      <a:gd name="T103" fmla="*/ 1 h 626"/>
                      <a:gd name="T104" fmla="*/ 9 w 824"/>
                      <a:gd name="T105" fmla="*/ 1 h 626"/>
                      <a:gd name="T106" fmla="*/ 8 w 824"/>
                      <a:gd name="T107" fmla="*/ 1 h 62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w 824"/>
                      <a:gd name="T163" fmla="*/ 0 h 626"/>
                      <a:gd name="T164" fmla="*/ 824 w 824"/>
                      <a:gd name="T165" fmla="*/ 626 h 626"/>
                    </a:gdLst>
                    <a:ahLst/>
                    <a:cxnLst>
                      <a:cxn ang="T108">
                        <a:pos x="T0" y="T1"/>
                      </a:cxn>
                      <a:cxn ang="T109">
                        <a:pos x="T2" y="T3"/>
                      </a:cxn>
                      <a:cxn ang="T110">
                        <a:pos x="T4" y="T5"/>
                      </a:cxn>
                      <a:cxn ang="T111">
                        <a:pos x="T6" y="T7"/>
                      </a:cxn>
                      <a:cxn ang="T112">
                        <a:pos x="T8" y="T9"/>
                      </a:cxn>
                      <a:cxn ang="T113">
                        <a:pos x="T10" y="T11"/>
                      </a:cxn>
                      <a:cxn ang="T114">
                        <a:pos x="T12" y="T13"/>
                      </a:cxn>
                      <a:cxn ang="T115">
                        <a:pos x="T14" y="T15"/>
                      </a:cxn>
                      <a:cxn ang="T116">
                        <a:pos x="T16" y="T17"/>
                      </a:cxn>
                      <a:cxn ang="T117">
                        <a:pos x="T18" y="T19"/>
                      </a:cxn>
                      <a:cxn ang="T118">
                        <a:pos x="T20" y="T21"/>
                      </a:cxn>
                      <a:cxn ang="T119">
                        <a:pos x="T22" y="T23"/>
                      </a:cxn>
                      <a:cxn ang="T120">
                        <a:pos x="T24" y="T25"/>
                      </a:cxn>
                      <a:cxn ang="T121">
                        <a:pos x="T26" y="T27"/>
                      </a:cxn>
                      <a:cxn ang="T122">
                        <a:pos x="T28" y="T29"/>
                      </a:cxn>
                      <a:cxn ang="T123">
                        <a:pos x="T30" y="T31"/>
                      </a:cxn>
                      <a:cxn ang="T124">
                        <a:pos x="T32" y="T33"/>
                      </a:cxn>
                      <a:cxn ang="T125">
                        <a:pos x="T34" y="T35"/>
                      </a:cxn>
                      <a:cxn ang="T126">
                        <a:pos x="T36" y="T37"/>
                      </a:cxn>
                      <a:cxn ang="T127">
                        <a:pos x="T38" y="T39"/>
                      </a:cxn>
                      <a:cxn ang="T128">
                        <a:pos x="T40" y="T41"/>
                      </a:cxn>
                      <a:cxn ang="T129">
                        <a:pos x="T42" y="T43"/>
                      </a:cxn>
                      <a:cxn ang="T130">
                        <a:pos x="T44" y="T45"/>
                      </a:cxn>
                      <a:cxn ang="T131">
                        <a:pos x="T46" y="T47"/>
                      </a:cxn>
                      <a:cxn ang="T132">
                        <a:pos x="T48" y="T49"/>
                      </a:cxn>
                      <a:cxn ang="T133">
                        <a:pos x="T50" y="T51"/>
                      </a:cxn>
                      <a:cxn ang="T134">
                        <a:pos x="T52" y="T53"/>
                      </a:cxn>
                      <a:cxn ang="T135">
                        <a:pos x="T54" y="T55"/>
                      </a:cxn>
                      <a:cxn ang="T136">
                        <a:pos x="T56" y="T57"/>
                      </a:cxn>
                      <a:cxn ang="T137">
                        <a:pos x="T58" y="T59"/>
                      </a:cxn>
                      <a:cxn ang="T138">
                        <a:pos x="T60" y="T61"/>
                      </a:cxn>
                      <a:cxn ang="T139">
                        <a:pos x="T62" y="T63"/>
                      </a:cxn>
                      <a:cxn ang="T140">
                        <a:pos x="T64" y="T65"/>
                      </a:cxn>
                      <a:cxn ang="T141">
                        <a:pos x="T66" y="T67"/>
                      </a:cxn>
                      <a:cxn ang="T142">
                        <a:pos x="T68" y="T69"/>
                      </a:cxn>
                      <a:cxn ang="T143">
                        <a:pos x="T70" y="T71"/>
                      </a:cxn>
                      <a:cxn ang="T144">
                        <a:pos x="T72" y="T73"/>
                      </a:cxn>
                      <a:cxn ang="T145">
                        <a:pos x="T74" y="T75"/>
                      </a:cxn>
                      <a:cxn ang="T146">
                        <a:pos x="T76" y="T77"/>
                      </a:cxn>
                      <a:cxn ang="T147">
                        <a:pos x="T78" y="T79"/>
                      </a:cxn>
                      <a:cxn ang="T148">
                        <a:pos x="T80" y="T81"/>
                      </a:cxn>
                      <a:cxn ang="T149">
                        <a:pos x="T82" y="T83"/>
                      </a:cxn>
                      <a:cxn ang="T150">
                        <a:pos x="T84" y="T85"/>
                      </a:cxn>
                      <a:cxn ang="T151">
                        <a:pos x="T86" y="T87"/>
                      </a:cxn>
                      <a:cxn ang="T152">
                        <a:pos x="T88" y="T89"/>
                      </a:cxn>
                      <a:cxn ang="T153">
                        <a:pos x="T90" y="T91"/>
                      </a:cxn>
                      <a:cxn ang="T154">
                        <a:pos x="T92" y="T93"/>
                      </a:cxn>
                      <a:cxn ang="T155">
                        <a:pos x="T94" y="T95"/>
                      </a:cxn>
                      <a:cxn ang="T156">
                        <a:pos x="T96" y="T97"/>
                      </a:cxn>
                      <a:cxn ang="T157">
                        <a:pos x="T98" y="T99"/>
                      </a:cxn>
                      <a:cxn ang="T158">
                        <a:pos x="T100" y="T101"/>
                      </a:cxn>
                      <a:cxn ang="T159">
                        <a:pos x="T102" y="T103"/>
                      </a:cxn>
                      <a:cxn ang="T160">
                        <a:pos x="T104" y="T105"/>
                      </a:cxn>
                      <a:cxn ang="T161">
                        <a:pos x="T106" y="T107"/>
                      </a:cxn>
                    </a:cxnLst>
                    <a:rect l="T162" t="T163" r="T164" b="T165"/>
                    <a:pathLst>
                      <a:path w="824" h="626">
                        <a:moveTo>
                          <a:pt x="192" y="32"/>
                        </a:moveTo>
                        <a:lnTo>
                          <a:pt x="192" y="48"/>
                        </a:lnTo>
                        <a:lnTo>
                          <a:pt x="174" y="105"/>
                        </a:lnTo>
                        <a:lnTo>
                          <a:pt x="167" y="113"/>
                        </a:lnTo>
                        <a:lnTo>
                          <a:pt x="158" y="115"/>
                        </a:lnTo>
                        <a:lnTo>
                          <a:pt x="149" y="125"/>
                        </a:lnTo>
                        <a:lnTo>
                          <a:pt x="114" y="174"/>
                        </a:lnTo>
                        <a:lnTo>
                          <a:pt x="109" y="188"/>
                        </a:lnTo>
                        <a:lnTo>
                          <a:pt x="104" y="215"/>
                        </a:lnTo>
                        <a:lnTo>
                          <a:pt x="99" y="220"/>
                        </a:lnTo>
                        <a:lnTo>
                          <a:pt x="88" y="220"/>
                        </a:lnTo>
                        <a:lnTo>
                          <a:pt x="81" y="225"/>
                        </a:lnTo>
                        <a:lnTo>
                          <a:pt x="74" y="237"/>
                        </a:lnTo>
                        <a:lnTo>
                          <a:pt x="71" y="244"/>
                        </a:lnTo>
                        <a:lnTo>
                          <a:pt x="67" y="242"/>
                        </a:lnTo>
                        <a:lnTo>
                          <a:pt x="67" y="253"/>
                        </a:lnTo>
                        <a:lnTo>
                          <a:pt x="69" y="259"/>
                        </a:lnTo>
                        <a:lnTo>
                          <a:pt x="67" y="270"/>
                        </a:lnTo>
                        <a:lnTo>
                          <a:pt x="63" y="286"/>
                        </a:lnTo>
                        <a:lnTo>
                          <a:pt x="63" y="331"/>
                        </a:lnTo>
                        <a:lnTo>
                          <a:pt x="61" y="346"/>
                        </a:lnTo>
                        <a:lnTo>
                          <a:pt x="54" y="352"/>
                        </a:lnTo>
                        <a:lnTo>
                          <a:pt x="43" y="357"/>
                        </a:lnTo>
                        <a:lnTo>
                          <a:pt x="21" y="355"/>
                        </a:lnTo>
                        <a:lnTo>
                          <a:pt x="11" y="359"/>
                        </a:lnTo>
                        <a:lnTo>
                          <a:pt x="11" y="373"/>
                        </a:lnTo>
                        <a:lnTo>
                          <a:pt x="5" y="378"/>
                        </a:lnTo>
                        <a:lnTo>
                          <a:pt x="0" y="386"/>
                        </a:lnTo>
                        <a:lnTo>
                          <a:pt x="6" y="390"/>
                        </a:lnTo>
                        <a:lnTo>
                          <a:pt x="12" y="390"/>
                        </a:lnTo>
                        <a:lnTo>
                          <a:pt x="20" y="397"/>
                        </a:lnTo>
                        <a:lnTo>
                          <a:pt x="28" y="395"/>
                        </a:lnTo>
                        <a:lnTo>
                          <a:pt x="39" y="399"/>
                        </a:lnTo>
                        <a:lnTo>
                          <a:pt x="48" y="404"/>
                        </a:lnTo>
                        <a:lnTo>
                          <a:pt x="56" y="414"/>
                        </a:lnTo>
                        <a:lnTo>
                          <a:pt x="58" y="424"/>
                        </a:lnTo>
                        <a:lnTo>
                          <a:pt x="64" y="432"/>
                        </a:lnTo>
                        <a:lnTo>
                          <a:pt x="71" y="440"/>
                        </a:lnTo>
                        <a:lnTo>
                          <a:pt x="93" y="453"/>
                        </a:lnTo>
                        <a:lnTo>
                          <a:pt x="98" y="463"/>
                        </a:lnTo>
                        <a:lnTo>
                          <a:pt x="103" y="475"/>
                        </a:lnTo>
                        <a:lnTo>
                          <a:pt x="113" y="502"/>
                        </a:lnTo>
                        <a:lnTo>
                          <a:pt x="118" y="511"/>
                        </a:lnTo>
                        <a:lnTo>
                          <a:pt x="126" y="517"/>
                        </a:lnTo>
                        <a:lnTo>
                          <a:pt x="150" y="522"/>
                        </a:lnTo>
                        <a:lnTo>
                          <a:pt x="157" y="527"/>
                        </a:lnTo>
                        <a:lnTo>
                          <a:pt x="158" y="534"/>
                        </a:lnTo>
                        <a:lnTo>
                          <a:pt x="157" y="544"/>
                        </a:lnTo>
                        <a:lnTo>
                          <a:pt x="156" y="566"/>
                        </a:lnTo>
                        <a:lnTo>
                          <a:pt x="169" y="571"/>
                        </a:lnTo>
                        <a:lnTo>
                          <a:pt x="185" y="569"/>
                        </a:lnTo>
                        <a:lnTo>
                          <a:pt x="200" y="570"/>
                        </a:lnTo>
                        <a:lnTo>
                          <a:pt x="217" y="578"/>
                        </a:lnTo>
                        <a:lnTo>
                          <a:pt x="255" y="600"/>
                        </a:lnTo>
                        <a:lnTo>
                          <a:pt x="266" y="613"/>
                        </a:lnTo>
                        <a:lnTo>
                          <a:pt x="286" y="619"/>
                        </a:lnTo>
                        <a:lnTo>
                          <a:pt x="303" y="619"/>
                        </a:lnTo>
                        <a:lnTo>
                          <a:pt x="325" y="625"/>
                        </a:lnTo>
                        <a:lnTo>
                          <a:pt x="350" y="626"/>
                        </a:lnTo>
                        <a:lnTo>
                          <a:pt x="373" y="614"/>
                        </a:lnTo>
                        <a:lnTo>
                          <a:pt x="389" y="598"/>
                        </a:lnTo>
                        <a:lnTo>
                          <a:pt x="408" y="592"/>
                        </a:lnTo>
                        <a:lnTo>
                          <a:pt x="427" y="588"/>
                        </a:lnTo>
                        <a:lnTo>
                          <a:pt x="461" y="604"/>
                        </a:lnTo>
                        <a:lnTo>
                          <a:pt x="474" y="603"/>
                        </a:lnTo>
                        <a:lnTo>
                          <a:pt x="483" y="604"/>
                        </a:lnTo>
                        <a:lnTo>
                          <a:pt x="488" y="603"/>
                        </a:lnTo>
                        <a:lnTo>
                          <a:pt x="491" y="599"/>
                        </a:lnTo>
                        <a:lnTo>
                          <a:pt x="506" y="592"/>
                        </a:lnTo>
                        <a:lnTo>
                          <a:pt x="542" y="580"/>
                        </a:lnTo>
                        <a:lnTo>
                          <a:pt x="554" y="567"/>
                        </a:lnTo>
                        <a:lnTo>
                          <a:pt x="567" y="559"/>
                        </a:lnTo>
                        <a:lnTo>
                          <a:pt x="588" y="550"/>
                        </a:lnTo>
                        <a:lnTo>
                          <a:pt x="596" y="545"/>
                        </a:lnTo>
                        <a:lnTo>
                          <a:pt x="661" y="545"/>
                        </a:lnTo>
                        <a:lnTo>
                          <a:pt x="742" y="463"/>
                        </a:lnTo>
                        <a:lnTo>
                          <a:pt x="813" y="393"/>
                        </a:lnTo>
                        <a:lnTo>
                          <a:pt x="823" y="381"/>
                        </a:lnTo>
                        <a:lnTo>
                          <a:pt x="824" y="378"/>
                        </a:lnTo>
                        <a:lnTo>
                          <a:pt x="771" y="379"/>
                        </a:lnTo>
                        <a:lnTo>
                          <a:pt x="684" y="347"/>
                        </a:lnTo>
                        <a:lnTo>
                          <a:pt x="606" y="320"/>
                        </a:lnTo>
                        <a:lnTo>
                          <a:pt x="599" y="313"/>
                        </a:lnTo>
                        <a:lnTo>
                          <a:pt x="579" y="298"/>
                        </a:lnTo>
                        <a:lnTo>
                          <a:pt x="572" y="288"/>
                        </a:lnTo>
                        <a:lnTo>
                          <a:pt x="566" y="282"/>
                        </a:lnTo>
                        <a:lnTo>
                          <a:pt x="564" y="276"/>
                        </a:lnTo>
                        <a:lnTo>
                          <a:pt x="559" y="273"/>
                        </a:lnTo>
                        <a:lnTo>
                          <a:pt x="553" y="266"/>
                        </a:lnTo>
                        <a:lnTo>
                          <a:pt x="550" y="261"/>
                        </a:lnTo>
                        <a:lnTo>
                          <a:pt x="543" y="254"/>
                        </a:lnTo>
                        <a:lnTo>
                          <a:pt x="538" y="231"/>
                        </a:lnTo>
                        <a:lnTo>
                          <a:pt x="539" y="226"/>
                        </a:lnTo>
                        <a:lnTo>
                          <a:pt x="543" y="221"/>
                        </a:lnTo>
                        <a:lnTo>
                          <a:pt x="543" y="220"/>
                        </a:lnTo>
                        <a:lnTo>
                          <a:pt x="534" y="212"/>
                        </a:lnTo>
                        <a:lnTo>
                          <a:pt x="529" y="211"/>
                        </a:lnTo>
                        <a:lnTo>
                          <a:pt x="517" y="216"/>
                        </a:lnTo>
                        <a:lnTo>
                          <a:pt x="516" y="218"/>
                        </a:lnTo>
                        <a:lnTo>
                          <a:pt x="515" y="220"/>
                        </a:lnTo>
                        <a:lnTo>
                          <a:pt x="508" y="217"/>
                        </a:lnTo>
                        <a:lnTo>
                          <a:pt x="504" y="220"/>
                        </a:lnTo>
                        <a:lnTo>
                          <a:pt x="491" y="218"/>
                        </a:lnTo>
                        <a:lnTo>
                          <a:pt x="485" y="212"/>
                        </a:lnTo>
                        <a:lnTo>
                          <a:pt x="484" y="203"/>
                        </a:lnTo>
                        <a:lnTo>
                          <a:pt x="484" y="200"/>
                        </a:lnTo>
                        <a:lnTo>
                          <a:pt x="493" y="190"/>
                        </a:lnTo>
                        <a:lnTo>
                          <a:pt x="499" y="177"/>
                        </a:lnTo>
                        <a:lnTo>
                          <a:pt x="501" y="166"/>
                        </a:lnTo>
                        <a:lnTo>
                          <a:pt x="506" y="144"/>
                        </a:lnTo>
                        <a:lnTo>
                          <a:pt x="512" y="140"/>
                        </a:lnTo>
                        <a:lnTo>
                          <a:pt x="506" y="132"/>
                        </a:lnTo>
                        <a:lnTo>
                          <a:pt x="502" y="125"/>
                        </a:lnTo>
                        <a:lnTo>
                          <a:pt x="495" y="119"/>
                        </a:lnTo>
                        <a:lnTo>
                          <a:pt x="486" y="115"/>
                        </a:lnTo>
                        <a:lnTo>
                          <a:pt x="483" y="109"/>
                        </a:lnTo>
                        <a:lnTo>
                          <a:pt x="480" y="99"/>
                        </a:lnTo>
                        <a:lnTo>
                          <a:pt x="474" y="93"/>
                        </a:lnTo>
                        <a:lnTo>
                          <a:pt x="462" y="83"/>
                        </a:lnTo>
                        <a:lnTo>
                          <a:pt x="445" y="71"/>
                        </a:lnTo>
                        <a:lnTo>
                          <a:pt x="440" y="62"/>
                        </a:lnTo>
                        <a:lnTo>
                          <a:pt x="432" y="51"/>
                        </a:lnTo>
                        <a:lnTo>
                          <a:pt x="420" y="40"/>
                        </a:lnTo>
                        <a:lnTo>
                          <a:pt x="413" y="39"/>
                        </a:lnTo>
                        <a:lnTo>
                          <a:pt x="403" y="34"/>
                        </a:lnTo>
                        <a:lnTo>
                          <a:pt x="389" y="23"/>
                        </a:lnTo>
                        <a:lnTo>
                          <a:pt x="378" y="24"/>
                        </a:lnTo>
                        <a:lnTo>
                          <a:pt x="376" y="26"/>
                        </a:lnTo>
                        <a:lnTo>
                          <a:pt x="372" y="26"/>
                        </a:lnTo>
                        <a:lnTo>
                          <a:pt x="371" y="22"/>
                        </a:lnTo>
                        <a:lnTo>
                          <a:pt x="361" y="22"/>
                        </a:lnTo>
                        <a:lnTo>
                          <a:pt x="356" y="18"/>
                        </a:lnTo>
                        <a:lnTo>
                          <a:pt x="352" y="18"/>
                        </a:lnTo>
                        <a:lnTo>
                          <a:pt x="348" y="22"/>
                        </a:lnTo>
                        <a:lnTo>
                          <a:pt x="340" y="23"/>
                        </a:lnTo>
                        <a:lnTo>
                          <a:pt x="339" y="24"/>
                        </a:lnTo>
                        <a:lnTo>
                          <a:pt x="337" y="24"/>
                        </a:lnTo>
                        <a:lnTo>
                          <a:pt x="334" y="18"/>
                        </a:lnTo>
                        <a:lnTo>
                          <a:pt x="329" y="13"/>
                        </a:lnTo>
                        <a:lnTo>
                          <a:pt x="324" y="13"/>
                        </a:lnTo>
                        <a:lnTo>
                          <a:pt x="324" y="17"/>
                        </a:lnTo>
                        <a:lnTo>
                          <a:pt x="318" y="22"/>
                        </a:lnTo>
                        <a:lnTo>
                          <a:pt x="305" y="24"/>
                        </a:lnTo>
                        <a:lnTo>
                          <a:pt x="301" y="26"/>
                        </a:lnTo>
                        <a:lnTo>
                          <a:pt x="292" y="26"/>
                        </a:lnTo>
                        <a:lnTo>
                          <a:pt x="284" y="15"/>
                        </a:lnTo>
                        <a:lnTo>
                          <a:pt x="284" y="12"/>
                        </a:lnTo>
                        <a:lnTo>
                          <a:pt x="281" y="11"/>
                        </a:lnTo>
                        <a:lnTo>
                          <a:pt x="274" y="11"/>
                        </a:lnTo>
                        <a:lnTo>
                          <a:pt x="268" y="5"/>
                        </a:lnTo>
                        <a:lnTo>
                          <a:pt x="264" y="0"/>
                        </a:lnTo>
                        <a:lnTo>
                          <a:pt x="244" y="44"/>
                        </a:lnTo>
                        <a:lnTo>
                          <a:pt x="236" y="34"/>
                        </a:lnTo>
                        <a:lnTo>
                          <a:pt x="236" y="31"/>
                        </a:lnTo>
                        <a:lnTo>
                          <a:pt x="231" y="26"/>
                        </a:lnTo>
                        <a:lnTo>
                          <a:pt x="223" y="26"/>
                        </a:lnTo>
                        <a:lnTo>
                          <a:pt x="220" y="29"/>
                        </a:lnTo>
                        <a:lnTo>
                          <a:pt x="219" y="33"/>
                        </a:lnTo>
                        <a:lnTo>
                          <a:pt x="216" y="35"/>
                        </a:lnTo>
                        <a:lnTo>
                          <a:pt x="212" y="35"/>
                        </a:lnTo>
                        <a:lnTo>
                          <a:pt x="208" y="33"/>
                        </a:lnTo>
                        <a:lnTo>
                          <a:pt x="194" y="33"/>
                        </a:lnTo>
                        <a:lnTo>
                          <a:pt x="192" y="32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73" name="Freeform 23"/>
                  <p:cNvSpPr>
                    <a:spLocks/>
                  </p:cNvSpPr>
                  <p:nvPr/>
                </p:nvSpPr>
                <p:spPr bwMode="gray">
                  <a:xfrm>
                    <a:off x="2616" y="2103"/>
                    <a:ext cx="174" cy="167"/>
                  </a:xfrm>
                  <a:custGeom>
                    <a:avLst/>
                    <a:gdLst>
                      <a:gd name="T0" fmla="*/ 5 w 871"/>
                      <a:gd name="T1" fmla="*/ 23 h 832"/>
                      <a:gd name="T2" fmla="*/ 3 w 871"/>
                      <a:gd name="T3" fmla="*/ 21 h 832"/>
                      <a:gd name="T4" fmla="*/ 2 w 871"/>
                      <a:gd name="T5" fmla="*/ 20 h 832"/>
                      <a:gd name="T6" fmla="*/ 0 w 871"/>
                      <a:gd name="T7" fmla="*/ 18 h 832"/>
                      <a:gd name="T8" fmla="*/ 1 w 871"/>
                      <a:gd name="T9" fmla="*/ 17 h 832"/>
                      <a:gd name="T10" fmla="*/ 1 w 871"/>
                      <a:gd name="T11" fmla="*/ 14 h 832"/>
                      <a:gd name="T12" fmla="*/ 1 w 871"/>
                      <a:gd name="T13" fmla="*/ 12 h 832"/>
                      <a:gd name="T14" fmla="*/ 0 w 871"/>
                      <a:gd name="T15" fmla="*/ 9 h 832"/>
                      <a:gd name="T16" fmla="*/ 0 w 871"/>
                      <a:gd name="T17" fmla="*/ 7 h 832"/>
                      <a:gd name="T18" fmla="*/ 1 w 871"/>
                      <a:gd name="T19" fmla="*/ 7 h 832"/>
                      <a:gd name="T20" fmla="*/ 2 w 871"/>
                      <a:gd name="T21" fmla="*/ 6 h 832"/>
                      <a:gd name="T22" fmla="*/ 2 w 871"/>
                      <a:gd name="T23" fmla="*/ 4 h 832"/>
                      <a:gd name="T24" fmla="*/ 3 w 871"/>
                      <a:gd name="T25" fmla="*/ 3 h 832"/>
                      <a:gd name="T26" fmla="*/ 5 w 871"/>
                      <a:gd name="T27" fmla="*/ 2 h 832"/>
                      <a:gd name="T28" fmla="*/ 5 w 871"/>
                      <a:gd name="T29" fmla="*/ 0 h 832"/>
                      <a:gd name="T30" fmla="*/ 8 w 871"/>
                      <a:gd name="T31" fmla="*/ 1 h 832"/>
                      <a:gd name="T32" fmla="*/ 9 w 871"/>
                      <a:gd name="T33" fmla="*/ 1 h 832"/>
                      <a:gd name="T34" fmla="*/ 11 w 871"/>
                      <a:gd name="T35" fmla="*/ 1 h 832"/>
                      <a:gd name="T36" fmla="*/ 13 w 871"/>
                      <a:gd name="T37" fmla="*/ 2 h 832"/>
                      <a:gd name="T38" fmla="*/ 13 w 871"/>
                      <a:gd name="T39" fmla="*/ 3 h 832"/>
                      <a:gd name="T40" fmla="*/ 15 w 871"/>
                      <a:gd name="T41" fmla="*/ 5 h 832"/>
                      <a:gd name="T42" fmla="*/ 17 w 871"/>
                      <a:gd name="T43" fmla="*/ 5 h 832"/>
                      <a:gd name="T44" fmla="*/ 19 w 871"/>
                      <a:gd name="T45" fmla="*/ 6 h 832"/>
                      <a:gd name="T46" fmla="*/ 21 w 871"/>
                      <a:gd name="T47" fmla="*/ 7 h 832"/>
                      <a:gd name="T48" fmla="*/ 22 w 871"/>
                      <a:gd name="T49" fmla="*/ 7 h 832"/>
                      <a:gd name="T50" fmla="*/ 23 w 871"/>
                      <a:gd name="T51" fmla="*/ 6 h 832"/>
                      <a:gd name="T52" fmla="*/ 24 w 871"/>
                      <a:gd name="T53" fmla="*/ 5 h 832"/>
                      <a:gd name="T54" fmla="*/ 23 w 871"/>
                      <a:gd name="T55" fmla="*/ 3 h 832"/>
                      <a:gd name="T56" fmla="*/ 24 w 871"/>
                      <a:gd name="T57" fmla="*/ 2 h 832"/>
                      <a:gd name="T58" fmla="*/ 26 w 871"/>
                      <a:gd name="T59" fmla="*/ 1 h 832"/>
                      <a:gd name="T60" fmla="*/ 29 w 871"/>
                      <a:gd name="T61" fmla="*/ 1 h 832"/>
                      <a:gd name="T62" fmla="*/ 30 w 871"/>
                      <a:gd name="T63" fmla="*/ 1 h 832"/>
                      <a:gd name="T64" fmla="*/ 30 w 871"/>
                      <a:gd name="T65" fmla="*/ 2 h 832"/>
                      <a:gd name="T66" fmla="*/ 31 w 871"/>
                      <a:gd name="T67" fmla="*/ 3 h 832"/>
                      <a:gd name="T68" fmla="*/ 32 w 871"/>
                      <a:gd name="T69" fmla="*/ 3 h 832"/>
                      <a:gd name="T70" fmla="*/ 33 w 871"/>
                      <a:gd name="T71" fmla="*/ 3 h 832"/>
                      <a:gd name="T72" fmla="*/ 35 w 871"/>
                      <a:gd name="T73" fmla="*/ 4 h 832"/>
                      <a:gd name="T74" fmla="*/ 34 w 871"/>
                      <a:gd name="T75" fmla="*/ 4 h 832"/>
                      <a:gd name="T76" fmla="*/ 34 w 871"/>
                      <a:gd name="T77" fmla="*/ 5 h 832"/>
                      <a:gd name="T78" fmla="*/ 34 w 871"/>
                      <a:gd name="T79" fmla="*/ 7 h 832"/>
                      <a:gd name="T80" fmla="*/ 34 w 871"/>
                      <a:gd name="T81" fmla="*/ 8 h 832"/>
                      <a:gd name="T82" fmla="*/ 34 w 871"/>
                      <a:gd name="T83" fmla="*/ 9 h 832"/>
                      <a:gd name="T84" fmla="*/ 35 w 871"/>
                      <a:gd name="T85" fmla="*/ 10 h 832"/>
                      <a:gd name="T86" fmla="*/ 35 w 871"/>
                      <a:gd name="T87" fmla="*/ 17 h 832"/>
                      <a:gd name="T88" fmla="*/ 35 w 871"/>
                      <a:gd name="T89" fmla="*/ 24 h 832"/>
                      <a:gd name="T90" fmla="*/ 35 w 871"/>
                      <a:gd name="T91" fmla="*/ 30 h 832"/>
                      <a:gd name="T92" fmla="*/ 33 w 871"/>
                      <a:gd name="T93" fmla="*/ 34 h 832"/>
                      <a:gd name="T94" fmla="*/ 29 w 871"/>
                      <a:gd name="T95" fmla="*/ 32 h 832"/>
                      <a:gd name="T96" fmla="*/ 23 w 871"/>
                      <a:gd name="T97" fmla="*/ 29 h 832"/>
                      <a:gd name="T98" fmla="*/ 17 w 871"/>
                      <a:gd name="T99" fmla="*/ 25 h 832"/>
                      <a:gd name="T100" fmla="*/ 13 w 871"/>
                      <a:gd name="T101" fmla="*/ 25 h 832"/>
                      <a:gd name="T102" fmla="*/ 12 w 871"/>
                      <a:gd name="T103" fmla="*/ 25 h 832"/>
                      <a:gd name="T104" fmla="*/ 11 w 871"/>
                      <a:gd name="T105" fmla="*/ 24 h 832"/>
                      <a:gd name="T106" fmla="*/ 9 w 871"/>
                      <a:gd name="T107" fmla="*/ 24 h 832"/>
                      <a:gd name="T108" fmla="*/ 6 w 871"/>
                      <a:gd name="T109" fmla="*/ 24 h 832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w 871"/>
                      <a:gd name="T166" fmla="*/ 0 h 832"/>
                      <a:gd name="T167" fmla="*/ 871 w 871"/>
                      <a:gd name="T168" fmla="*/ 832 h 832"/>
                    </a:gdLst>
                    <a:ahLst/>
                    <a:cxnLst>
                      <a:cxn ang="T110">
                        <a:pos x="T0" y="T1"/>
                      </a:cxn>
                      <a:cxn ang="T111">
                        <a:pos x="T2" y="T3"/>
                      </a:cxn>
                      <a:cxn ang="T112">
                        <a:pos x="T4" y="T5"/>
                      </a:cxn>
                      <a:cxn ang="T113">
                        <a:pos x="T6" y="T7"/>
                      </a:cxn>
                      <a:cxn ang="T114">
                        <a:pos x="T8" y="T9"/>
                      </a:cxn>
                      <a:cxn ang="T115">
                        <a:pos x="T10" y="T11"/>
                      </a:cxn>
                      <a:cxn ang="T116">
                        <a:pos x="T12" y="T13"/>
                      </a:cxn>
                      <a:cxn ang="T117">
                        <a:pos x="T14" y="T15"/>
                      </a:cxn>
                      <a:cxn ang="T118">
                        <a:pos x="T16" y="T17"/>
                      </a:cxn>
                      <a:cxn ang="T119">
                        <a:pos x="T18" y="T19"/>
                      </a:cxn>
                      <a:cxn ang="T120">
                        <a:pos x="T20" y="T21"/>
                      </a:cxn>
                      <a:cxn ang="T121">
                        <a:pos x="T22" y="T23"/>
                      </a:cxn>
                      <a:cxn ang="T122">
                        <a:pos x="T24" y="T25"/>
                      </a:cxn>
                      <a:cxn ang="T123">
                        <a:pos x="T26" y="T27"/>
                      </a:cxn>
                      <a:cxn ang="T124">
                        <a:pos x="T28" y="T29"/>
                      </a:cxn>
                      <a:cxn ang="T125">
                        <a:pos x="T30" y="T31"/>
                      </a:cxn>
                      <a:cxn ang="T126">
                        <a:pos x="T32" y="T33"/>
                      </a:cxn>
                      <a:cxn ang="T127">
                        <a:pos x="T34" y="T35"/>
                      </a:cxn>
                      <a:cxn ang="T128">
                        <a:pos x="T36" y="T37"/>
                      </a:cxn>
                      <a:cxn ang="T129">
                        <a:pos x="T38" y="T39"/>
                      </a:cxn>
                      <a:cxn ang="T130">
                        <a:pos x="T40" y="T41"/>
                      </a:cxn>
                      <a:cxn ang="T131">
                        <a:pos x="T42" y="T43"/>
                      </a:cxn>
                      <a:cxn ang="T132">
                        <a:pos x="T44" y="T45"/>
                      </a:cxn>
                      <a:cxn ang="T133">
                        <a:pos x="T46" y="T47"/>
                      </a:cxn>
                      <a:cxn ang="T134">
                        <a:pos x="T48" y="T49"/>
                      </a:cxn>
                      <a:cxn ang="T135">
                        <a:pos x="T50" y="T51"/>
                      </a:cxn>
                      <a:cxn ang="T136">
                        <a:pos x="T52" y="T53"/>
                      </a:cxn>
                      <a:cxn ang="T137">
                        <a:pos x="T54" y="T55"/>
                      </a:cxn>
                      <a:cxn ang="T138">
                        <a:pos x="T56" y="T57"/>
                      </a:cxn>
                      <a:cxn ang="T139">
                        <a:pos x="T58" y="T59"/>
                      </a:cxn>
                      <a:cxn ang="T140">
                        <a:pos x="T60" y="T61"/>
                      </a:cxn>
                      <a:cxn ang="T141">
                        <a:pos x="T62" y="T63"/>
                      </a:cxn>
                      <a:cxn ang="T142">
                        <a:pos x="T64" y="T65"/>
                      </a:cxn>
                      <a:cxn ang="T143">
                        <a:pos x="T66" y="T67"/>
                      </a:cxn>
                      <a:cxn ang="T144">
                        <a:pos x="T68" y="T69"/>
                      </a:cxn>
                      <a:cxn ang="T145">
                        <a:pos x="T70" y="T71"/>
                      </a:cxn>
                      <a:cxn ang="T146">
                        <a:pos x="T72" y="T73"/>
                      </a:cxn>
                      <a:cxn ang="T147">
                        <a:pos x="T74" y="T75"/>
                      </a:cxn>
                      <a:cxn ang="T148">
                        <a:pos x="T76" y="T77"/>
                      </a:cxn>
                      <a:cxn ang="T149">
                        <a:pos x="T78" y="T79"/>
                      </a:cxn>
                      <a:cxn ang="T150">
                        <a:pos x="T80" y="T81"/>
                      </a:cxn>
                      <a:cxn ang="T151">
                        <a:pos x="T82" y="T83"/>
                      </a:cxn>
                      <a:cxn ang="T152">
                        <a:pos x="T84" y="T85"/>
                      </a:cxn>
                      <a:cxn ang="T153">
                        <a:pos x="T86" y="T87"/>
                      </a:cxn>
                      <a:cxn ang="T154">
                        <a:pos x="T88" y="T89"/>
                      </a:cxn>
                      <a:cxn ang="T155">
                        <a:pos x="T90" y="T91"/>
                      </a:cxn>
                      <a:cxn ang="T156">
                        <a:pos x="T92" y="T93"/>
                      </a:cxn>
                      <a:cxn ang="T157">
                        <a:pos x="T94" y="T95"/>
                      </a:cxn>
                      <a:cxn ang="T158">
                        <a:pos x="T96" y="T97"/>
                      </a:cxn>
                      <a:cxn ang="T159">
                        <a:pos x="T98" y="T99"/>
                      </a:cxn>
                      <a:cxn ang="T160">
                        <a:pos x="T100" y="T101"/>
                      </a:cxn>
                      <a:cxn ang="T161">
                        <a:pos x="T102" y="T103"/>
                      </a:cxn>
                      <a:cxn ang="T162">
                        <a:pos x="T104" y="T105"/>
                      </a:cxn>
                      <a:cxn ang="T163">
                        <a:pos x="T106" y="T107"/>
                      </a:cxn>
                      <a:cxn ang="T164">
                        <a:pos x="T108" y="T109"/>
                      </a:cxn>
                    </a:cxnLst>
                    <a:rect l="T165" t="T166" r="T167" b="T168"/>
                    <a:pathLst>
                      <a:path w="871" h="832">
                        <a:moveTo>
                          <a:pt x="140" y="598"/>
                        </a:moveTo>
                        <a:lnTo>
                          <a:pt x="138" y="592"/>
                        </a:lnTo>
                        <a:lnTo>
                          <a:pt x="134" y="578"/>
                        </a:lnTo>
                        <a:lnTo>
                          <a:pt x="116" y="549"/>
                        </a:lnTo>
                        <a:lnTo>
                          <a:pt x="87" y="535"/>
                        </a:lnTo>
                        <a:lnTo>
                          <a:pt x="76" y="535"/>
                        </a:lnTo>
                        <a:lnTo>
                          <a:pt x="57" y="534"/>
                        </a:lnTo>
                        <a:lnTo>
                          <a:pt x="43" y="519"/>
                        </a:lnTo>
                        <a:lnTo>
                          <a:pt x="40" y="507"/>
                        </a:lnTo>
                        <a:lnTo>
                          <a:pt x="39" y="487"/>
                        </a:lnTo>
                        <a:lnTo>
                          <a:pt x="29" y="471"/>
                        </a:lnTo>
                        <a:lnTo>
                          <a:pt x="11" y="449"/>
                        </a:lnTo>
                        <a:lnTo>
                          <a:pt x="6" y="436"/>
                        </a:lnTo>
                        <a:lnTo>
                          <a:pt x="7" y="428"/>
                        </a:lnTo>
                        <a:lnTo>
                          <a:pt x="18" y="425"/>
                        </a:lnTo>
                        <a:lnTo>
                          <a:pt x="27" y="418"/>
                        </a:lnTo>
                        <a:lnTo>
                          <a:pt x="28" y="362"/>
                        </a:lnTo>
                        <a:lnTo>
                          <a:pt x="32" y="340"/>
                        </a:lnTo>
                        <a:lnTo>
                          <a:pt x="32" y="327"/>
                        </a:lnTo>
                        <a:lnTo>
                          <a:pt x="29" y="319"/>
                        </a:lnTo>
                        <a:lnTo>
                          <a:pt x="29" y="288"/>
                        </a:lnTo>
                        <a:lnTo>
                          <a:pt x="28" y="266"/>
                        </a:lnTo>
                        <a:lnTo>
                          <a:pt x="23" y="243"/>
                        </a:lnTo>
                        <a:lnTo>
                          <a:pt x="11" y="222"/>
                        </a:lnTo>
                        <a:lnTo>
                          <a:pt x="0" y="207"/>
                        </a:lnTo>
                        <a:lnTo>
                          <a:pt x="1" y="191"/>
                        </a:lnTo>
                        <a:lnTo>
                          <a:pt x="11" y="184"/>
                        </a:lnTo>
                        <a:lnTo>
                          <a:pt x="12" y="181"/>
                        </a:lnTo>
                        <a:lnTo>
                          <a:pt x="24" y="180"/>
                        </a:lnTo>
                        <a:lnTo>
                          <a:pt x="36" y="171"/>
                        </a:lnTo>
                        <a:lnTo>
                          <a:pt x="46" y="163"/>
                        </a:lnTo>
                        <a:lnTo>
                          <a:pt x="52" y="153"/>
                        </a:lnTo>
                        <a:lnTo>
                          <a:pt x="52" y="143"/>
                        </a:lnTo>
                        <a:lnTo>
                          <a:pt x="46" y="115"/>
                        </a:lnTo>
                        <a:lnTo>
                          <a:pt x="48" y="106"/>
                        </a:lnTo>
                        <a:lnTo>
                          <a:pt x="52" y="98"/>
                        </a:lnTo>
                        <a:lnTo>
                          <a:pt x="65" y="92"/>
                        </a:lnTo>
                        <a:lnTo>
                          <a:pt x="75" y="85"/>
                        </a:lnTo>
                        <a:lnTo>
                          <a:pt x="79" y="74"/>
                        </a:lnTo>
                        <a:lnTo>
                          <a:pt x="108" y="55"/>
                        </a:lnTo>
                        <a:lnTo>
                          <a:pt x="114" y="50"/>
                        </a:lnTo>
                        <a:lnTo>
                          <a:pt x="119" y="39"/>
                        </a:lnTo>
                        <a:lnTo>
                          <a:pt x="118" y="3"/>
                        </a:lnTo>
                        <a:lnTo>
                          <a:pt x="119" y="0"/>
                        </a:lnTo>
                        <a:lnTo>
                          <a:pt x="130" y="2"/>
                        </a:lnTo>
                        <a:lnTo>
                          <a:pt x="142" y="9"/>
                        </a:lnTo>
                        <a:lnTo>
                          <a:pt x="169" y="20"/>
                        </a:lnTo>
                        <a:lnTo>
                          <a:pt x="190" y="22"/>
                        </a:lnTo>
                        <a:lnTo>
                          <a:pt x="211" y="17"/>
                        </a:lnTo>
                        <a:lnTo>
                          <a:pt x="226" y="18"/>
                        </a:lnTo>
                        <a:lnTo>
                          <a:pt x="237" y="23"/>
                        </a:lnTo>
                        <a:lnTo>
                          <a:pt x="250" y="24"/>
                        </a:lnTo>
                        <a:lnTo>
                          <a:pt x="267" y="29"/>
                        </a:lnTo>
                        <a:lnTo>
                          <a:pt x="276" y="35"/>
                        </a:lnTo>
                        <a:lnTo>
                          <a:pt x="297" y="45"/>
                        </a:lnTo>
                        <a:lnTo>
                          <a:pt x="309" y="47"/>
                        </a:lnTo>
                        <a:lnTo>
                          <a:pt x="323" y="52"/>
                        </a:lnTo>
                        <a:lnTo>
                          <a:pt x="329" y="58"/>
                        </a:lnTo>
                        <a:lnTo>
                          <a:pt x="333" y="71"/>
                        </a:lnTo>
                        <a:lnTo>
                          <a:pt x="333" y="84"/>
                        </a:lnTo>
                        <a:lnTo>
                          <a:pt x="342" y="99"/>
                        </a:lnTo>
                        <a:lnTo>
                          <a:pt x="358" y="115"/>
                        </a:lnTo>
                        <a:lnTo>
                          <a:pt x="371" y="121"/>
                        </a:lnTo>
                        <a:lnTo>
                          <a:pt x="379" y="124"/>
                        </a:lnTo>
                        <a:lnTo>
                          <a:pt x="415" y="125"/>
                        </a:lnTo>
                        <a:lnTo>
                          <a:pt x="431" y="130"/>
                        </a:lnTo>
                        <a:lnTo>
                          <a:pt x="459" y="140"/>
                        </a:lnTo>
                        <a:lnTo>
                          <a:pt x="474" y="149"/>
                        </a:lnTo>
                        <a:lnTo>
                          <a:pt x="482" y="151"/>
                        </a:lnTo>
                        <a:lnTo>
                          <a:pt x="490" y="154"/>
                        </a:lnTo>
                        <a:lnTo>
                          <a:pt x="496" y="162"/>
                        </a:lnTo>
                        <a:lnTo>
                          <a:pt x="514" y="178"/>
                        </a:lnTo>
                        <a:lnTo>
                          <a:pt x="529" y="184"/>
                        </a:lnTo>
                        <a:lnTo>
                          <a:pt x="543" y="184"/>
                        </a:lnTo>
                        <a:lnTo>
                          <a:pt x="561" y="176"/>
                        </a:lnTo>
                        <a:lnTo>
                          <a:pt x="571" y="170"/>
                        </a:lnTo>
                        <a:lnTo>
                          <a:pt x="581" y="159"/>
                        </a:lnTo>
                        <a:lnTo>
                          <a:pt x="587" y="148"/>
                        </a:lnTo>
                        <a:lnTo>
                          <a:pt x="593" y="138"/>
                        </a:lnTo>
                        <a:lnTo>
                          <a:pt x="594" y="130"/>
                        </a:lnTo>
                        <a:lnTo>
                          <a:pt x="589" y="117"/>
                        </a:lnTo>
                        <a:lnTo>
                          <a:pt x="588" y="108"/>
                        </a:lnTo>
                        <a:lnTo>
                          <a:pt x="582" y="98"/>
                        </a:lnTo>
                        <a:lnTo>
                          <a:pt x="582" y="83"/>
                        </a:lnTo>
                        <a:lnTo>
                          <a:pt x="586" y="70"/>
                        </a:lnTo>
                        <a:lnTo>
                          <a:pt x="598" y="55"/>
                        </a:lnTo>
                        <a:lnTo>
                          <a:pt x="606" y="47"/>
                        </a:lnTo>
                        <a:lnTo>
                          <a:pt x="625" y="33"/>
                        </a:lnTo>
                        <a:lnTo>
                          <a:pt x="641" y="24"/>
                        </a:lnTo>
                        <a:lnTo>
                          <a:pt x="658" y="22"/>
                        </a:lnTo>
                        <a:lnTo>
                          <a:pt x="670" y="17"/>
                        </a:lnTo>
                        <a:lnTo>
                          <a:pt x="701" y="15"/>
                        </a:lnTo>
                        <a:lnTo>
                          <a:pt x="729" y="25"/>
                        </a:lnTo>
                        <a:lnTo>
                          <a:pt x="737" y="29"/>
                        </a:lnTo>
                        <a:lnTo>
                          <a:pt x="745" y="30"/>
                        </a:lnTo>
                        <a:lnTo>
                          <a:pt x="754" y="35"/>
                        </a:lnTo>
                        <a:lnTo>
                          <a:pt x="755" y="45"/>
                        </a:lnTo>
                        <a:lnTo>
                          <a:pt x="754" y="47"/>
                        </a:lnTo>
                        <a:lnTo>
                          <a:pt x="751" y="46"/>
                        </a:lnTo>
                        <a:lnTo>
                          <a:pt x="753" y="54"/>
                        </a:lnTo>
                        <a:lnTo>
                          <a:pt x="762" y="61"/>
                        </a:lnTo>
                        <a:lnTo>
                          <a:pt x="767" y="63"/>
                        </a:lnTo>
                        <a:lnTo>
                          <a:pt x="772" y="62"/>
                        </a:lnTo>
                        <a:lnTo>
                          <a:pt x="787" y="65"/>
                        </a:lnTo>
                        <a:lnTo>
                          <a:pt x="797" y="67"/>
                        </a:lnTo>
                        <a:lnTo>
                          <a:pt x="801" y="68"/>
                        </a:lnTo>
                        <a:lnTo>
                          <a:pt x="815" y="74"/>
                        </a:lnTo>
                        <a:lnTo>
                          <a:pt x="831" y="77"/>
                        </a:lnTo>
                        <a:lnTo>
                          <a:pt x="856" y="78"/>
                        </a:lnTo>
                        <a:lnTo>
                          <a:pt x="864" y="83"/>
                        </a:lnTo>
                        <a:lnTo>
                          <a:pt x="868" y="95"/>
                        </a:lnTo>
                        <a:lnTo>
                          <a:pt x="871" y="97"/>
                        </a:lnTo>
                        <a:lnTo>
                          <a:pt x="863" y="99"/>
                        </a:lnTo>
                        <a:lnTo>
                          <a:pt x="860" y="108"/>
                        </a:lnTo>
                        <a:lnTo>
                          <a:pt x="852" y="116"/>
                        </a:lnTo>
                        <a:lnTo>
                          <a:pt x="852" y="119"/>
                        </a:lnTo>
                        <a:lnTo>
                          <a:pt x="856" y="127"/>
                        </a:lnTo>
                        <a:lnTo>
                          <a:pt x="857" y="154"/>
                        </a:lnTo>
                        <a:lnTo>
                          <a:pt x="860" y="171"/>
                        </a:lnTo>
                        <a:lnTo>
                          <a:pt x="858" y="180"/>
                        </a:lnTo>
                        <a:lnTo>
                          <a:pt x="858" y="183"/>
                        </a:lnTo>
                        <a:lnTo>
                          <a:pt x="848" y="187"/>
                        </a:lnTo>
                        <a:lnTo>
                          <a:pt x="845" y="192"/>
                        </a:lnTo>
                        <a:lnTo>
                          <a:pt x="845" y="196"/>
                        </a:lnTo>
                        <a:lnTo>
                          <a:pt x="846" y="217"/>
                        </a:lnTo>
                        <a:lnTo>
                          <a:pt x="853" y="227"/>
                        </a:lnTo>
                        <a:lnTo>
                          <a:pt x="855" y="230"/>
                        </a:lnTo>
                        <a:lnTo>
                          <a:pt x="852" y="243"/>
                        </a:lnTo>
                        <a:lnTo>
                          <a:pt x="869" y="261"/>
                        </a:lnTo>
                        <a:lnTo>
                          <a:pt x="869" y="304"/>
                        </a:lnTo>
                        <a:lnTo>
                          <a:pt x="869" y="362"/>
                        </a:lnTo>
                        <a:lnTo>
                          <a:pt x="869" y="421"/>
                        </a:lnTo>
                        <a:lnTo>
                          <a:pt x="869" y="479"/>
                        </a:lnTo>
                        <a:lnTo>
                          <a:pt x="869" y="535"/>
                        </a:lnTo>
                        <a:lnTo>
                          <a:pt x="869" y="593"/>
                        </a:lnTo>
                        <a:lnTo>
                          <a:pt x="869" y="649"/>
                        </a:lnTo>
                        <a:lnTo>
                          <a:pt x="869" y="687"/>
                        </a:lnTo>
                        <a:lnTo>
                          <a:pt x="869" y="740"/>
                        </a:lnTo>
                        <a:lnTo>
                          <a:pt x="869" y="799"/>
                        </a:lnTo>
                        <a:lnTo>
                          <a:pt x="817" y="799"/>
                        </a:lnTo>
                        <a:lnTo>
                          <a:pt x="817" y="832"/>
                        </a:lnTo>
                        <a:lnTo>
                          <a:pt x="808" y="831"/>
                        </a:lnTo>
                        <a:lnTo>
                          <a:pt x="761" y="807"/>
                        </a:lnTo>
                        <a:lnTo>
                          <a:pt x="715" y="783"/>
                        </a:lnTo>
                        <a:lnTo>
                          <a:pt x="667" y="759"/>
                        </a:lnTo>
                        <a:lnTo>
                          <a:pt x="620" y="734"/>
                        </a:lnTo>
                        <a:lnTo>
                          <a:pt x="573" y="709"/>
                        </a:lnTo>
                        <a:lnTo>
                          <a:pt x="527" y="685"/>
                        </a:lnTo>
                        <a:lnTo>
                          <a:pt x="480" y="659"/>
                        </a:lnTo>
                        <a:lnTo>
                          <a:pt x="433" y="635"/>
                        </a:lnTo>
                        <a:lnTo>
                          <a:pt x="387" y="610"/>
                        </a:lnTo>
                        <a:lnTo>
                          <a:pt x="376" y="605"/>
                        </a:lnTo>
                        <a:lnTo>
                          <a:pt x="326" y="622"/>
                        </a:lnTo>
                        <a:lnTo>
                          <a:pt x="320" y="625"/>
                        </a:lnTo>
                        <a:lnTo>
                          <a:pt x="303" y="630"/>
                        </a:lnTo>
                        <a:lnTo>
                          <a:pt x="297" y="620"/>
                        </a:lnTo>
                        <a:lnTo>
                          <a:pt x="293" y="616"/>
                        </a:lnTo>
                        <a:lnTo>
                          <a:pt x="278" y="609"/>
                        </a:lnTo>
                        <a:lnTo>
                          <a:pt x="275" y="605"/>
                        </a:lnTo>
                        <a:lnTo>
                          <a:pt x="270" y="601"/>
                        </a:lnTo>
                        <a:lnTo>
                          <a:pt x="261" y="599"/>
                        </a:lnTo>
                        <a:lnTo>
                          <a:pt x="222" y="595"/>
                        </a:lnTo>
                        <a:lnTo>
                          <a:pt x="179" y="596"/>
                        </a:lnTo>
                        <a:lnTo>
                          <a:pt x="148" y="594"/>
                        </a:lnTo>
                        <a:lnTo>
                          <a:pt x="145" y="595"/>
                        </a:lnTo>
                        <a:lnTo>
                          <a:pt x="140" y="598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74" name="Freeform 24"/>
                  <p:cNvSpPr>
                    <a:spLocks/>
                  </p:cNvSpPr>
                  <p:nvPr/>
                </p:nvSpPr>
                <p:spPr bwMode="gray">
                  <a:xfrm>
                    <a:off x="2330" y="2172"/>
                    <a:ext cx="92" cy="80"/>
                  </a:xfrm>
                  <a:custGeom>
                    <a:avLst/>
                    <a:gdLst>
                      <a:gd name="T0" fmla="*/ 8 w 459"/>
                      <a:gd name="T1" fmla="*/ 15 h 401"/>
                      <a:gd name="T2" fmla="*/ 6 w 459"/>
                      <a:gd name="T3" fmla="*/ 15 h 401"/>
                      <a:gd name="T4" fmla="*/ 4 w 459"/>
                      <a:gd name="T5" fmla="*/ 15 h 401"/>
                      <a:gd name="T6" fmla="*/ 2 w 459"/>
                      <a:gd name="T7" fmla="*/ 15 h 401"/>
                      <a:gd name="T8" fmla="*/ 1 w 459"/>
                      <a:gd name="T9" fmla="*/ 15 h 401"/>
                      <a:gd name="T10" fmla="*/ 1 w 459"/>
                      <a:gd name="T11" fmla="*/ 15 h 401"/>
                      <a:gd name="T12" fmla="*/ 0 w 459"/>
                      <a:gd name="T13" fmla="*/ 16 h 401"/>
                      <a:gd name="T14" fmla="*/ 0 w 459"/>
                      <a:gd name="T15" fmla="*/ 16 h 401"/>
                      <a:gd name="T16" fmla="*/ 0 w 459"/>
                      <a:gd name="T17" fmla="*/ 16 h 401"/>
                      <a:gd name="T18" fmla="*/ 0 w 459"/>
                      <a:gd name="T19" fmla="*/ 16 h 401"/>
                      <a:gd name="T20" fmla="*/ 0 w 459"/>
                      <a:gd name="T21" fmla="*/ 16 h 401"/>
                      <a:gd name="T22" fmla="*/ 0 w 459"/>
                      <a:gd name="T23" fmla="*/ 14 h 401"/>
                      <a:gd name="T24" fmla="*/ 1 w 459"/>
                      <a:gd name="T25" fmla="*/ 13 h 401"/>
                      <a:gd name="T26" fmla="*/ 1 w 459"/>
                      <a:gd name="T27" fmla="*/ 13 h 401"/>
                      <a:gd name="T28" fmla="*/ 2 w 459"/>
                      <a:gd name="T29" fmla="*/ 12 h 401"/>
                      <a:gd name="T30" fmla="*/ 2 w 459"/>
                      <a:gd name="T31" fmla="*/ 11 h 401"/>
                      <a:gd name="T32" fmla="*/ 2 w 459"/>
                      <a:gd name="T33" fmla="*/ 11 h 401"/>
                      <a:gd name="T34" fmla="*/ 3 w 459"/>
                      <a:gd name="T35" fmla="*/ 10 h 401"/>
                      <a:gd name="T36" fmla="*/ 3 w 459"/>
                      <a:gd name="T37" fmla="*/ 10 h 401"/>
                      <a:gd name="T38" fmla="*/ 3 w 459"/>
                      <a:gd name="T39" fmla="*/ 9 h 401"/>
                      <a:gd name="T40" fmla="*/ 3 w 459"/>
                      <a:gd name="T41" fmla="*/ 9 h 401"/>
                      <a:gd name="T42" fmla="*/ 4 w 459"/>
                      <a:gd name="T43" fmla="*/ 8 h 401"/>
                      <a:gd name="T44" fmla="*/ 5 w 459"/>
                      <a:gd name="T45" fmla="*/ 7 h 401"/>
                      <a:gd name="T46" fmla="*/ 5 w 459"/>
                      <a:gd name="T47" fmla="*/ 6 h 401"/>
                      <a:gd name="T48" fmla="*/ 5 w 459"/>
                      <a:gd name="T49" fmla="*/ 5 h 401"/>
                      <a:gd name="T50" fmla="*/ 6 w 459"/>
                      <a:gd name="T51" fmla="*/ 4 h 401"/>
                      <a:gd name="T52" fmla="*/ 6 w 459"/>
                      <a:gd name="T53" fmla="*/ 3 h 401"/>
                      <a:gd name="T54" fmla="*/ 7 w 459"/>
                      <a:gd name="T55" fmla="*/ 3 h 401"/>
                      <a:gd name="T56" fmla="*/ 8 w 459"/>
                      <a:gd name="T57" fmla="*/ 2 h 401"/>
                      <a:gd name="T58" fmla="*/ 8 w 459"/>
                      <a:gd name="T59" fmla="*/ 2 h 401"/>
                      <a:gd name="T60" fmla="*/ 8 w 459"/>
                      <a:gd name="T61" fmla="*/ 1 h 401"/>
                      <a:gd name="T62" fmla="*/ 8 w 459"/>
                      <a:gd name="T63" fmla="*/ 1 h 401"/>
                      <a:gd name="T64" fmla="*/ 9 w 459"/>
                      <a:gd name="T65" fmla="*/ 0 h 401"/>
                      <a:gd name="T66" fmla="*/ 9 w 459"/>
                      <a:gd name="T67" fmla="*/ 0 h 401"/>
                      <a:gd name="T68" fmla="*/ 9 w 459"/>
                      <a:gd name="T69" fmla="*/ 0 h 401"/>
                      <a:gd name="T70" fmla="*/ 10 w 459"/>
                      <a:gd name="T71" fmla="*/ 0 h 401"/>
                      <a:gd name="T72" fmla="*/ 12 w 459"/>
                      <a:gd name="T73" fmla="*/ 0 h 401"/>
                      <a:gd name="T74" fmla="*/ 14 w 459"/>
                      <a:gd name="T75" fmla="*/ 0 h 401"/>
                      <a:gd name="T76" fmla="*/ 15 w 459"/>
                      <a:gd name="T77" fmla="*/ 0 h 401"/>
                      <a:gd name="T78" fmla="*/ 17 w 459"/>
                      <a:gd name="T79" fmla="*/ 0 h 401"/>
                      <a:gd name="T80" fmla="*/ 18 w 459"/>
                      <a:gd name="T81" fmla="*/ 0 h 401"/>
                      <a:gd name="T82" fmla="*/ 18 w 459"/>
                      <a:gd name="T83" fmla="*/ 1 h 401"/>
                      <a:gd name="T84" fmla="*/ 18 w 459"/>
                      <a:gd name="T85" fmla="*/ 4 h 401"/>
                      <a:gd name="T86" fmla="*/ 16 w 459"/>
                      <a:gd name="T87" fmla="*/ 4 h 401"/>
                      <a:gd name="T88" fmla="*/ 14 w 459"/>
                      <a:gd name="T89" fmla="*/ 4 h 401"/>
                      <a:gd name="T90" fmla="*/ 12 w 459"/>
                      <a:gd name="T91" fmla="*/ 4 h 401"/>
                      <a:gd name="T92" fmla="*/ 11 w 459"/>
                      <a:gd name="T93" fmla="*/ 4 h 401"/>
                      <a:gd name="T94" fmla="*/ 11 w 459"/>
                      <a:gd name="T95" fmla="*/ 6 h 401"/>
                      <a:gd name="T96" fmla="*/ 11 w 459"/>
                      <a:gd name="T97" fmla="*/ 9 h 401"/>
                      <a:gd name="T98" fmla="*/ 11 w 459"/>
                      <a:gd name="T99" fmla="*/ 10 h 401"/>
                      <a:gd name="T100" fmla="*/ 10 w 459"/>
                      <a:gd name="T101" fmla="*/ 10 h 401"/>
                      <a:gd name="T102" fmla="*/ 10 w 459"/>
                      <a:gd name="T103" fmla="*/ 10 h 401"/>
                      <a:gd name="T104" fmla="*/ 9 w 459"/>
                      <a:gd name="T105" fmla="*/ 11 h 401"/>
                      <a:gd name="T106" fmla="*/ 9 w 459"/>
                      <a:gd name="T107" fmla="*/ 11 h 401"/>
                      <a:gd name="T108" fmla="*/ 9 w 459"/>
                      <a:gd name="T109" fmla="*/ 11 h 401"/>
                      <a:gd name="T110" fmla="*/ 9 w 459"/>
                      <a:gd name="T111" fmla="*/ 11 h 401"/>
                      <a:gd name="T112" fmla="*/ 9 w 459"/>
                      <a:gd name="T113" fmla="*/ 12 h 401"/>
                      <a:gd name="T114" fmla="*/ 9 w 459"/>
                      <a:gd name="T115" fmla="*/ 13 h 401"/>
                      <a:gd name="T116" fmla="*/ 9 w 459"/>
                      <a:gd name="T117" fmla="*/ 14 h 401"/>
                      <a:gd name="T118" fmla="*/ 9 w 459"/>
                      <a:gd name="T119" fmla="*/ 14 h 401"/>
                      <a:gd name="T120" fmla="*/ 9 w 459"/>
                      <a:gd name="T121" fmla="*/ 15 h 401"/>
                      <a:gd name="T122" fmla="*/ 8 w 459"/>
                      <a:gd name="T123" fmla="*/ 15 h 401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60000 65536"/>
                      <a:gd name="T184" fmla="*/ 0 60000 65536"/>
                      <a:gd name="T185" fmla="*/ 0 60000 65536"/>
                      <a:gd name="T186" fmla="*/ 0 w 459"/>
                      <a:gd name="T187" fmla="*/ 0 h 401"/>
                      <a:gd name="T188" fmla="*/ 459 w 459"/>
                      <a:gd name="T189" fmla="*/ 401 h 401"/>
                    </a:gdLst>
                    <a:ahLst/>
                    <a:cxnLst>
                      <a:cxn ang="T124">
                        <a:pos x="T0" y="T1"/>
                      </a:cxn>
                      <a:cxn ang="T125">
                        <a:pos x="T2" y="T3"/>
                      </a:cxn>
                      <a:cxn ang="T126">
                        <a:pos x="T4" y="T5"/>
                      </a:cxn>
                      <a:cxn ang="T127">
                        <a:pos x="T6" y="T7"/>
                      </a:cxn>
                      <a:cxn ang="T128">
                        <a:pos x="T8" y="T9"/>
                      </a:cxn>
                      <a:cxn ang="T129">
                        <a:pos x="T10" y="T11"/>
                      </a:cxn>
                      <a:cxn ang="T130">
                        <a:pos x="T12" y="T13"/>
                      </a:cxn>
                      <a:cxn ang="T131">
                        <a:pos x="T14" y="T15"/>
                      </a:cxn>
                      <a:cxn ang="T132">
                        <a:pos x="T16" y="T17"/>
                      </a:cxn>
                      <a:cxn ang="T133">
                        <a:pos x="T18" y="T19"/>
                      </a:cxn>
                      <a:cxn ang="T134">
                        <a:pos x="T20" y="T21"/>
                      </a:cxn>
                      <a:cxn ang="T135">
                        <a:pos x="T22" y="T23"/>
                      </a:cxn>
                      <a:cxn ang="T136">
                        <a:pos x="T24" y="T25"/>
                      </a:cxn>
                      <a:cxn ang="T137">
                        <a:pos x="T26" y="T27"/>
                      </a:cxn>
                      <a:cxn ang="T138">
                        <a:pos x="T28" y="T29"/>
                      </a:cxn>
                      <a:cxn ang="T139">
                        <a:pos x="T30" y="T31"/>
                      </a:cxn>
                      <a:cxn ang="T140">
                        <a:pos x="T32" y="T33"/>
                      </a:cxn>
                      <a:cxn ang="T141">
                        <a:pos x="T34" y="T35"/>
                      </a:cxn>
                      <a:cxn ang="T142">
                        <a:pos x="T36" y="T37"/>
                      </a:cxn>
                      <a:cxn ang="T143">
                        <a:pos x="T38" y="T39"/>
                      </a:cxn>
                      <a:cxn ang="T144">
                        <a:pos x="T40" y="T41"/>
                      </a:cxn>
                      <a:cxn ang="T145">
                        <a:pos x="T42" y="T43"/>
                      </a:cxn>
                      <a:cxn ang="T146">
                        <a:pos x="T44" y="T45"/>
                      </a:cxn>
                      <a:cxn ang="T147">
                        <a:pos x="T46" y="T47"/>
                      </a:cxn>
                      <a:cxn ang="T148">
                        <a:pos x="T48" y="T49"/>
                      </a:cxn>
                      <a:cxn ang="T149">
                        <a:pos x="T50" y="T51"/>
                      </a:cxn>
                      <a:cxn ang="T150">
                        <a:pos x="T52" y="T53"/>
                      </a:cxn>
                      <a:cxn ang="T151">
                        <a:pos x="T54" y="T55"/>
                      </a:cxn>
                      <a:cxn ang="T152">
                        <a:pos x="T56" y="T57"/>
                      </a:cxn>
                      <a:cxn ang="T153">
                        <a:pos x="T58" y="T59"/>
                      </a:cxn>
                      <a:cxn ang="T154">
                        <a:pos x="T60" y="T61"/>
                      </a:cxn>
                      <a:cxn ang="T155">
                        <a:pos x="T62" y="T63"/>
                      </a:cxn>
                      <a:cxn ang="T156">
                        <a:pos x="T64" y="T65"/>
                      </a:cxn>
                      <a:cxn ang="T157">
                        <a:pos x="T66" y="T67"/>
                      </a:cxn>
                      <a:cxn ang="T158">
                        <a:pos x="T68" y="T69"/>
                      </a:cxn>
                      <a:cxn ang="T159">
                        <a:pos x="T70" y="T71"/>
                      </a:cxn>
                      <a:cxn ang="T160">
                        <a:pos x="T72" y="T73"/>
                      </a:cxn>
                      <a:cxn ang="T161">
                        <a:pos x="T74" y="T75"/>
                      </a:cxn>
                      <a:cxn ang="T162">
                        <a:pos x="T76" y="T77"/>
                      </a:cxn>
                      <a:cxn ang="T163">
                        <a:pos x="T78" y="T79"/>
                      </a:cxn>
                      <a:cxn ang="T164">
                        <a:pos x="T80" y="T81"/>
                      </a:cxn>
                      <a:cxn ang="T165">
                        <a:pos x="T82" y="T83"/>
                      </a:cxn>
                      <a:cxn ang="T166">
                        <a:pos x="T84" y="T85"/>
                      </a:cxn>
                      <a:cxn ang="T167">
                        <a:pos x="T86" y="T87"/>
                      </a:cxn>
                      <a:cxn ang="T168">
                        <a:pos x="T88" y="T89"/>
                      </a:cxn>
                      <a:cxn ang="T169">
                        <a:pos x="T90" y="T91"/>
                      </a:cxn>
                      <a:cxn ang="T170">
                        <a:pos x="T92" y="T93"/>
                      </a:cxn>
                      <a:cxn ang="T171">
                        <a:pos x="T94" y="T95"/>
                      </a:cxn>
                      <a:cxn ang="T172">
                        <a:pos x="T96" y="T97"/>
                      </a:cxn>
                      <a:cxn ang="T173">
                        <a:pos x="T98" y="T99"/>
                      </a:cxn>
                      <a:cxn ang="T174">
                        <a:pos x="T100" y="T101"/>
                      </a:cxn>
                      <a:cxn ang="T175">
                        <a:pos x="T102" y="T103"/>
                      </a:cxn>
                      <a:cxn ang="T176">
                        <a:pos x="T104" y="T105"/>
                      </a:cxn>
                      <a:cxn ang="T177">
                        <a:pos x="T106" y="T107"/>
                      </a:cxn>
                      <a:cxn ang="T178">
                        <a:pos x="T108" y="T109"/>
                      </a:cxn>
                      <a:cxn ang="T179">
                        <a:pos x="T110" y="T111"/>
                      </a:cxn>
                      <a:cxn ang="T180">
                        <a:pos x="T112" y="T113"/>
                      </a:cxn>
                      <a:cxn ang="T181">
                        <a:pos x="T114" y="T115"/>
                      </a:cxn>
                      <a:cxn ang="T182">
                        <a:pos x="T116" y="T117"/>
                      </a:cxn>
                      <a:cxn ang="T183">
                        <a:pos x="T118" y="T119"/>
                      </a:cxn>
                      <a:cxn ang="T184">
                        <a:pos x="T120" y="T121"/>
                      </a:cxn>
                      <a:cxn ang="T185">
                        <a:pos x="T122" y="T123"/>
                      </a:cxn>
                    </a:cxnLst>
                    <a:rect l="T186" t="T187" r="T188" b="T189"/>
                    <a:pathLst>
                      <a:path w="459" h="401">
                        <a:moveTo>
                          <a:pt x="196" y="379"/>
                        </a:moveTo>
                        <a:lnTo>
                          <a:pt x="148" y="379"/>
                        </a:lnTo>
                        <a:lnTo>
                          <a:pt x="96" y="379"/>
                        </a:lnTo>
                        <a:lnTo>
                          <a:pt x="45" y="379"/>
                        </a:lnTo>
                        <a:lnTo>
                          <a:pt x="16" y="379"/>
                        </a:lnTo>
                        <a:lnTo>
                          <a:pt x="14" y="385"/>
                        </a:lnTo>
                        <a:lnTo>
                          <a:pt x="6" y="392"/>
                        </a:lnTo>
                        <a:lnTo>
                          <a:pt x="2" y="397"/>
                        </a:lnTo>
                        <a:lnTo>
                          <a:pt x="5" y="396"/>
                        </a:lnTo>
                        <a:lnTo>
                          <a:pt x="0" y="401"/>
                        </a:lnTo>
                        <a:lnTo>
                          <a:pt x="0" y="392"/>
                        </a:lnTo>
                        <a:lnTo>
                          <a:pt x="5" y="355"/>
                        </a:lnTo>
                        <a:lnTo>
                          <a:pt x="16" y="329"/>
                        </a:lnTo>
                        <a:lnTo>
                          <a:pt x="28" y="323"/>
                        </a:lnTo>
                        <a:lnTo>
                          <a:pt x="40" y="296"/>
                        </a:lnTo>
                        <a:lnTo>
                          <a:pt x="48" y="284"/>
                        </a:lnTo>
                        <a:lnTo>
                          <a:pt x="45" y="275"/>
                        </a:lnTo>
                        <a:lnTo>
                          <a:pt x="65" y="246"/>
                        </a:lnTo>
                        <a:lnTo>
                          <a:pt x="69" y="240"/>
                        </a:lnTo>
                        <a:lnTo>
                          <a:pt x="71" y="229"/>
                        </a:lnTo>
                        <a:lnTo>
                          <a:pt x="76" y="221"/>
                        </a:lnTo>
                        <a:lnTo>
                          <a:pt x="105" y="188"/>
                        </a:lnTo>
                        <a:lnTo>
                          <a:pt x="120" y="164"/>
                        </a:lnTo>
                        <a:lnTo>
                          <a:pt x="123" y="145"/>
                        </a:lnTo>
                        <a:lnTo>
                          <a:pt x="132" y="122"/>
                        </a:lnTo>
                        <a:lnTo>
                          <a:pt x="139" y="100"/>
                        </a:lnTo>
                        <a:lnTo>
                          <a:pt x="155" y="80"/>
                        </a:lnTo>
                        <a:lnTo>
                          <a:pt x="174" y="70"/>
                        </a:lnTo>
                        <a:lnTo>
                          <a:pt x="190" y="57"/>
                        </a:lnTo>
                        <a:lnTo>
                          <a:pt x="196" y="38"/>
                        </a:lnTo>
                        <a:lnTo>
                          <a:pt x="199" y="33"/>
                        </a:lnTo>
                        <a:lnTo>
                          <a:pt x="204" y="22"/>
                        </a:lnTo>
                        <a:lnTo>
                          <a:pt x="213" y="6"/>
                        </a:lnTo>
                        <a:lnTo>
                          <a:pt x="218" y="0"/>
                        </a:lnTo>
                        <a:lnTo>
                          <a:pt x="227" y="0"/>
                        </a:lnTo>
                        <a:lnTo>
                          <a:pt x="261" y="0"/>
                        </a:lnTo>
                        <a:lnTo>
                          <a:pt x="297" y="0"/>
                        </a:lnTo>
                        <a:lnTo>
                          <a:pt x="338" y="0"/>
                        </a:lnTo>
                        <a:lnTo>
                          <a:pt x="379" y="0"/>
                        </a:lnTo>
                        <a:lnTo>
                          <a:pt x="422" y="0"/>
                        </a:lnTo>
                        <a:lnTo>
                          <a:pt x="459" y="0"/>
                        </a:lnTo>
                        <a:lnTo>
                          <a:pt x="459" y="32"/>
                        </a:lnTo>
                        <a:lnTo>
                          <a:pt x="459" y="102"/>
                        </a:lnTo>
                        <a:lnTo>
                          <a:pt x="405" y="102"/>
                        </a:lnTo>
                        <a:lnTo>
                          <a:pt x="352" y="102"/>
                        </a:lnTo>
                        <a:lnTo>
                          <a:pt x="299" y="102"/>
                        </a:lnTo>
                        <a:lnTo>
                          <a:pt x="281" y="102"/>
                        </a:lnTo>
                        <a:lnTo>
                          <a:pt x="281" y="160"/>
                        </a:lnTo>
                        <a:lnTo>
                          <a:pt x="281" y="219"/>
                        </a:lnTo>
                        <a:lnTo>
                          <a:pt x="281" y="254"/>
                        </a:lnTo>
                        <a:lnTo>
                          <a:pt x="261" y="261"/>
                        </a:lnTo>
                        <a:lnTo>
                          <a:pt x="244" y="263"/>
                        </a:lnTo>
                        <a:lnTo>
                          <a:pt x="228" y="268"/>
                        </a:lnTo>
                        <a:lnTo>
                          <a:pt x="223" y="272"/>
                        </a:lnTo>
                        <a:lnTo>
                          <a:pt x="220" y="277"/>
                        </a:lnTo>
                        <a:lnTo>
                          <a:pt x="215" y="288"/>
                        </a:lnTo>
                        <a:lnTo>
                          <a:pt x="213" y="296"/>
                        </a:lnTo>
                        <a:lnTo>
                          <a:pt x="215" y="322"/>
                        </a:lnTo>
                        <a:lnTo>
                          <a:pt x="218" y="342"/>
                        </a:lnTo>
                        <a:lnTo>
                          <a:pt x="218" y="363"/>
                        </a:lnTo>
                        <a:lnTo>
                          <a:pt x="222" y="379"/>
                        </a:lnTo>
                        <a:lnTo>
                          <a:pt x="196" y="379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75" name="Freeform 25"/>
                  <p:cNvSpPr>
                    <a:spLocks/>
                  </p:cNvSpPr>
                  <p:nvPr/>
                </p:nvSpPr>
                <p:spPr bwMode="gray">
                  <a:xfrm>
                    <a:off x="2854" y="2777"/>
                    <a:ext cx="13" cy="18"/>
                  </a:xfrm>
                  <a:custGeom>
                    <a:avLst/>
                    <a:gdLst>
                      <a:gd name="T0" fmla="*/ 3 w 67"/>
                      <a:gd name="T1" fmla="*/ 3 h 90"/>
                      <a:gd name="T2" fmla="*/ 3 w 67"/>
                      <a:gd name="T3" fmla="*/ 1 h 90"/>
                      <a:gd name="T4" fmla="*/ 3 w 67"/>
                      <a:gd name="T5" fmla="*/ 1 h 90"/>
                      <a:gd name="T6" fmla="*/ 2 w 67"/>
                      <a:gd name="T7" fmla="*/ 0 h 90"/>
                      <a:gd name="T8" fmla="*/ 2 w 67"/>
                      <a:gd name="T9" fmla="*/ 1 h 90"/>
                      <a:gd name="T10" fmla="*/ 1 w 67"/>
                      <a:gd name="T11" fmla="*/ 0 h 90"/>
                      <a:gd name="T12" fmla="*/ 1 w 67"/>
                      <a:gd name="T13" fmla="*/ 0 h 90"/>
                      <a:gd name="T14" fmla="*/ 0 w 67"/>
                      <a:gd name="T15" fmla="*/ 1 h 90"/>
                      <a:gd name="T16" fmla="*/ 0 w 67"/>
                      <a:gd name="T17" fmla="*/ 2 h 90"/>
                      <a:gd name="T18" fmla="*/ 0 w 67"/>
                      <a:gd name="T19" fmla="*/ 2 h 90"/>
                      <a:gd name="T20" fmla="*/ 0 w 67"/>
                      <a:gd name="T21" fmla="*/ 3 h 90"/>
                      <a:gd name="T22" fmla="*/ 0 w 67"/>
                      <a:gd name="T23" fmla="*/ 3 h 90"/>
                      <a:gd name="T24" fmla="*/ 1 w 67"/>
                      <a:gd name="T25" fmla="*/ 4 h 90"/>
                      <a:gd name="T26" fmla="*/ 2 w 67"/>
                      <a:gd name="T27" fmla="*/ 4 h 90"/>
                      <a:gd name="T28" fmla="*/ 2 w 67"/>
                      <a:gd name="T29" fmla="*/ 3 h 90"/>
                      <a:gd name="T30" fmla="*/ 2 w 67"/>
                      <a:gd name="T31" fmla="*/ 3 h 90"/>
                      <a:gd name="T32" fmla="*/ 3 w 67"/>
                      <a:gd name="T33" fmla="*/ 3 h 90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w 67"/>
                      <a:gd name="T52" fmla="*/ 0 h 90"/>
                      <a:gd name="T53" fmla="*/ 67 w 67"/>
                      <a:gd name="T54" fmla="*/ 90 h 90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T51" t="T52" r="T53" b="T54"/>
                    <a:pathLst>
                      <a:path w="67" h="90">
                        <a:moveTo>
                          <a:pt x="67" y="63"/>
                        </a:moveTo>
                        <a:lnTo>
                          <a:pt x="65" y="35"/>
                        </a:lnTo>
                        <a:lnTo>
                          <a:pt x="65" y="14"/>
                        </a:lnTo>
                        <a:lnTo>
                          <a:pt x="63" y="6"/>
                        </a:lnTo>
                        <a:lnTo>
                          <a:pt x="56" y="15"/>
                        </a:lnTo>
                        <a:lnTo>
                          <a:pt x="33" y="0"/>
                        </a:lnTo>
                        <a:lnTo>
                          <a:pt x="19" y="9"/>
                        </a:lnTo>
                        <a:lnTo>
                          <a:pt x="12" y="21"/>
                        </a:lnTo>
                        <a:lnTo>
                          <a:pt x="4" y="38"/>
                        </a:lnTo>
                        <a:lnTo>
                          <a:pt x="0" y="54"/>
                        </a:lnTo>
                        <a:lnTo>
                          <a:pt x="2" y="67"/>
                        </a:lnTo>
                        <a:lnTo>
                          <a:pt x="12" y="86"/>
                        </a:lnTo>
                        <a:lnTo>
                          <a:pt x="35" y="89"/>
                        </a:lnTo>
                        <a:lnTo>
                          <a:pt x="47" y="90"/>
                        </a:lnTo>
                        <a:lnTo>
                          <a:pt x="55" y="81"/>
                        </a:lnTo>
                        <a:lnTo>
                          <a:pt x="61" y="67"/>
                        </a:lnTo>
                        <a:lnTo>
                          <a:pt x="67" y="63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76" name="Freeform 26"/>
                  <p:cNvSpPr>
                    <a:spLocks/>
                  </p:cNvSpPr>
                  <p:nvPr/>
                </p:nvSpPr>
                <p:spPr bwMode="gray">
                  <a:xfrm>
                    <a:off x="2696" y="2733"/>
                    <a:ext cx="180" cy="158"/>
                  </a:xfrm>
                  <a:custGeom>
                    <a:avLst/>
                    <a:gdLst>
                      <a:gd name="T0" fmla="*/ 8 w 898"/>
                      <a:gd name="T1" fmla="*/ 13 h 791"/>
                      <a:gd name="T2" fmla="*/ 6 w 898"/>
                      <a:gd name="T3" fmla="*/ 16 h 791"/>
                      <a:gd name="T4" fmla="*/ 4 w 898"/>
                      <a:gd name="T5" fmla="*/ 17 h 791"/>
                      <a:gd name="T6" fmla="*/ 2 w 898"/>
                      <a:gd name="T7" fmla="*/ 16 h 791"/>
                      <a:gd name="T8" fmla="*/ 0 w 898"/>
                      <a:gd name="T9" fmla="*/ 16 h 791"/>
                      <a:gd name="T10" fmla="*/ 0 w 898"/>
                      <a:gd name="T11" fmla="*/ 16 h 791"/>
                      <a:gd name="T12" fmla="*/ 1 w 898"/>
                      <a:gd name="T13" fmla="*/ 20 h 791"/>
                      <a:gd name="T14" fmla="*/ 3 w 898"/>
                      <a:gd name="T15" fmla="*/ 22 h 791"/>
                      <a:gd name="T16" fmla="*/ 4 w 898"/>
                      <a:gd name="T17" fmla="*/ 27 h 791"/>
                      <a:gd name="T18" fmla="*/ 3 w 898"/>
                      <a:gd name="T19" fmla="*/ 27 h 791"/>
                      <a:gd name="T20" fmla="*/ 4 w 898"/>
                      <a:gd name="T21" fmla="*/ 28 h 791"/>
                      <a:gd name="T22" fmla="*/ 4 w 898"/>
                      <a:gd name="T23" fmla="*/ 29 h 791"/>
                      <a:gd name="T24" fmla="*/ 4 w 898"/>
                      <a:gd name="T25" fmla="*/ 31 h 791"/>
                      <a:gd name="T26" fmla="*/ 4 w 898"/>
                      <a:gd name="T27" fmla="*/ 30 h 791"/>
                      <a:gd name="T28" fmla="*/ 5 w 898"/>
                      <a:gd name="T29" fmla="*/ 31 h 791"/>
                      <a:gd name="T30" fmla="*/ 6 w 898"/>
                      <a:gd name="T31" fmla="*/ 31 h 791"/>
                      <a:gd name="T32" fmla="*/ 8 w 898"/>
                      <a:gd name="T33" fmla="*/ 32 h 791"/>
                      <a:gd name="T34" fmla="*/ 9 w 898"/>
                      <a:gd name="T35" fmla="*/ 31 h 791"/>
                      <a:gd name="T36" fmla="*/ 12 w 898"/>
                      <a:gd name="T37" fmla="*/ 31 h 791"/>
                      <a:gd name="T38" fmla="*/ 12 w 898"/>
                      <a:gd name="T39" fmla="*/ 30 h 791"/>
                      <a:gd name="T40" fmla="*/ 15 w 898"/>
                      <a:gd name="T41" fmla="*/ 30 h 791"/>
                      <a:gd name="T42" fmla="*/ 16 w 898"/>
                      <a:gd name="T43" fmla="*/ 30 h 791"/>
                      <a:gd name="T44" fmla="*/ 19 w 898"/>
                      <a:gd name="T45" fmla="*/ 30 h 791"/>
                      <a:gd name="T46" fmla="*/ 20 w 898"/>
                      <a:gd name="T47" fmla="*/ 29 h 791"/>
                      <a:gd name="T48" fmla="*/ 22 w 898"/>
                      <a:gd name="T49" fmla="*/ 29 h 791"/>
                      <a:gd name="T50" fmla="*/ 25 w 898"/>
                      <a:gd name="T51" fmla="*/ 27 h 791"/>
                      <a:gd name="T52" fmla="*/ 28 w 898"/>
                      <a:gd name="T53" fmla="*/ 24 h 791"/>
                      <a:gd name="T54" fmla="*/ 31 w 898"/>
                      <a:gd name="T55" fmla="*/ 21 h 791"/>
                      <a:gd name="T56" fmla="*/ 32 w 898"/>
                      <a:gd name="T57" fmla="*/ 19 h 791"/>
                      <a:gd name="T58" fmla="*/ 34 w 898"/>
                      <a:gd name="T59" fmla="*/ 17 h 791"/>
                      <a:gd name="T60" fmla="*/ 35 w 898"/>
                      <a:gd name="T61" fmla="*/ 14 h 791"/>
                      <a:gd name="T62" fmla="*/ 36 w 898"/>
                      <a:gd name="T63" fmla="*/ 12 h 791"/>
                      <a:gd name="T64" fmla="*/ 34 w 898"/>
                      <a:gd name="T65" fmla="*/ 11 h 791"/>
                      <a:gd name="T66" fmla="*/ 33 w 898"/>
                      <a:gd name="T67" fmla="*/ 12 h 791"/>
                      <a:gd name="T68" fmla="*/ 32 w 898"/>
                      <a:gd name="T69" fmla="*/ 10 h 791"/>
                      <a:gd name="T70" fmla="*/ 34 w 898"/>
                      <a:gd name="T71" fmla="*/ 9 h 791"/>
                      <a:gd name="T72" fmla="*/ 33 w 898"/>
                      <a:gd name="T73" fmla="*/ 2 h 791"/>
                      <a:gd name="T74" fmla="*/ 32 w 898"/>
                      <a:gd name="T75" fmla="*/ 1 h 791"/>
                      <a:gd name="T76" fmla="*/ 30 w 898"/>
                      <a:gd name="T77" fmla="*/ 0 h 791"/>
                      <a:gd name="T78" fmla="*/ 28 w 898"/>
                      <a:gd name="T79" fmla="*/ 0 h 791"/>
                      <a:gd name="T80" fmla="*/ 25 w 898"/>
                      <a:gd name="T81" fmla="*/ 2 h 791"/>
                      <a:gd name="T82" fmla="*/ 22 w 898"/>
                      <a:gd name="T83" fmla="*/ 5 h 791"/>
                      <a:gd name="T84" fmla="*/ 20 w 898"/>
                      <a:gd name="T85" fmla="*/ 8 h 791"/>
                      <a:gd name="T86" fmla="*/ 18 w 898"/>
                      <a:gd name="T87" fmla="*/ 9 h 791"/>
                      <a:gd name="T88" fmla="*/ 15 w 898"/>
                      <a:gd name="T89" fmla="*/ 8 h 791"/>
                      <a:gd name="T90" fmla="*/ 14 w 898"/>
                      <a:gd name="T91" fmla="*/ 10 h 791"/>
                      <a:gd name="T92" fmla="*/ 11 w 898"/>
                      <a:gd name="T93" fmla="*/ 11 h 791"/>
                      <a:gd name="T94" fmla="*/ 9 w 898"/>
                      <a:gd name="T95" fmla="*/ 11 h 791"/>
                      <a:gd name="T96" fmla="*/ 10 w 898"/>
                      <a:gd name="T97" fmla="*/ 9 h 791"/>
                      <a:gd name="T98" fmla="*/ 8 w 898"/>
                      <a:gd name="T99" fmla="*/ 7 h 791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w 898"/>
                      <a:gd name="T151" fmla="*/ 0 h 791"/>
                      <a:gd name="T152" fmla="*/ 898 w 898"/>
                      <a:gd name="T153" fmla="*/ 791 h 791"/>
                    </a:gdLst>
                    <a:ahLst/>
                    <a:cxnLst>
                      <a:cxn ang="T100">
                        <a:pos x="T0" y="T1"/>
                      </a:cxn>
                      <a:cxn ang="T101">
                        <a:pos x="T2" y="T3"/>
                      </a:cxn>
                      <a:cxn ang="T102">
                        <a:pos x="T4" y="T5"/>
                      </a:cxn>
                      <a:cxn ang="T103">
                        <a:pos x="T6" y="T7"/>
                      </a:cxn>
                      <a:cxn ang="T104">
                        <a:pos x="T8" y="T9"/>
                      </a:cxn>
                      <a:cxn ang="T105">
                        <a:pos x="T10" y="T11"/>
                      </a:cxn>
                      <a:cxn ang="T106">
                        <a:pos x="T12" y="T13"/>
                      </a:cxn>
                      <a:cxn ang="T107">
                        <a:pos x="T14" y="T15"/>
                      </a:cxn>
                      <a:cxn ang="T108">
                        <a:pos x="T16" y="T17"/>
                      </a:cxn>
                      <a:cxn ang="T109">
                        <a:pos x="T18" y="T19"/>
                      </a:cxn>
                      <a:cxn ang="T110">
                        <a:pos x="T20" y="T21"/>
                      </a:cxn>
                      <a:cxn ang="T111">
                        <a:pos x="T22" y="T23"/>
                      </a:cxn>
                      <a:cxn ang="T112">
                        <a:pos x="T24" y="T25"/>
                      </a:cxn>
                      <a:cxn ang="T113">
                        <a:pos x="T26" y="T27"/>
                      </a:cxn>
                      <a:cxn ang="T114">
                        <a:pos x="T28" y="T29"/>
                      </a:cxn>
                      <a:cxn ang="T115">
                        <a:pos x="T30" y="T31"/>
                      </a:cxn>
                      <a:cxn ang="T116">
                        <a:pos x="T32" y="T33"/>
                      </a:cxn>
                      <a:cxn ang="T117">
                        <a:pos x="T34" y="T35"/>
                      </a:cxn>
                      <a:cxn ang="T118">
                        <a:pos x="T36" y="T37"/>
                      </a:cxn>
                      <a:cxn ang="T119">
                        <a:pos x="T38" y="T39"/>
                      </a:cxn>
                      <a:cxn ang="T120">
                        <a:pos x="T40" y="T41"/>
                      </a:cxn>
                      <a:cxn ang="T121">
                        <a:pos x="T42" y="T43"/>
                      </a:cxn>
                      <a:cxn ang="T122">
                        <a:pos x="T44" y="T45"/>
                      </a:cxn>
                      <a:cxn ang="T123">
                        <a:pos x="T46" y="T47"/>
                      </a:cxn>
                      <a:cxn ang="T124">
                        <a:pos x="T48" y="T49"/>
                      </a:cxn>
                      <a:cxn ang="T125">
                        <a:pos x="T50" y="T51"/>
                      </a:cxn>
                      <a:cxn ang="T126">
                        <a:pos x="T52" y="T53"/>
                      </a:cxn>
                      <a:cxn ang="T127">
                        <a:pos x="T54" y="T55"/>
                      </a:cxn>
                      <a:cxn ang="T128">
                        <a:pos x="T56" y="T57"/>
                      </a:cxn>
                      <a:cxn ang="T129">
                        <a:pos x="T58" y="T59"/>
                      </a:cxn>
                      <a:cxn ang="T130">
                        <a:pos x="T60" y="T61"/>
                      </a:cxn>
                      <a:cxn ang="T131">
                        <a:pos x="T62" y="T63"/>
                      </a:cxn>
                      <a:cxn ang="T132">
                        <a:pos x="T64" y="T65"/>
                      </a:cxn>
                      <a:cxn ang="T133">
                        <a:pos x="T66" y="T67"/>
                      </a:cxn>
                      <a:cxn ang="T134">
                        <a:pos x="T68" y="T69"/>
                      </a:cxn>
                      <a:cxn ang="T135">
                        <a:pos x="T70" y="T71"/>
                      </a:cxn>
                      <a:cxn ang="T136">
                        <a:pos x="T72" y="T73"/>
                      </a:cxn>
                      <a:cxn ang="T137">
                        <a:pos x="T74" y="T75"/>
                      </a:cxn>
                      <a:cxn ang="T138">
                        <a:pos x="T76" y="T77"/>
                      </a:cxn>
                      <a:cxn ang="T139">
                        <a:pos x="T78" y="T79"/>
                      </a:cxn>
                      <a:cxn ang="T140">
                        <a:pos x="T80" y="T81"/>
                      </a:cxn>
                      <a:cxn ang="T141">
                        <a:pos x="T82" y="T83"/>
                      </a:cxn>
                      <a:cxn ang="T142">
                        <a:pos x="T84" y="T85"/>
                      </a:cxn>
                      <a:cxn ang="T143">
                        <a:pos x="T86" y="T87"/>
                      </a:cxn>
                      <a:cxn ang="T144">
                        <a:pos x="T88" y="T89"/>
                      </a:cxn>
                      <a:cxn ang="T145">
                        <a:pos x="T90" y="T91"/>
                      </a:cxn>
                      <a:cxn ang="T146">
                        <a:pos x="T92" y="T93"/>
                      </a:cxn>
                      <a:cxn ang="T147">
                        <a:pos x="T94" y="T95"/>
                      </a:cxn>
                      <a:cxn ang="T148">
                        <a:pos x="T96" y="T97"/>
                      </a:cxn>
                      <a:cxn ang="T149">
                        <a:pos x="T98" y="T99"/>
                      </a:cxn>
                    </a:cxnLst>
                    <a:rect l="T150" t="T151" r="T152" b="T153"/>
                    <a:pathLst>
                      <a:path w="898" h="791">
                        <a:moveTo>
                          <a:pt x="188" y="161"/>
                        </a:moveTo>
                        <a:lnTo>
                          <a:pt x="188" y="216"/>
                        </a:lnTo>
                        <a:lnTo>
                          <a:pt x="188" y="275"/>
                        </a:lnTo>
                        <a:lnTo>
                          <a:pt x="188" y="334"/>
                        </a:lnTo>
                        <a:lnTo>
                          <a:pt x="188" y="390"/>
                        </a:lnTo>
                        <a:lnTo>
                          <a:pt x="182" y="394"/>
                        </a:lnTo>
                        <a:lnTo>
                          <a:pt x="171" y="396"/>
                        </a:lnTo>
                        <a:lnTo>
                          <a:pt x="157" y="406"/>
                        </a:lnTo>
                        <a:lnTo>
                          <a:pt x="141" y="421"/>
                        </a:lnTo>
                        <a:lnTo>
                          <a:pt x="129" y="421"/>
                        </a:lnTo>
                        <a:lnTo>
                          <a:pt x="120" y="418"/>
                        </a:lnTo>
                        <a:lnTo>
                          <a:pt x="101" y="418"/>
                        </a:lnTo>
                        <a:lnTo>
                          <a:pt x="86" y="423"/>
                        </a:lnTo>
                        <a:lnTo>
                          <a:pt x="70" y="421"/>
                        </a:lnTo>
                        <a:lnTo>
                          <a:pt x="59" y="409"/>
                        </a:lnTo>
                        <a:lnTo>
                          <a:pt x="59" y="396"/>
                        </a:lnTo>
                        <a:lnTo>
                          <a:pt x="33" y="378"/>
                        </a:lnTo>
                        <a:lnTo>
                          <a:pt x="21" y="379"/>
                        </a:lnTo>
                        <a:lnTo>
                          <a:pt x="15" y="390"/>
                        </a:lnTo>
                        <a:lnTo>
                          <a:pt x="8" y="398"/>
                        </a:lnTo>
                        <a:lnTo>
                          <a:pt x="5" y="400"/>
                        </a:lnTo>
                        <a:lnTo>
                          <a:pt x="0" y="401"/>
                        </a:lnTo>
                        <a:lnTo>
                          <a:pt x="2" y="405"/>
                        </a:lnTo>
                        <a:lnTo>
                          <a:pt x="1" y="411"/>
                        </a:lnTo>
                        <a:lnTo>
                          <a:pt x="5" y="416"/>
                        </a:lnTo>
                        <a:lnTo>
                          <a:pt x="13" y="426"/>
                        </a:lnTo>
                        <a:lnTo>
                          <a:pt x="28" y="464"/>
                        </a:lnTo>
                        <a:lnTo>
                          <a:pt x="37" y="491"/>
                        </a:lnTo>
                        <a:lnTo>
                          <a:pt x="51" y="528"/>
                        </a:lnTo>
                        <a:lnTo>
                          <a:pt x="59" y="536"/>
                        </a:lnTo>
                        <a:lnTo>
                          <a:pt x="64" y="552"/>
                        </a:lnTo>
                        <a:lnTo>
                          <a:pt x="70" y="562"/>
                        </a:lnTo>
                        <a:lnTo>
                          <a:pt x="91" y="595"/>
                        </a:lnTo>
                        <a:lnTo>
                          <a:pt x="97" y="608"/>
                        </a:lnTo>
                        <a:lnTo>
                          <a:pt x="99" y="648"/>
                        </a:lnTo>
                        <a:lnTo>
                          <a:pt x="90" y="665"/>
                        </a:lnTo>
                        <a:lnTo>
                          <a:pt x="78" y="660"/>
                        </a:lnTo>
                        <a:lnTo>
                          <a:pt x="76" y="667"/>
                        </a:lnTo>
                        <a:lnTo>
                          <a:pt x="75" y="678"/>
                        </a:lnTo>
                        <a:lnTo>
                          <a:pt x="77" y="678"/>
                        </a:lnTo>
                        <a:lnTo>
                          <a:pt x="85" y="683"/>
                        </a:lnTo>
                        <a:lnTo>
                          <a:pt x="87" y="690"/>
                        </a:lnTo>
                        <a:lnTo>
                          <a:pt x="83" y="691"/>
                        </a:lnTo>
                        <a:lnTo>
                          <a:pt x="88" y="701"/>
                        </a:lnTo>
                        <a:lnTo>
                          <a:pt x="93" y="705"/>
                        </a:lnTo>
                        <a:lnTo>
                          <a:pt x="99" y="716"/>
                        </a:lnTo>
                        <a:lnTo>
                          <a:pt x="107" y="726"/>
                        </a:lnTo>
                        <a:lnTo>
                          <a:pt x="108" y="734"/>
                        </a:lnTo>
                        <a:lnTo>
                          <a:pt x="103" y="742"/>
                        </a:lnTo>
                        <a:lnTo>
                          <a:pt x="103" y="749"/>
                        </a:lnTo>
                        <a:lnTo>
                          <a:pt x="103" y="760"/>
                        </a:lnTo>
                        <a:lnTo>
                          <a:pt x="109" y="770"/>
                        </a:lnTo>
                        <a:lnTo>
                          <a:pt x="110" y="769"/>
                        </a:lnTo>
                        <a:lnTo>
                          <a:pt x="109" y="761"/>
                        </a:lnTo>
                        <a:lnTo>
                          <a:pt x="109" y="754"/>
                        </a:lnTo>
                        <a:lnTo>
                          <a:pt x="112" y="750"/>
                        </a:lnTo>
                        <a:lnTo>
                          <a:pt x="119" y="749"/>
                        </a:lnTo>
                        <a:lnTo>
                          <a:pt x="128" y="750"/>
                        </a:lnTo>
                        <a:lnTo>
                          <a:pt x="129" y="762"/>
                        </a:lnTo>
                        <a:lnTo>
                          <a:pt x="128" y="769"/>
                        </a:lnTo>
                        <a:lnTo>
                          <a:pt x="133" y="771"/>
                        </a:lnTo>
                        <a:lnTo>
                          <a:pt x="151" y="770"/>
                        </a:lnTo>
                        <a:lnTo>
                          <a:pt x="156" y="775"/>
                        </a:lnTo>
                        <a:lnTo>
                          <a:pt x="155" y="782"/>
                        </a:lnTo>
                        <a:lnTo>
                          <a:pt x="166" y="788"/>
                        </a:lnTo>
                        <a:lnTo>
                          <a:pt x="174" y="788"/>
                        </a:lnTo>
                        <a:lnTo>
                          <a:pt x="183" y="791"/>
                        </a:lnTo>
                        <a:lnTo>
                          <a:pt x="195" y="791"/>
                        </a:lnTo>
                        <a:lnTo>
                          <a:pt x="204" y="788"/>
                        </a:lnTo>
                        <a:lnTo>
                          <a:pt x="214" y="776"/>
                        </a:lnTo>
                        <a:lnTo>
                          <a:pt x="232" y="775"/>
                        </a:lnTo>
                        <a:lnTo>
                          <a:pt x="236" y="771"/>
                        </a:lnTo>
                        <a:lnTo>
                          <a:pt x="244" y="770"/>
                        </a:lnTo>
                        <a:lnTo>
                          <a:pt x="264" y="772"/>
                        </a:lnTo>
                        <a:lnTo>
                          <a:pt x="266" y="769"/>
                        </a:lnTo>
                        <a:lnTo>
                          <a:pt x="287" y="771"/>
                        </a:lnTo>
                        <a:lnTo>
                          <a:pt x="293" y="769"/>
                        </a:lnTo>
                        <a:lnTo>
                          <a:pt x="296" y="761"/>
                        </a:lnTo>
                        <a:lnTo>
                          <a:pt x="305" y="758"/>
                        </a:lnTo>
                        <a:lnTo>
                          <a:pt x="311" y="753"/>
                        </a:lnTo>
                        <a:lnTo>
                          <a:pt x="316" y="748"/>
                        </a:lnTo>
                        <a:lnTo>
                          <a:pt x="333" y="745"/>
                        </a:lnTo>
                        <a:lnTo>
                          <a:pt x="341" y="746"/>
                        </a:lnTo>
                        <a:lnTo>
                          <a:pt x="365" y="753"/>
                        </a:lnTo>
                        <a:lnTo>
                          <a:pt x="372" y="753"/>
                        </a:lnTo>
                        <a:lnTo>
                          <a:pt x="381" y="745"/>
                        </a:lnTo>
                        <a:lnTo>
                          <a:pt x="394" y="744"/>
                        </a:lnTo>
                        <a:lnTo>
                          <a:pt x="408" y="746"/>
                        </a:lnTo>
                        <a:lnTo>
                          <a:pt x="446" y="758"/>
                        </a:lnTo>
                        <a:lnTo>
                          <a:pt x="459" y="758"/>
                        </a:lnTo>
                        <a:lnTo>
                          <a:pt x="467" y="744"/>
                        </a:lnTo>
                        <a:lnTo>
                          <a:pt x="479" y="743"/>
                        </a:lnTo>
                        <a:lnTo>
                          <a:pt x="491" y="748"/>
                        </a:lnTo>
                        <a:lnTo>
                          <a:pt x="507" y="749"/>
                        </a:lnTo>
                        <a:lnTo>
                          <a:pt x="508" y="743"/>
                        </a:lnTo>
                        <a:lnTo>
                          <a:pt x="505" y="733"/>
                        </a:lnTo>
                        <a:lnTo>
                          <a:pt x="512" y="728"/>
                        </a:lnTo>
                        <a:lnTo>
                          <a:pt x="519" y="727"/>
                        </a:lnTo>
                        <a:lnTo>
                          <a:pt x="532" y="726"/>
                        </a:lnTo>
                        <a:lnTo>
                          <a:pt x="553" y="727"/>
                        </a:lnTo>
                        <a:lnTo>
                          <a:pt x="564" y="726"/>
                        </a:lnTo>
                        <a:lnTo>
                          <a:pt x="586" y="715"/>
                        </a:lnTo>
                        <a:lnTo>
                          <a:pt x="623" y="689"/>
                        </a:lnTo>
                        <a:lnTo>
                          <a:pt x="633" y="679"/>
                        </a:lnTo>
                        <a:lnTo>
                          <a:pt x="642" y="668"/>
                        </a:lnTo>
                        <a:lnTo>
                          <a:pt x="663" y="652"/>
                        </a:lnTo>
                        <a:lnTo>
                          <a:pt x="689" y="624"/>
                        </a:lnTo>
                        <a:lnTo>
                          <a:pt x="705" y="600"/>
                        </a:lnTo>
                        <a:lnTo>
                          <a:pt x="714" y="589"/>
                        </a:lnTo>
                        <a:lnTo>
                          <a:pt x="723" y="582"/>
                        </a:lnTo>
                        <a:lnTo>
                          <a:pt x="747" y="561"/>
                        </a:lnTo>
                        <a:lnTo>
                          <a:pt x="765" y="533"/>
                        </a:lnTo>
                        <a:lnTo>
                          <a:pt x="774" y="520"/>
                        </a:lnTo>
                        <a:lnTo>
                          <a:pt x="796" y="480"/>
                        </a:lnTo>
                        <a:lnTo>
                          <a:pt x="800" y="473"/>
                        </a:lnTo>
                        <a:lnTo>
                          <a:pt x="804" y="465"/>
                        </a:lnTo>
                        <a:lnTo>
                          <a:pt x="808" y="454"/>
                        </a:lnTo>
                        <a:lnTo>
                          <a:pt x="819" y="437"/>
                        </a:lnTo>
                        <a:lnTo>
                          <a:pt x="828" y="426"/>
                        </a:lnTo>
                        <a:lnTo>
                          <a:pt x="836" y="420"/>
                        </a:lnTo>
                        <a:lnTo>
                          <a:pt x="846" y="417"/>
                        </a:lnTo>
                        <a:lnTo>
                          <a:pt x="866" y="401"/>
                        </a:lnTo>
                        <a:lnTo>
                          <a:pt x="875" y="388"/>
                        </a:lnTo>
                        <a:lnTo>
                          <a:pt x="881" y="357"/>
                        </a:lnTo>
                        <a:lnTo>
                          <a:pt x="886" y="345"/>
                        </a:lnTo>
                        <a:lnTo>
                          <a:pt x="888" y="331"/>
                        </a:lnTo>
                        <a:lnTo>
                          <a:pt x="888" y="318"/>
                        </a:lnTo>
                        <a:lnTo>
                          <a:pt x="894" y="305"/>
                        </a:lnTo>
                        <a:lnTo>
                          <a:pt x="897" y="294"/>
                        </a:lnTo>
                        <a:lnTo>
                          <a:pt x="898" y="282"/>
                        </a:lnTo>
                        <a:lnTo>
                          <a:pt x="892" y="281"/>
                        </a:lnTo>
                        <a:lnTo>
                          <a:pt x="856" y="281"/>
                        </a:lnTo>
                        <a:lnTo>
                          <a:pt x="850" y="285"/>
                        </a:lnTo>
                        <a:lnTo>
                          <a:pt x="844" y="299"/>
                        </a:lnTo>
                        <a:lnTo>
                          <a:pt x="836" y="308"/>
                        </a:lnTo>
                        <a:lnTo>
                          <a:pt x="824" y="307"/>
                        </a:lnTo>
                        <a:lnTo>
                          <a:pt x="801" y="304"/>
                        </a:lnTo>
                        <a:lnTo>
                          <a:pt x="791" y="285"/>
                        </a:lnTo>
                        <a:lnTo>
                          <a:pt x="789" y="272"/>
                        </a:lnTo>
                        <a:lnTo>
                          <a:pt x="793" y="256"/>
                        </a:lnTo>
                        <a:lnTo>
                          <a:pt x="801" y="239"/>
                        </a:lnTo>
                        <a:lnTo>
                          <a:pt x="808" y="227"/>
                        </a:lnTo>
                        <a:lnTo>
                          <a:pt x="822" y="218"/>
                        </a:lnTo>
                        <a:lnTo>
                          <a:pt x="845" y="233"/>
                        </a:lnTo>
                        <a:lnTo>
                          <a:pt x="852" y="224"/>
                        </a:lnTo>
                        <a:lnTo>
                          <a:pt x="849" y="131"/>
                        </a:lnTo>
                        <a:lnTo>
                          <a:pt x="836" y="87"/>
                        </a:lnTo>
                        <a:lnTo>
                          <a:pt x="830" y="55"/>
                        </a:lnTo>
                        <a:lnTo>
                          <a:pt x="828" y="34"/>
                        </a:lnTo>
                        <a:lnTo>
                          <a:pt x="827" y="33"/>
                        </a:lnTo>
                        <a:lnTo>
                          <a:pt x="822" y="32"/>
                        </a:lnTo>
                        <a:lnTo>
                          <a:pt x="807" y="17"/>
                        </a:lnTo>
                        <a:lnTo>
                          <a:pt x="786" y="11"/>
                        </a:lnTo>
                        <a:lnTo>
                          <a:pt x="774" y="9"/>
                        </a:lnTo>
                        <a:lnTo>
                          <a:pt x="761" y="12"/>
                        </a:lnTo>
                        <a:lnTo>
                          <a:pt x="749" y="9"/>
                        </a:lnTo>
                        <a:lnTo>
                          <a:pt x="726" y="2"/>
                        </a:lnTo>
                        <a:lnTo>
                          <a:pt x="717" y="0"/>
                        </a:lnTo>
                        <a:lnTo>
                          <a:pt x="705" y="5"/>
                        </a:lnTo>
                        <a:lnTo>
                          <a:pt x="704" y="8"/>
                        </a:lnTo>
                        <a:lnTo>
                          <a:pt x="693" y="13"/>
                        </a:lnTo>
                        <a:lnTo>
                          <a:pt x="679" y="22"/>
                        </a:lnTo>
                        <a:lnTo>
                          <a:pt x="641" y="40"/>
                        </a:lnTo>
                        <a:lnTo>
                          <a:pt x="625" y="57"/>
                        </a:lnTo>
                        <a:lnTo>
                          <a:pt x="605" y="70"/>
                        </a:lnTo>
                        <a:lnTo>
                          <a:pt x="586" y="88"/>
                        </a:lnTo>
                        <a:lnTo>
                          <a:pt x="575" y="104"/>
                        </a:lnTo>
                        <a:lnTo>
                          <a:pt x="558" y="129"/>
                        </a:lnTo>
                        <a:lnTo>
                          <a:pt x="531" y="148"/>
                        </a:lnTo>
                        <a:lnTo>
                          <a:pt x="516" y="167"/>
                        </a:lnTo>
                        <a:lnTo>
                          <a:pt x="501" y="201"/>
                        </a:lnTo>
                        <a:lnTo>
                          <a:pt x="496" y="207"/>
                        </a:lnTo>
                        <a:lnTo>
                          <a:pt x="488" y="211"/>
                        </a:lnTo>
                        <a:lnTo>
                          <a:pt x="477" y="212"/>
                        </a:lnTo>
                        <a:lnTo>
                          <a:pt x="452" y="218"/>
                        </a:lnTo>
                        <a:lnTo>
                          <a:pt x="437" y="217"/>
                        </a:lnTo>
                        <a:lnTo>
                          <a:pt x="414" y="204"/>
                        </a:lnTo>
                        <a:lnTo>
                          <a:pt x="402" y="199"/>
                        </a:lnTo>
                        <a:lnTo>
                          <a:pt x="388" y="197"/>
                        </a:lnTo>
                        <a:lnTo>
                          <a:pt x="376" y="201"/>
                        </a:lnTo>
                        <a:lnTo>
                          <a:pt x="357" y="221"/>
                        </a:lnTo>
                        <a:lnTo>
                          <a:pt x="351" y="229"/>
                        </a:lnTo>
                        <a:lnTo>
                          <a:pt x="348" y="237"/>
                        </a:lnTo>
                        <a:lnTo>
                          <a:pt x="339" y="248"/>
                        </a:lnTo>
                        <a:lnTo>
                          <a:pt x="327" y="255"/>
                        </a:lnTo>
                        <a:lnTo>
                          <a:pt x="322" y="260"/>
                        </a:lnTo>
                        <a:lnTo>
                          <a:pt x="312" y="277"/>
                        </a:lnTo>
                        <a:lnTo>
                          <a:pt x="277" y="286"/>
                        </a:lnTo>
                        <a:lnTo>
                          <a:pt x="259" y="285"/>
                        </a:lnTo>
                        <a:lnTo>
                          <a:pt x="243" y="282"/>
                        </a:lnTo>
                        <a:lnTo>
                          <a:pt x="233" y="280"/>
                        </a:lnTo>
                        <a:lnTo>
                          <a:pt x="230" y="271"/>
                        </a:lnTo>
                        <a:lnTo>
                          <a:pt x="237" y="250"/>
                        </a:lnTo>
                        <a:lnTo>
                          <a:pt x="239" y="237"/>
                        </a:lnTo>
                        <a:lnTo>
                          <a:pt x="239" y="231"/>
                        </a:lnTo>
                        <a:lnTo>
                          <a:pt x="238" y="213"/>
                        </a:lnTo>
                        <a:lnTo>
                          <a:pt x="231" y="201"/>
                        </a:lnTo>
                        <a:lnTo>
                          <a:pt x="217" y="190"/>
                        </a:lnTo>
                        <a:lnTo>
                          <a:pt x="212" y="181"/>
                        </a:lnTo>
                        <a:lnTo>
                          <a:pt x="200" y="170"/>
                        </a:lnTo>
                        <a:lnTo>
                          <a:pt x="198" y="167"/>
                        </a:lnTo>
                        <a:lnTo>
                          <a:pt x="192" y="161"/>
                        </a:lnTo>
                        <a:lnTo>
                          <a:pt x="188" y="161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77" name="Freeform 27"/>
                  <p:cNvSpPr>
                    <a:spLocks/>
                  </p:cNvSpPr>
                  <p:nvPr/>
                </p:nvSpPr>
                <p:spPr bwMode="gray">
                  <a:xfrm>
                    <a:off x="2875" y="2589"/>
                    <a:ext cx="35" cy="87"/>
                  </a:xfrm>
                  <a:custGeom>
                    <a:avLst/>
                    <a:gdLst>
                      <a:gd name="T0" fmla="*/ 2 w 175"/>
                      <a:gd name="T1" fmla="*/ 0 h 431"/>
                      <a:gd name="T2" fmla="*/ 2 w 175"/>
                      <a:gd name="T3" fmla="*/ 1 h 431"/>
                      <a:gd name="T4" fmla="*/ 1 w 175"/>
                      <a:gd name="T5" fmla="*/ 0 h 431"/>
                      <a:gd name="T6" fmla="*/ 1 w 175"/>
                      <a:gd name="T7" fmla="*/ 0 h 431"/>
                      <a:gd name="T8" fmla="*/ 1 w 175"/>
                      <a:gd name="T9" fmla="*/ 1 h 431"/>
                      <a:gd name="T10" fmla="*/ 1 w 175"/>
                      <a:gd name="T11" fmla="*/ 2 h 431"/>
                      <a:gd name="T12" fmla="*/ 2 w 175"/>
                      <a:gd name="T13" fmla="*/ 3 h 431"/>
                      <a:gd name="T14" fmla="*/ 2 w 175"/>
                      <a:gd name="T15" fmla="*/ 3 h 431"/>
                      <a:gd name="T16" fmla="*/ 1 w 175"/>
                      <a:gd name="T17" fmla="*/ 4 h 431"/>
                      <a:gd name="T18" fmla="*/ 1 w 175"/>
                      <a:gd name="T19" fmla="*/ 5 h 431"/>
                      <a:gd name="T20" fmla="*/ 1 w 175"/>
                      <a:gd name="T21" fmla="*/ 6 h 431"/>
                      <a:gd name="T22" fmla="*/ 2 w 175"/>
                      <a:gd name="T23" fmla="*/ 7 h 431"/>
                      <a:gd name="T24" fmla="*/ 1 w 175"/>
                      <a:gd name="T25" fmla="*/ 7 h 431"/>
                      <a:gd name="T26" fmla="*/ 1 w 175"/>
                      <a:gd name="T27" fmla="*/ 8 h 431"/>
                      <a:gd name="T28" fmla="*/ 0 w 175"/>
                      <a:gd name="T29" fmla="*/ 9 h 431"/>
                      <a:gd name="T30" fmla="*/ 0 w 175"/>
                      <a:gd name="T31" fmla="*/ 10 h 431"/>
                      <a:gd name="T32" fmla="*/ 1 w 175"/>
                      <a:gd name="T33" fmla="*/ 10 h 431"/>
                      <a:gd name="T34" fmla="*/ 1 w 175"/>
                      <a:gd name="T35" fmla="*/ 11 h 431"/>
                      <a:gd name="T36" fmla="*/ 2 w 175"/>
                      <a:gd name="T37" fmla="*/ 12 h 431"/>
                      <a:gd name="T38" fmla="*/ 4 w 175"/>
                      <a:gd name="T39" fmla="*/ 12 h 431"/>
                      <a:gd name="T40" fmla="*/ 4 w 175"/>
                      <a:gd name="T41" fmla="*/ 13 h 431"/>
                      <a:gd name="T42" fmla="*/ 4 w 175"/>
                      <a:gd name="T43" fmla="*/ 14 h 431"/>
                      <a:gd name="T44" fmla="*/ 3 w 175"/>
                      <a:gd name="T45" fmla="*/ 15 h 431"/>
                      <a:gd name="T46" fmla="*/ 4 w 175"/>
                      <a:gd name="T47" fmla="*/ 16 h 431"/>
                      <a:gd name="T48" fmla="*/ 4 w 175"/>
                      <a:gd name="T49" fmla="*/ 17 h 431"/>
                      <a:gd name="T50" fmla="*/ 5 w 175"/>
                      <a:gd name="T51" fmla="*/ 17 h 431"/>
                      <a:gd name="T52" fmla="*/ 5 w 175"/>
                      <a:gd name="T53" fmla="*/ 18 h 431"/>
                      <a:gd name="T54" fmla="*/ 6 w 175"/>
                      <a:gd name="T55" fmla="*/ 18 h 431"/>
                      <a:gd name="T56" fmla="*/ 6 w 175"/>
                      <a:gd name="T57" fmla="*/ 17 h 431"/>
                      <a:gd name="T58" fmla="*/ 6 w 175"/>
                      <a:gd name="T59" fmla="*/ 16 h 431"/>
                      <a:gd name="T60" fmla="*/ 6 w 175"/>
                      <a:gd name="T61" fmla="*/ 15 h 431"/>
                      <a:gd name="T62" fmla="*/ 7 w 175"/>
                      <a:gd name="T63" fmla="*/ 15 h 431"/>
                      <a:gd name="T64" fmla="*/ 7 w 175"/>
                      <a:gd name="T65" fmla="*/ 13 h 431"/>
                      <a:gd name="T66" fmla="*/ 7 w 175"/>
                      <a:gd name="T67" fmla="*/ 12 h 431"/>
                      <a:gd name="T68" fmla="*/ 6 w 175"/>
                      <a:gd name="T69" fmla="*/ 11 h 431"/>
                      <a:gd name="T70" fmla="*/ 5 w 175"/>
                      <a:gd name="T71" fmla="*/ 9 h 431"/>
                      <a:gd name="T72" fmla="*/ 5 w 175"/>
                      <a:gd name="T73" fmla="*/ 10 h 431"/>
                      <a:gd name="T74" fmla="*/ 5 w 175"/>
                      <a:gd name="T75" fmla="*/ 10 h 431"/>
                      <a:gd name="T76" fmla="*/ 5 w 175"/>
                      <a:gd name="T77" fmla="*/ 12 h 431"/>
                      <a:gd name="T78" fmla="*/ 5 w 175"/>
                      <a:gd name="T79" fmla="*/ 11 h 431"/>
                      <a:gd name="T80" fmla="*/ 5 w 175"/>
                      <a:gd name="T81" fmla="*/ 11 h 431"/>
                      <a:gd name="T82" fmla="*/ 4 w 175"/>
                      <a:gd name="T83" fmla="*/ 11 h 431"/>
                      <a:gd name="T84" fmla="*/ 4 w 175"/>
                      <a:gd name="T85" fmla="*/ 11 h 431"/>
                      <a:gd name="T86" fmla="*/ 4 w 175"/>
                      <a:gd name="T87" fmla="*/ 10 h 431"/>
                      <a:gd name="T88" fmla="*/ 4 w 175"/>
                      <a:gd name="T89" fmla="*/ 9 h 431"/>
                      <a:gd name="T90" fmla="*/ 3 w 175"/>
                      <a:gd name="T91" fmla="*/ 8 h 431"/>
                      <a:gd name="T92" fmla="*/ 3 w 175"/>
                      <a:gd name="T93" fmla="*/ 6 h 431"/>
                      <a:gd name="T94" fmla="*/ 3 w 175"/>
                      <a:gd name="T95" fmla="*/ 6 h 431"/>
                      <a:gd name="T96" fmla="*/ 3 w 175"/>
                      <a:gd name="T97" fmla="*/ 3 h 431"/>
                      <a:gd name="T98" fmla="*/ 3 w 175"/>
                      <a:gd name="T99" fmla="*/ 2 h 431"/>
                      <a:gd name="T100" fmla="*/ 3 w 175"/>
                      <a:gd name="T101" fmla="*/ 1 h 431"/>
                      <a:gd name="T102" fmla="*/ 3 w 175"/>
                      <a:gd name="T103" fmla="*/ 0 h 431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w 175"/>
                      <a:gd name="T157" fmla="*/ 0 h 431"/>
                      <a:gd name="T158" fmla="*/ 175 w 175"/>
                      <a:gd name="T159" fmla="*/ 431 h 431"/>
                    </a:gdLst>
                    <a:ahLst/>
                    <a:cxnLst>
                      <a:cxn ang="T104">
                        <a:pos x="T0" y="T1"/>
                      </a:cxn>
                      <a:cxn ang="T105">
                        <a:pos x="T2" y="T3"/>
                      </a:cxn>
                      <a:cxn ang="T106">
                        <a:pos x="T4" y="T5"/>
                      </a:cxn>
                      <a:cxn ang="T107">
                        <a:pos x="T6" y="T7"/>
                      </a:cxn>
                      <a:cxn ang="T108">
                        <a:pos x="T8" y="T9"/>
                      </a:cxn>
                      <a:cxn ang="T109">
                        <a:pos x="T10" y="T11"/>
                      </a:cxn>
                      <a:cxn ang="T110">
                        <a:pos x="T12" y="T13"/>
                      </a:cxn>
                      <a:cxn ang="T111">
                        <a:pos x="T14" y="T15"/>
                      </a:cxn>
                      <a:cxn ang="T112">
                        <a:pos x="T16" y="T17"/>
                      </a:cxn>
                      <a:cxn ang="T113">
                        <a:pos x="T18" y="T19"/>
                      </a:cxn>
                      <a:cxn ang="T114">
                        <a:pos x="T20" y="T21"/>
                      </a:cxn>
                      <a:cxn ang="T115">
                        <a:pos x="T22" y="T23"/>
                      </a:cxn>
                      <a:cxn ang="T116">
                        <a:pos x="T24" y="T25"/>
                      </a:cxn>
                      <a:cxn ang="T117">
                        <a:pos x="T26" y="T27"/>
                      </a:cxn>
                      <a:cxn ang="T118">
                        <a:pos x="T28" y="T29"/>
                      </a:cxn>
                      <a:cxn ang="T119">
                        <a:pos x="T30" y="T31"/>
                      </a:cxn>
                      <a:cxn ang="T120">
                        <a:pos x="T32" y="T33"/>
                      </a:cxn>
                      <a:cxn ang="T121">
                        <a:pos x="T34" y="T35"/>
                      </a:cxn>
                      <a:cxn ang="T122">
                        <a:pos x="T36" y="T37"/>
                      </a:cxn>
                      <a:cxn ang="T123">
                        <a:pos x="T38" y="T39"/>
                      </a:cxn>
                      <a:cxn ang="T124">
                        <a:pos x="T40" y="T41"/>
                      </a:cxn>
                      <a:cxn ang="T125">
                        <a:pos x="T42" y="T43"/>
                      </a:cxn>
                      <a:cxn ang="T126">
                        <a:pos x="T44" y="T45"/>
                      </a:cxn>
                      <a:cxn ang="T127">
                        <a:pos x="T46" y="T47"/>
                      </a:cxn>
                      <a:cxn ang="T128">
                        <a:pos x="T48" y="T49"/>
                      </a:cxn>
                      <a:cxn ang="T129">
                        <a:pos x="T50" y="T51"/>
                      </a:cxn>
                      <a:cxn ang="T130">
                        <a:pos x="T52" y="T53"/>
                      </a:cxn>
                      <a:cxn ang="T131">
                        <a:pos x="T54" y="T55"/>
                      </a:cxn>
                      <a:cxn ang="T132">
                        <a:pos x="T56" y="T57"/>
                      </a:cxn>
                      <a:cxn ang="T133">
                        <a:pos x="T58" y="T59"/>
                      </a:cxn>
                      <a:cxn ang="T134">
                        <a:pos x="T60" y="T61"/>
                      </a:cxn>
                      <a:cxn ang="T135">
                        <a:pos x="T62" y="T63"/>
                      </a:cxn>
                      <a:cxn ang="T136">
                        <a:pos x="T64" y="T65"/>
                      </a:cxn>
                      <a:cxn ang="T137">
                        <a:pos x="T66" y="T67"/>
                      </a:cxn>
                      <a:cxn ang="T138">
                        <a:pos x="T68" y="T69"/>
                      </a:cxn>
                      <a:cxn ang="T139">
                        <a:pos x="T70" y="T71"/>
                      </a:cxn>
                      <a:cxn ang="T140">
                        <a:pos x="T72" y="T73"/>
                      </a:cxn>
                      <a:cxn ang="T141">
                        <a:pos x="T74" y="T75"/>
                      </a:cxn>
                      <a:cxn ang="T142">
                        <a:pos x="T76" y="T77"/>
                      </a:cxn>
                      <a:cxn ang="T143">
                        <a:pos x="T78" y="T79"/>
                      </a:cxn>
                      <a:cxn ang="T144">
                        <a:pos x="T80" y="T81"/>
                      </a:cxn>
                      <a:cxn ang="T145">
                        <a:pos x="T82" y="T83"/>
                      </a:cxn>
                      <a:cxn ang="T146">
                        <a:pos x="T84" y="T85"/>
                      </a:cxn>
                      <a:cxn ang="T147">
                        <a:pos x="T86" y="T87"/>
                      </a:cxn>
                      <a:cxn ang="T148">
                        <a:pos x="T88" y="T89"/>
                      </a:cxn>
                      <a:cxn ang="T149">
                        <a:pos x="T90" y="T91"/>
                      </a:cxn>
                      <a:cxn ang="T150">
                        <a:pos x="T92" y="T93"/>
                      </a:cxn>
                      <a:cxn ang="T151">
                        <a:pos x="T94" y="T95"/>
                      </a:cxn>
                      <a:cxn ang="T152">
                        <a:pos x="T96" y="T97"/>
                      </a:cxn>
                      <a:cxn ang="T153">
                        <a:pos x="T98" y="T99"/>
                      </a:cxn>
                      <a:cxn ang="T154">
                        <a:pos x="T100" y="T101"/>
                      </a:cxn>
                      <a:cxn ang="T155">
                        <a:pos x="T102" y="T103"/>
                      </a:cxn>
                    </a:cxnLst>
                    <a:rect l="T156" t="T157" r="T158" b="T159"/>
                    <a:pathLst>
                      <a:path w="175" h="431">
                        <a:moveTo>
                          <a:pt x="64" y="18"/>
                        </a:moveTo>
                        <a:lnTo>
                          <a:pt x="62" y="14"/>
                        </a:lnTo>
                        <a:lnTo>
                          <a:pt x="61" y="11"/>
                        </a:lnTo>
                        <a:lnTo>
                          <a:pt x="58" y="10"/>
                        </a:lnTo>
                        <a:lnTo>
                          <a:pt x="53" y="10"/>
                        </a:lnTo>
                        <a:lnTo>
                          <a:pt x="42" y="14"/>
                        </a:lnTo>
                        <a:lnTo>
                          <a:pt x="40" y="13"/>
                        </a:lnTo>
                        <a:lnTo>
                          <a:pt x="35" y="6"/>
                        </a:lnTo>
                        <a:lnTo>
                          <a:pt x="25" y="8"/>
                        </a:lnTo>
                        <a:lnTo>
                          <a:pt x="14" y="0"/>
                        </a:lnTo>
                        <a:lnTo>
                          <a:pt x="13" y="3"/>
                        </a:lnTo>
                        <a:lnTo>
                          <a:pt x="13" y="8"/>
                        </a:lnTo>
                        <a:lnTo>
                          <a:pt x="14" y="9"/>
                        </a:lnTo>
                        <a:lnTo>
                          <a:pt x="16" y="15"/>
                        </a:lnTo>
                        <a:lnTo>
                          <a:pt x="25" y="15"/>
                        </a:lnTo>
                        <a:lnTo>
                          <a:pt x="32" y="24"/>
                        </a:lnTo>
                        <a:lnTo>
                          <a:pt x="34" y="29"/>
                        </a:lnTo>
                        <a:lnTo>
                          <a:pt x="37" y="40"/>
                        </a:lnTo>
                        <a:lnTo>
                          <a:pt x="43" y="45"/>
                        </a:lnTo>
                        <a:lnTo>
                          <a:pt x="46" y="63"/>
                        </a:lnTo>
                        <a:lnTo>
                          <a:pt x="50" y="65"/>
                        </a:lnTo>
                        <a:lnTo>
                          <a:pt x="51" y="72"/>
                        </a:lnTo>
                        <a:lnTo>
                          <a:pt x="51" y="75"/>
                        </a:lnTo>
                        <a:lnTo>
                          <a:pt x="42" y="80"/>
                        </a:lnTo>
                        <a:lnTo>
                          <a:pt x="40" y="81"/>
                        </a:lnTo>
                        <a:lnTo>
                          <a:pt x="36" y="84"/>
                        </a:lnTo>
                        <a:lnTo>
                          <a:pt x="35" y="94"/>
                        </a:lnTo>
                        <a:lnTo>
                          <a:pt x="36" y="102"/>
                        </a:lnTo>
                        <a:lnTo>
                          <a:pt x="30" y="119"/>
                        </a:lnTo>
                        <a:lnTo>
                          <a:pt x="31" y="127"/>
                        </a:lnTo>
                        <a:lnTo>
                          <a:pt x="32" y="142"/>
                        </a:lnTo>
                        <a:lnTo>
                          <a:pt x="30" y="156"/>
                        </a:lnTo>
                        <a:lnTo>
                          <a:pt x="31" y="159"/>
                        </a:lnTo>
                        <a:lnTo>
                          <a:pt x="35" y="164"/>
                        </a:lnTo>
                        <a:lnTo>
                          <a:pt x="40" y="166"/>
                        </a:lnTo>
                        <a:lnTo>
                          <a:pt x="41" y="172"/>
                        </a:lnTo>
                        <a:lnTo>
                          <a:pt x="38" y="175"/>
                        </a:lnTo>
                        <a:lnTo>
                          <a:pt x="30" y="176"/>
                        </a:lnTo>
                        <a:lnTo>
                          <a:pt x="24" y="181"/>
                        </a:lnTo>
                        <a:lnTo>
                          <a:pt x="19" y="182"/>
                        </a:lnTo>
                        <a:lnTo>
                          <a:pt x="18" y="183"/>
                        </a:lnTo>
                        <a:lnTo>
                          <a:pt x="14" y="198"/>
                        </a:lnTo>
                        <a:lnTo>
                          <a:pt x="14" y="213"/>
                        </a:lnTo>
                        <a:lnTo>
                          <a:pt x="9" y="228"/>
                        </a:lnTo>
                        <a:lnTo>
                          <a:pt x="2" y="235"/>
                        </a:lnTo>
                        <a:lnTo>
                          <a:pt x="0" y="239"/>
                        </a:lnTo>
                        <a:lnTo>
                          <a:pt x="3" y="247"/>
                        </a:lnTo>
                        <a:lnTo>
                          <a:pt x="8" y="248"/>
                        </a:lnTo>
                        <a:lnTo>
                          <a:pt x="11" y="256"/>
                        </a:lnTo>
                        <a:lnTo>
                          <a:pt x="19" y="255"/>
                        </a:lnTo>
                        <a:lnTo>
                          <a:pt x="23" y="257"/>
                        </a:lnTo>
                        <a:lnTo>
                          <a:pt x="23" y="258"/>
                        </a:lnTo>
                        <a:lnTo>
                          <a:pt x="24" y="261"/>
                        </a:lnTo>
                        <a:lnTo>
                          <a:pt x="30" y="263"/>
                        </a:lnTo>
                        <a:lnTo>
                          <a:pt x="37" y="279"/>
                        </a:lnTo>
                        <a:lnTo>
                          <a:pt x="47" y="289"/>
                        </a:lnTo>
                        <a:lnTo>
                          <a:pt x="51" y="289"/>
                        </a:lnTo>
                        <a:lnTo>
                          <a:pt x="59" y="287"/>
                        </a:lnTo>
                        <a:lnTo>
                          <a:pt x="89" y="283"/>
                        </a:lnTo>
                        <a:lnTo>
                          <a:pt x="93" y="284"/>
                        </a:lnTo>
                        <a:lnTo>
                          <a:pt x="96" y="289"/>
                        </a:lnTo>
                        <a:lnTo>
                          <a:pt x="100" y="302"/>
                        </a:lnTo>
                        <a:lnTo>
                          <a:pt x="101" y="310"/>
                        </a:lnTo>
                        <a:lnTo>
                          <a:pt x="102" y="328"/>
                        </a:lnTo>
                        <a:lnTo>
                          <a:pt x="100" y="336"/>
                        </a:lnTo>
                        <a:lnTo>
                          <a:pt x="94" y="343"/>
                        </a:lnTo>
                        <a:lnTo>
                          <a:pt x="95" y="349"/>
                        </a:lnTo>
                        <a:lnTo>
                          <a:pt x="89" y="354"/>
                        </a:lnTo>
                        <a:lnTo>
                          <a:pt x="86" y="365"/>
                        </a:lnTo>
                        <a:lnTo>
                          <a:pt x="89" y="369"/>
                        </a:lnTo>
                        <a:lnTo>
                          <a:pt x="94" y="385"/>
                        </a:lnTo>
                        <a:lnTo>
                          <a:pt x="97" y="388"/>
                        </a:lnTo>
                        <a:lnTo>
                          <a:pt x="101" y="390"/>
                        </a:lnTo>
                        <a:lnTo>
                          <a:pt x="104" y="395"/>
                        </a:lnTo>
                        <a:lnTo>
                          <a:pt x="112" y="404"/>
                        </a:lnTo>
                        <a:lnTo>
                          <a:pt x="117" y="411"/>
                        </a:lnTo>
                        <a:lnTo>
                          <a:pt x="121" y="413"/>
                        </a:lnTo>
                        <a:lnTo>
                          <a:pt x="128" y="414"/>
                        </a:lnTo>
                        <a:lnTo>
                          <a:pt x="132" y="419"/>
                        </a:lnTo>
                        <a:lnTo>
                          <a:pt x="132" y="423"/>
                        </a:lnTo>
                        <a:lnTo>
                          <a:pt x="127" y="429"/>
                        </a:lnTo>
                        <a:lnTo>
                          <a:pt x="128" y="431"/>
                        </a:lnTo>
                        <a:lnTo>
                          <a:pt x="140" y="431"/>
                        </a:lnTo>
                        <a:lnTo>
                          <a:pt x="142" y="430"/>
                        </a:lnTo>
                        <a:lnTo>
                          <a:pt x="140" y="420"/>
                        </a:lnTo>
                        <a:lnTo>
                          <a:pt x="142" y="414"/>
                        </a:lnTo>
                        <a:lnTo>
                          <a:pt x="139" y="409"/>
                        </a:lnTo>
                        <a:lnTo>
                          <a:pt x="136" y="406"/>
                        </a:lnTo>
                        <a:lnTo>
                          <a:pt x="136" y="400"/>
                        </a:lnTo>
                        <a:lnTo>
                          <a:pt x="139" y="392"/>
                        </a:lnTo>
                        <a:lnTo>
                          <a:pt x="139" y="388"/>
                        </a:lnTo>
                        <a:lnTo>
                          <a:pt x="140" y="385"/>
                        </a:lnTo>
                        <a:lnTo>
                          <a:pt x="153" y="377"/>
                        </a:lnTo>
                        <a:lnTo>
                          <a:pt x="159" y="376"/>
                        </a:lnTo>
                        <a:lnTo>
                          <a:pt x="165" y="374"/>
                        </a:lnTo>
                        <a:lnTo>
                          <a:pt x="169" y="368"/>
                        </a:lnTo>
                        <a:lnTo>
                          <a:pt x="170" y="347"/>
                        </a:lnTo>
                        <a:lnTo>
                          <a:pt x="172" y="339"/>
                        </a:lnTo>
                        <a:lnTo>
                          <a:pt x="169" y="325"/>
                        </a:lnTo>
                        <a:lnTo>
                          <a:pt x="172" y="315"/>
                        </a:lnTo>
                        <a:lnTo>
                          <a:pt x="175" y="307"/>
                        </a:lnTo>
                        <a:lnTo>
                          <a:pt x="172" y="295"/>
                        </a:lnTo>
                        <a:lnTo>
                          <a:pt x="167" y="288"/>
                        </a:lnTo>
                        <a:lnTo>
                          <a:pt x="154" y="275"/>
                        </a:lnTo>
                        <a:lnTo>
                          <a:pt x="148" y="266"/>
                        </a:lnTo>
                        <a:lnTo>
                          <a:pt x="133" y="247"/>
                        </a:lnTo>
                        <a:lnTo>
                          <a:pt x="123" y="240"/>
                        </a:lnTo>
                        <a:lnTo>
                          <a:pt x="116" y="230"/>
                        </a:lnTo>
                        <a:lnTo>
                          <a:pt x="115" y="231"/>
                        </a:lnTo>
                        <a:lnTo>
                          <a:pt x="115" y="239"/>
                        </a:lnTo>
                        <a:lnTo>
                          <a:pt x="116" y="242"/>
                        </a:lnTo>
                        <a:lnTo>
                          <a:pt x="117" y="245"/>
                        </a:lnTo>
                        <a:lnTo>
                          <a:pt x="122" y="246"/>
                        </a:lnTo>
                        <a:lnTo>
                          <a:pt x="126" y="250"/>
                        </a:lnTo>
                        <a:lnTo>
                          <a:pt x="136" y="274"/>
                        </a:lnTo>
                        <a:lnTo>
                          <a:pt x="136" y="280"/>
                        </a:lnTo>
                        <a:lnTo>
                          <a:pt x="134" y="282"/>
                        </a:lnTo>
                        <a:lnTo>
                          <a:pt x="132" y="280"/>
                        </a:lnTo>
                        <a:lnTo>
                          <a:pt x="126" y="272"/>
                        </a:lnTo>
                        <a:lnTo>
                          <a:pt x="121" y="269"/>
                        </a:lnTo>
                        <a:lnTo>
                          <a:pt x="117" y="262"/>
                        </a:lnTo>
                        <a:lnTo>
                          <a:pt x="116" y="262"/>
                        </a:lnTo>
                        <a:lnTo>
                          <a:pt x="115" y="262"/>
                        </a:lnTo>
                        <a:lnTo>
                          <a:pt x="111" y="271"/>
                        </a:lnTo>
                        <a:lnTo>
                          <a:pt x="109" y="272"/>
                        </a:lnTo>
                        <a:lnTo>
                          <a:pt x="102" y="272"/>
                        </a:lnTo>
                        <a:lnTo>
                          <a:pt x="101" y="269"/>
                        </a:lnTo>
                        <a:lnTo>
                          <a:pt x="99" y="266"/>
                        </a:lnTo>
                        <a:lnTo>
                          <a:pt x="97" y="261"/>
                        </a:lnTo>
                        <a:lnTo>
                          <a:pt x="97" y="256"/>
                        </a:lnTo>
                        <a:lnTo>
                          <a:pt x="100" y="247"/>
                        </a:lnTo>
                        <a:lnTo>
                          <a:pt x="100" y="245"/>
                        </a:lnTo>
                        <a:lnTo>
                          <a:pt x="97" y="241"/>
                        </a:lnTo>
                        <a:lnTo>
                          <a:pt x="91" y="235"/>
                        </a:lnTo>
                        <a:lnTo>
                          <a:pt x="89" y="231"/>
                        </a:lnTo>
                        <a:lnTo>
                          <a:pt x="86" y="223"/>
                        </a:lnTo>
                        <a:lnTo>
                          <a:pt x="86" y="209"/>
                        </a:lnTo>
                        <a:lnTo>
                          <a:pt x="85" y="208"/>
                        </a:lnTo>
                        <a:lnTo>
                          <a:pt x="80" y="187"/>
                        </a:lnTo>
                        <a:lnTo>
                          <a:pt x="68" y="164"/>
                        </a:lnTo>
                        <a:lnTo>
                          <a:pt x="68" y="159"/>
                        </a:lnTo>
                        <a:lnTo>
                          <a:pt x="68" y="154"/>
                        </a:lnTo>
                        <a:lnTo>
                          <a:pt x="73" y="145"/>
                        </a:lnTo>
                        <a:lnTo>
                          <a:pt x="79" y="140"/>
                        </a:lnTo>
                        <a:lnTo>
                          <a:pt x="83" y="128"/>
                        </a:lnTo>
                        <a:lnTo>
                          <a:pt x="81" y="94"/>
                        </a:lnTo>
                        <a:lnTo>
                          <a:pt x="79" y="70"/>
                        </a:lnTo>
                        <a:lnTo>
                          <a:pt x="81" y="63"/>
                        </a:lnTo>
                        <a:lnTo>
                          <a:pt x="81" y="57"/>
                        </a:lnTo>
                        <a:lnTo>
                          <a:pt x="78" y="51"/>
                        </a:lnTo>
                        <a:lnTo>
                          <a:pt x="72" y="48"/>
                        </a:lnTo>
                        <a:lnTo>
                          <a:pt x="69" y="46"/>
                        </a:lnTo>
                        <a:lnTo>
                          <a:pt x="63" y="32"/>
                        </a:lnTo>
                        <a:lnTo>
                          <a:pt x="62" y="26"/>
                        </a:lnTo>
                        <a:lnTo>
                          <a:pt x="64" y="18"/>
                        </a:lnTo>
                        <a:lnTo>
                          <a:pt x="69" y="10"/>
                        </a:lnTo>
                        <a:lnTo>
                          <a:pt x="64" y="18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78" name="Freeform 28"/>
                  <p:cNvSpPr>
                    <a:spLocks/>
                  </p:cNvSpPr>
                  <p:nvPr/>
                </p:nvSpPr>
                <p:spPr bwMode="gray">
                  <a:xfrm>
                    <a:off x="2989" y="2620"/>
                    <a:ext cx="78" cy="156"/>
                  </a:xfrm>
                  <a:custGeom>
                    <a:avLst/>
                    <a:gdLst>
                      <a:gd name="T0" fmla="*/ 3 w 391"/>
                      <a:gd name="T1" fmla="*/ 9 h 776"/>
                      <a:gd name="T2" fmla="*/ 4 w 391"/>
                      <a:gd name="T3" fmla="*/ 9 h 776"/>
                      <a:gd name="T4" fmla="*/ 5 w 391"/>
                      <a:gd name="T5" fmla="*/ 9 h 776"/>
                      <a:gd name="T6" fmla="*/ 5 w 391"/>
                      <a:gd name="T7" fmla="*/ 8 h 776"/>
                      <a:gd name="T8" fmla="*/ 6 w 391"/>
                      <a:gd name="T9" fmla="*/ 8 h 776"/>
                      <a:gd name="T10" fmla="*/ 7 w 391"/>
                      <a:gd name="T11" fmla="*/ 9 h 776"/>
                      <a:gd name="T12" fmla="*/ 7 w 391"/>
                      <a:gd name="T13" fmla="*/ 8 h 776"/>
                      <a:gd name="T14" fmla="*/ 7 w 391"/>
                      <a:gd name="T15" fmla="*/ 7 h 776"/>
                      <a:gd name="T16" fmla="*/ 8 w 391"/>
                      <a:gd name="T17" fmla="*/ 8 h 776"/>
                      <a:gd name="T18" fmla="*/ 8 w 391"/>
                      <a:gd name="T19" fmla="*/ 7 h 776"/>
                      <a:gd name="T20" fmla="*/ 9 w 391"/>
                      <a:gd name="T21" fmla="*/ 6 h 776"/>
                      <a:gd name="T22" fmla="*/ 9 w 391"/>
                      <a:gd name="T23" fmla="*/ 6 h 776"/>
                      <a:gd name="T24" fmla="*/ 10 w 391"/>
                      <a:gd name="T25" fmla="*/ 6 h 776"/>
                      <a:gd name="T26" fmla="*/ 10 w 391"/>
                      <a:gd name="T27" fmla="*/ 5 h 776"/>
                      <a:gd name="T28" fmla="*/ 10 w 391"/>
                      <a:gd name="T29" fmla="*/ 5 h 776"/>
                      <a:gd name="T30" fmla="*/ 10 w 391"/>
                      <a:gd name="T31" fmla="*/ 3 h 776"/>
                      <a:gd name="T32" fmla="*/ 11 w 391"/>
                      <a:gd name="T33" fmla="*/ 4 h 776"/>
                      <a:gd name="T34" fmla="*/ 12 w 391"/>
                      <a:gd name="T35" fmla="*/ 3 h 776"/>
                      <a:gd name="T36" fmla="*/ 12 w 391"/>
                      <a:gd name="T37" fmla="*/ 1 h 776"/>
                      <a:gd name="T38" fmla="*/ 13 w 391"/>
                      <a:gd name="T39" fmla="*/ 0 h 776"/>
                      <a:gd name="T40" fmla="*/ 14 w 391"/>
                      <a:gd name="T41" fmla="*/ 1 h 776"/>
                      <a:gd name="T42" fmla="*/ 15 w 391"/>
                      <a:gd name="T43" fmla="*/ 2 h 776"/>
                      <a:gd name="T44" fmla="*/ 15 w 391"/>
                      <a:gd name="T45" fmla="*/ 4 h 776"/>
                      <a:gd name="T46" fmla="*/ 15 w 391"/>
                      <a:gd name="T47" fmla="*/ 6 h 776"/>
                      <a:gd name="T48" fmla="*/ 15 w 391"/>
                      <a:gd name="T49" fmla="*/ 8 h 776"/>
                      <a:gd name="T50" fmla="*/ 15 w 391"/>
                      <a:gd name="T51" fmla="*/ 8 h 776"/>
                      <a:gd name="T52" fmla="*/ 14 w 391"/>
                      <a:gd name="T53" fmla="*/ 8 h 776"/>
                      <a:gd name="T54" fmla="*/ 14 w 391"/>
                      <a:gd name="T55" fmla="*/ 10 h 776"/>
                      <a:gd name="T56" fmla="*/ 14 w 391"/>
                      <a:gd name="T57" fmla="*/ 11 h 776"/>
                      <a:gd name="T58" fmla="*/ 13 w 391"/>
                      <a:gd name="T59" fmla="*/ 15 h 776"/>
                      <a:gd name="T60" fmla="*/ 13 w 391"/>
                      <a:gd name="T61" fmla="*/ 16 h 776"/>
                      <a:gd name="T62" fmla="*/ 11 w 391"/>
                      <a:gd name="T63" fmla="*/ 21 h 776"/>
                      <a:gd name="T64" fmla="*/ 10 w 391"/>
                      <a:gd name="T65" fmla="*/ 25 h 776"/>
                      <a:gd name="T66" fmla="*/ 9 w 391"/>
                      <a:gd name="T67" fmla="*/ 28 h 776"/>
                      <a:gd name="T68" fmla="*/ 8 w 391"/>
                      <a:gd name="T69" fmla="*/ 30 h 776"/>
                      <a:gd name="T70" fmla="*/ 7 w 391"/>
                      <a:gd name="T71" fmla="*/ 30 h 776"/>
                      <a:gd name="T72" fmla="*/ 4 w 391"/>
                      <a:gd name="T73" fmla="*/ 31 h 776"/>
                      <a:gd name="T74" fmla="*/ 2 w 391"/>
                      <a:gd name="T75" fmla="*/ 30 h 776"/>
                      <a:gd name="T76" fmla="*/ 1 w 391"/>
                      <a:gd name="T77" fmla="*/ 28 h 776"/>
                      <a:gd name="T78" fmla="*/ 1 w 391"/>
                      <a:gd name="T79" fmla="*/ 26 h 776"/>
                      <a:gd name="T80" fmla="*/ 0 w 391"/>
                      <a:gd name="T81" fmla="*/ 25 h 776"/>
                      <a:gd name="T82" fmla="*/ 0 w 391"/>
                      <a:gd name="T83" fmla="*/ 23 h 776"/>
                      <a:gd name="T84" fmla="*/ 1 w 391"/>
                      <a:gd name="T85" fmla="*/ 21 h 776"/>
                      <a:gd name="T86" fmla="*/ 2 w 391"/>
                      <a:gd name="T87" fmla="*/ 20 h 776"/>
                      <a:gd name="T88" fmla="*/ 3 w 391"/>
                      <a:gd name="T89" fmla="*/ 17 h 776"/>
                      <a:gd name="T90" fmla="*/ 3 w 391"/>
                      <a:gd name="T91" fmla="*/ 16 h 776"/>
                      <a:gd name="T92" fmla="*/ 2 w 391"/>
                      <a:gd name="T93" fmla="*/ 14 h 776"/>
                      <a:gd name="T94" fmla="*/ 2 w 391"/>
                      <a:gd name="T95" fmla="*/ 11 h 77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391"/>
                      <a:gd name="T145" fmla="*/ 0 h 776"/>
                      <a:gd name="T146" fmla="*/ 391 w 391"/>
                      <a:gd name="T147" fmla="*/ 776 h 776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391" h="776">
                        <a:moveTo>
                          <a:pt x="64" y="230"/>
                        </a:moveTo>
                        <a:lnTo>
                          <a:pt x="69" y="224"/>
                        </a:lnTo>
                        <a:lnTo>
                          <a:pt x="76" y="226"/>
                        </a:lnTo>
                        <a:lnTo>
                          <a:pt x="92" y="225"/>
                        </a:lnTo>
                        <a:lnTo>
                          <a:pt x="96" y="221"/>
                        </a:lnTo>
                        <a:lnTo>
                          <a:pt x="107" y="215"/>
                        </a:lnTo>
                        <a:lnTo>
                          <a:pt x="109" y="220"/>
                        </a:lnTo>
                        <a:lnTo>
                          <a:pt x="113" y="221"/>
                        </a:lnTo>
                        <a:lnTo>
                          <a:pt x="118" y="215"/>
                        </a:lnTo>
                        <a:lnTo>
                          <a:pt x="124" y="217"/>
                        </a:lnTo>
                        <a:lnTo>
                          <a:pt x="129" y="211"/>
                        </a:lnTo>
                        <a:lnTo>
                          <a:pt x="130" y="204"/>
                        </a:lnTo>
                        <a:lnTo>
                          <a:pt x="140" y="202"/>
                        </a:lnTo>
                        <a:lnTo>
                          <a:pt x="146" y="205"/>
                        </a:lnTo>
                        <a:lnTo>
                          <a:pt x="152" y="199"/>
                        </a:lnTo>
                        <a:lnTo>
                          <a:pt x="159" y="202"/>
                        </a:lnTo>
                        <a:lnTo>
                          <a:pt x="164" y="211"/>
                        </a:lnTo>
                        <a:lnTo>
                          <a:pt x="170" y="219"/>
                        </a:lnTo>
                        <a:lnTo>
                          <a:pt x="178" y="221"/>
                        </a:lnTo>
                        <a:lnTo>
                          <a:pt x="184" y="220"/>
                        </a:lnTo>
                        <a:lnTo>
                          <a:pt x="182" y="210"/>
                        </a:lnTo>
                        <a:lnTo>
                          <a:pt x="172" y="202"/>
                        </a:lnTo>
                        <a:lnTo>
                          <a:pt x="173" y="192"/>
                        </a:lnTo>
                        <a:lnTo>
                          <a:pt x="183" y="181"/>
                        </a:lnTo>
                        <a:lnTo>
                          <a:pt x="195" y="173"/>
                        </a:lnTo>
                        <a:lnTo>
                          <a:pt x="202" y="176"/>
                        </a:lnTo>
                        <a:lnTo>
                          <a:pt x="204" y="189"/>
                        </a:lnTo>
                        <a:lnTo>
                          <a:pt x="211" y="189"/>
                        </a:lnTo>
                        <a:lnTo>
                          <a:pt x="218" y="186"/>
                        </a:lnTo>
                        <a:lnTo>
                          <a:pt x="208" y="167"/>
                        </a:lnTo>
                        <a:lnTo>
                          <a:pt x="215" y="161"/>
                        </a:lnTo>
                        <a:lnTo>
                          <a:pt x="224" y="150"/>
                        </a:lnTo>
                        <a:lnTo>
                          <a:pt x="221" y="149"/>
                        </a:lnTo>
                        <a:lnTo>
                          <a:pt x="227" y="141"/>
                        </a:lnTo>
                        <a:lnTo>
                          <a:pt x="231" y="149"/>
                        </a:lnTo>
                        <a:lnTo>
                          <a:pt x="229" y="160"/>
                        </a:lnTo>
                        <a:lnTo>
                          <a:pt x="245" y="140"/>
                        </a:lnTo>
                        <a:lnTo>
                          <a:pt x="253" y="141"/>
                        </a:lnTo>
                        <a:lnTo>
                          <a:pt x="258" y="140"/>
                        </a:lnTo>
                        <a:lnTo>
                          <a:pt x="256" y="135"/>
                        </a:lnTo>
                        <a:lnTo>
                          <a:pt x="247" y="133"/>
                        </a:lnTo>
                        <a:lnTo>
                          <a:pt x="242" y="125"/>
                        </a:lnTo>
                        <a:lnTo>
                          <a:pt x="245" y="119"/>
                        </a:lnTo>
                        <a:lnTo>
                          <a:pt x="253" y="108"/>
                        </a:lnTo>
                        <a:lnTo>
                          <a:pt x="258" y="113"/>
                        </a:lnTo>
                        <a:lnTo>
                          <a:pt x="259" y="101"/>
                        </a:lnTo>
                        <a:lnTo>
                          <a:pt x="256" y="93"/>
                        </a:lnTo>
                        <a:lnTo>
                          <a:pt x="253" y="81"/>
                        </a:lnTo>
                        <a:lnTo>
                          <a:pt x="256" y="77"/>
                        </a:lnTo>
                        <a:lnTo>
                          <a:pt x="267" y="81"/>
                        </a:lnTo>
                        <a:lnTo>
                          <a:pt x="270" y="92"/>
                        </a:lnTo>
                        <a:lnTo>
                          <a:pt x="283" y="74"/>
                        </a:lnTo>
                        <a:lnTo>
                          <a:pt x="285" y="63"/>
                        </a:lnTo>
                        <a:lnTo>
                          <a:pt x="293" y="68"/>
                        </a:lnTo>
                        <a:lnTo>
                          <a:pt x="301" y="61"/>
                        </a:lnTo>
                        <a:lnTo>
                          <a:pt x="306" y="47"/>
                        </a:lnTo>
                        <a:lnTo>
                          <a:pt x="307" y="25"/>
                        </a:lnTo>
                        <a:lnTo>
                          <a:pt x="301" y="15"/>
                        </a:lnTo>
                        <a:lnTo>
                          <a:pt x="306" y="17"/>
                        </a:lnTo>
                        <a:lnTo>
                          <a:pt x="316" y="5"/>
                        </a:lnTo>
                        <a:lnTo>
                          <a:pt x="323" y="0"/>
                        </a:lnTo>
                        <a:lnTo>
                          <a:pt x="334" y="10"/>
                        </a:lnTo>
                        <a:lnTo>
                          <a:pt x="344" y="23"/>
                        </a:lnTo>
                        <a:lnTo>
                          <a:pt x="354" y="33"/>
                        </a:lnTo>
                        <a:lnTo>
                          <a:pt x="361" y="47"/>
                        </a:lnTo>
                        <a:lnTo>
                          <a:pt x="365" y="60"/>
                        </a:lnTo>
                        <a:lnTo>
                          <a:pt x="366" y="73"/>
                        </a:lnTo>
                        <a:lnTo>
                          <a:pt x="371" y="89"/>
                        </a:lnTo>
                        <a:lnTo>
                          <a:pt x="374" y="106"/>
                        </a:lnTo>
                        <a:lnTo>
                          <a:pt x="377" y="120"/>
                        </a:lnTo>
                        <a:lnTo>
                          <a:pt x="379" y="135"/>
                        </a:lnTo>
                        <a:lnTo>
                          <a:pt x="382" y="151"/>
                        </a:lnTo>
                        <a:lnTo>
                          <a:pt x="388" y="167"/>
                        </a:lnTo>
                        <a:lnTo>
                          <a:pt x="391" y="183"/>
                        </a:lnTo>
                        <a:lnTo>
                          <a:pt x="388" y="198"/>
                        </a:lnTo>
                        <a:lnTo>
                          <a:pt x="383" y="210"/>
                        </a:lnTo>
                        <a:lnTo>
                          <a:pt x="376" y="211"/>
                        </a:lnTo>
                        <a:lnTo>
                          <a:pt x="370" y="198"/>
                        </a:lnTo>
                        <a:lnTo>
                          <a:pt x="366" y="183"/>
                        </a:lnTo>
                        <a:lnTo>
                          <a:pt x="356" y="184"/>
                        </a:lnTo>
                        <a:lnTo>
                          <a:pt x="353" y="206"/>
                        </a:lnTo>
                        <a:lnTo>
                          <a:pt x="353" y="222"/>
                        </a:lnTo>
                        <a:lnTo>
                          <a:pt x="360" y="235"/>
                        </a:lnTo>
                        <a:lnTo>
                          <a:pt x="360" y="251"/>
                        </a:lnTo>
                        <a:lnTo>
                          <a:pt x="355" y="262"/>
                        </a:lnTo>
                        <a:lnTo>
                          <a:pt x="349" y="268"/>
                        </a:lnTo>
                        <a:lnTo>
                          <a:pt x="342" y="283"/>
                        </a:lnTo>
                        <a:lnTo>
                          <a:pt x="339" y="300"/>
                        </a:lnTo>
                        <a:lnTo>
                          <a:pt x="339" y="315"/>
                        </a:lnTo>
                        <a:lnTo>
                          <a:pt x="329" y="366"/>
                        </a:lnTo>
                        <a:lnTo>
                          <a:pt x="318" y="397"/>
                        </a:lnTo>
                        <a:lnTo>
                          <a:pt x="317" y="397"/>
                        </a:lnTo>
                        <a:lnTo>
                          <a:pt x="316" y="405"/>
                        </a:lnTo>
                        <a:lnTo>
                          <a:pt x="300" y="459"/>
                        </a:lnTo>
                        <a:lnTo>
                          <a:pt x="288" y="488"/>
                        </a:lnTo>
                        <a:lnTo>
                          <a:pt x="283" y="511"/>
                        </a:lnTo>
                        <a:lnTo>
                          <a:pt x="273" y="549"/>
                        </a:lnTo>
                        <a:lnTo>
                          <a:pt x="266" y="566"/>
                        </a:lnTo>
                        <a:lnTo>
                          <a:pt x="254" y="606"/>
                        </a:lnTo>
                        <a:lnTo>
                          <a:pt x="248" y="635"/>
                        </a:lnTo>
                        <a:lnTo>
                          <a:pt x="243" y="651"/>
                        </a:lnTo>
                        <a:lnTo>
                          <a:pt x="236" y="684"/>
                        </a:lnTo>
                        <a:lnTo>
                          <a:pt x="227" y="700"/>
                        </a:lnTo>
                        <a:lnTo>
                          <a:pt x="223" y="715"/>
                        </a:lnTo>
                        <a:lnTo>
                          <a:pt x="210" y="736"/>
                        </a:lnTo>
                        <a:lnTo>
                          <a:pt x="200" y="744"/>
                        </a:lnTo>
                        <a:lnTo>
                          <a:pt x="192" y="749"/>
                        </a:lnTo>
                        <a:lnTo>
                          <a:pt x="183" y="748"/>
                        </a:lnTo>
                        <a:lnTo>
                          <a:pt x="151" y="755"/>
                        </a:lnTo>
                        <a:lnTo>
                          <a:pt x="119" y="774"/>
                        </a:lnTo>
                        <a:lnTo>
                          <a:pt x="106" y="776"/>
                        </a:lnTo>
                        <a:lnTo>
                          <a:pt x="86" y="762"/>
                        </a:lnTo>
                        <a:lnTo>
                          <a:pt x="71" y="753"/>
                        </a:lnTo>
                        <a:lnTo>
                          <a:pt x="59" y="746"/>
                        </a:lnTo>
                        <a:lnTo>
                          <a:pt x="47" y="736"/>
                        </a:lnTo>
                        <a:lnTo>
                          <a:pt x="32" y="714"/>
                        </a:lnTo>
                        <a:lnTo>
                          <a:pt x="27" y="697"/>
                        </a:lnTo>
                        <a:lnTo>
                          <a:pt x="24" y="678"/>
                        </a:lnTo>
                        <a:lnTo>
                          <a:pt x="24" y="663"/>
                        </a:lnTo>
                        <a:lnTo>
                          <a:pt x="28" y="654"/>
                        </a:lnTo>
                        <a:lnTo>
                          <a:pt x="24" y="638"/>
                        </a:lnTo>
                        <a:lnTo>
                          <a:pt x="17" y="624"/>
                        </a:lnTo>
                        <a:lnTo>
                          <a:pt x="9" y="615"/>
                        </a:lnTo>
                        <a:lnTo>
                          <a:pt x="1" y="601"/>
                        </a:lnTo>
                        <a:lnTo>
                          <a:pt x="1" y="586"/>
                        </a:lnTo>
                        <a:lnTo>
                          <a:pt x="0" y="574"/>
                        </a:lnTo>
                        <a:lnTo>
                          <a:pt x="0" y="555"/>
                        </a:lnTo>
                        <a:lnTo>
                          <a:pt x="8" y="543"/>
                        </a:lnTo>
                        <a:lnTo>
                          <a:pt x="15" y="527"/>
                        </a:lnTo>
                        <a:lnTo>
                          <a:pt x="21" y="518"/>
                        </a:lnTo>
                        <a:lnTo>
                          <a:pt x="30" y="516"/>
                        </a:lnTo>
                        <a:lnTo>
                          <a:pt x="38" y="489"/>
                        </a:lnTo>
                        <a:lnTo>
                          <a:pt x="55" y="457"/>
                        </a:lnTo>
                        <a:lnTo>
                          <a:pt x="65" y="446"/>
                        </a:lnTo>
                        <a:lnTo>
                          <a:pt x="69" y="435"/>
                        </a:lnTo>
                        <a:lnTo>
                          <a:pt x="68" y="425"/>
                        </a:lnTo>
                        <a:lnTo>
                          <a:pt x="71" y="419"/>
                        </a:lnTo>
                        <a:lnTo>
                          <a:pt x="69" y="409"/>
                        </a:lnTo>
                        <a:lnTo>
                          <a:pt x="60" y="396"/>
                        </a:lnTo>
                        <a:lnTo>
                          <a:pt x="54" y="376"/>
                        </a:lnTo>
                        <a:lnTo>
                          <a:pt x="48" y="348"/>
                        </a:lnTo>
                        <a:lnTo>
                          <a:pt x="47" y="318"/>
                        </a:lnTo>
                        <a:lnTo>
                          <a:pt x="37" y="302"/>
                        </a:lnTo>
                        <a:lnTo>
                          <a:pt x="51" y="280"/>
                        </a:lnTo>
                        <a:lnTo>
                          <a:pt x="65" y="247"/>
                        </a:lnTo>
                        <a:lnTo>
                          <a:pt x="64" y="230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grpSp>
                <p:nvGrpSpPr>
                  <p:cNvPr id="579" name="Group 29"/>
                  <p:cNvGrpSpPr>
                    <a:grpSpLocks/>
                  </p:cNvGrpSpPr>
                  <p:nvPr/>
                </p:nvGrpSpPr>
                <p:grpSpPr bwMode="auto">
                  <a:xfrm>
                    <a:off x="2643" y="2535"/>
                    <a:ext cx="138" cy="151"/>
                    <a:chOff x="2643" y="2535"/>
                    <a:chExt cx="138" cy="151"/>
                  </a:xfrm>
                  <a:grpFill/>
                </p:grpSpPr>
                <p:sp>
                  <p:nvSpPr>
                    <p:cNvPr id="605" name="Freeform 30"/>
                    <p:cNvSpPr>
                      <a:spLocks/>
                    </p:cNvSpPr>
                    <p:nvPr/>
                  </p:nvSpPr>
                  <p:spPr bwMode="gray">
                    <a:xfrm>
                      <a:off x="2643" y="2550"/>
                      <a:ext cx="138" cy="136"/>
                    </a:xfrm>
                    <a:custGeom>
                      <a:avLst/>
                      <a:gdLst>
                        <a:gd name="T0" fmla="*/ 1 w 692"/>
                        <a:gd name="T1" fmla="*/ 22 h 684"/>
                        <a:gd name="T2" fmla="*/ 1 w 692"/>
                        <a:gd name="T3" fmla="*/ 20 h 684"/>
                        <a:gd name="T4" fmla="*/ 2 w 692"/>
                        <a:gd name="T5" fmla="*/ 18 h 684"/>
                        <a:gd name="T6" fmla="*/ 2 w 692"/>
                        <a:gd name="T7" fmla="*/ 17 h 684"/>
                        <a:gd name="T8" fmla="*/ 4 w 692"/>
                        <a:gd name="T9" fmla="*/ 15 h 684"/>
                        <a:gd name="T10" fmla="*/ 5 w 692"/>
                        <a:gd name="T11" fmla="*/ 13 h 684"/>
                        <a:gd name="T12" fmla="*/ 5 w 692"/>
                        <a:gd name="T13" fmla="*/ 11 h 684"/>
                        <a:gd name="T14" fmla="*/ 4 w 692"/>
                        <a:gd name="T15" fmla="*/ 9 h 684"/>
                        <a:gd name="T16" fmla="*/ 3 w 692"/>
                        <a:gd name="T17" fmla="*/ 7 h 684"/>
                        <a:gd name="T18" fmla="*/ 3 w 692"/>
                        <a:gd name="T19" fmla="*/ 5 h 684"/>
                        <a:gd name="T20" fmla="*/ 2 w 692"/>
                        <a:gd name="T21" fmla="*/ 2 h 684"/>
                        <a:gd name="T22" fmla="*/ 2 w 692"/>
                        <a:gd name="T23" fmla="*/ 1 h 684"/>
                        <a:gd name="T24" fmla="*/ 3 w 692"/>
                        <a:gd name="T25" fmla="*/ 0 h 684"/>
                        <a:gd name="T26" fmla="*/ 5 w 692"/>
                        <a:gd name="T27" fmla="*/ 0 h 684"/>
                        <a:gd name="T28" fmla="*/ 8 w 692"/>
                        <a:gd name="T29" fmla="*/ 0 h 684"/>
                        <a:gd name="T30" fmla="*/ 10 w 692"/>
                        <a:gd name="T31" fmla="*/ 0 h 684"/>
                        <a:gd name="T32" fmla="*/ 11 w 692"/>
                        <a:gd name="T33" fmla="*/ 1 h 684"/>
                        <a:gd name="T34" fmla="*/ 12 w 692"/>
                        <a:gd name="T35" fmla="*/ 3 h 684"/>
                        <a:gd name="T36" fmla="*/ 14 w 692"/>
                        <a:gd name="T37" fmla="*/ 5 h 684"/>
                        <a:gd name="T38" fmla="*/ 16 w 692"/>
                        <a:gd name="T39" fmla="*/ 5 h 684"/>
                        <a:gd name="T40" fmla="*/ 17 w 692"/>
                        <a:gd name="T41" fmla="*/ 4 h 684"/>
                        <a:gd name="T42" fmla="*/ 17 w 692"/>
                        <a:gd name="T43" fmla="*/ 3 h 684"/>
                        <a:gd name="T44" fmla="*/ 20 w 692"/>
                        <a:gd name="T45" fmla="*/ 3 h 684"/>
                        <a:gd name="T46" fmla="*/ 22 w 692"/>
                        <a:gd name="T47" fmla="*/ 5 h 684"/>
                        <a:gd name="T48" fmla="*/ 23 w 692"/>
                        <a:gd name="T49" fmla="*/ 7 h 684"/>
                        <a:gd name="T50" fmla="*/ 23 w 692"/>
                        <a:gd name="T51" fmla="*/ 9 h 684"/>
                        <a:gd name="T52" fmla="*/ 23 w 692"/>
                        <a:gd name="T53" fmla="*/ 11 h 684"/>
                        <a:gd name="T54" fmla="*/ 23 w 692"/>
                        <a:gd name="T55" fmla="*/ 12 h 684"/>
                        <a:gd name="T56" fmla="*/ 24 w 692"/>
                        <a:gd name="T57" fmla="*/ 12 h 684"/>
                        <a:gd name="T58" fmla="*/ 26 w 692"/>
                        <a:gd name="T59" fmla="*/ 11 h 684"/>
                        <a:gd name="T60" fmla="*/ 27 w 692"/>
                        <a:gd name="T61" fmla="*/ 11 h 684"/>
                        <a:gd name="T62" fmla="*/ 27 w 692"/>
                        <a:gd name="T63" fmla="*/ 11 h 684"/>
                        <a:gd name="T64" fmla="*/ 27 w 692"/>
                        <a:gd name="T65" fmla="*/ 12 h 684"/>
                        <a:gd name="T66" fmla="*/ 27 w 692"/>
                        <a:gd name="T67" fmla="*/ 14 h 684"/>
                        <a:gd name="T68" fmla="*/ 27 w 692"/>
                        <a:gd name="T69" fmla="*/ 16 h 684"/>
                        <a:gd name="T70" fmla="*/ 23 w 692"/>
                        <a:gd name="T71" fmla="*/ 18 h 684"/>
                        <a:gd name="T72" fmla="*/ 23 w 692"/>
                        <a:gd name="T73" fmla="*/ 24 h 684"/>
                        <a:gd name="T74" fmla="*/ 24 w 692"/>
                        <a:gd name="T75" fmla="*/ 25 h 684"/>
                        <a:gd name="T76" fmla="*/ 25 w 692"/>
                        <a:gd name="T77" fmla="*/ 26 h 684"/>
                        <a:gd name="T78" fmla="*/ 22 w 692"/>
                        <a:gd name="T79" fmla="*/ 27 h 684"/>
                        <a:gd name="T80" fmla="*/ 20 w 692"/>
                        <a:gd name="T81" fmla="*/ 27 h 684"/>
                        <a:gd name="T82" fmla="*/ 17 w 692"/>
                        <a:gd name="T83" fmla="*/ 26 h 684"/>
                        <a:gd name="T84" fmla="*/ 15 w 692"/>
                        <a:gd name="T85" fmla="*/ 25 h 684"/>
                        <a:gd name="T86" fmla="*/ 8 w 692"/>
                        <a:gd name="T87" fmla="*/ 25 h 684"/>
                        <a:gd name="T88" fmla="*/ 4 w 692"/>
                        <a:gd name="T89" fmla="*/ 25 h 684"/>
                        <a:gd name="T90" fmla="*/ 2 w 692"/>
                        <a:gd name="T91" fmla="*/ 24 h 684"/>
                        <a:gd name="T92" fmla="*/ 1 w 692"/>
                        <a:gd name="T93" fmla="*/ 25 h 684"/>
                        <a:gd name="T94" fmla="*/ 0 w 692"/>
                        <a:gd name="T95" fmla="*/ 24 h 684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w 692"/>
                        <a:gd name="T145" fmla="*/ 0 h 684"/>
                        <a:gd name="T146" fmla="*/ 692 w 692"/>
                        <a:gd name="T147" fmla="*/ 684 h 684"/>
                      </a:gdLst>
                      <a:ahLst/>
                      <a:cxnLst>
                        <a:cxn ang="T96">
                          <a:pos x="T0" y="T1"/>
                        </a:cxn>
                        <a:cxn ang="T97">
                          <a:pos x="T2" y="T3"/>
                        </a:cxn>
                        <a:cxn ang="T98">
                          <a:pos x="T4" y="T5"/>
                        </a:cxn>
                        <a:cxn ang="T99">
                          <a:pos x="T6" y="T7"/>
                        </a:cxn>
                        <a:cxn ang="T100">
                          <a:pos x="T8" y="T9"/>
                        </a:cxn>
                        <a:cxn ang="T101">
                          <a:pos x="T10" y="T11"/>
                        </a:cxn>
                        <a:cxn ang="T102">
                          <a:pos x="T12" y="T13"/>
                        </a:cxn>
                        <a:cxn ang="T103">
                          <a:pos x="T14" y="T15"/>
                        </a:cxn>
                        <a:cxn ang="T104">
                          <a:pos x="T16" y="T17"/>
                        </a:cxn>
                        <a:cxn ang="T105">
                          <a:pos x="T18" y="T19"/>
                        </a:cxn>
                        <a:cxn ang="T106">
                          <a:pos x="T20" y="T21"/>
                        </a:cxn>
                        <a:cxn ang="T107">
                          <a:pos x="T22" y="T23"/>
                        </a:cxn>
                        <a:cxn ang="T108">
                          <a:pos x="T24" y="T25"/>
                        </a:cxn>
                        <a:cxn ang="T109">
                          <a:pos x="T26" y="T27"/>
                        </a:cxn>
                        <a:cxn ang="T110">
                          <a:pos x="T28" y="T29"/>
                        </a:cxn>
                        <a:cxn ang="T111">
                          <a:pos x="T30" y="T31"/>
                        </a:cxn>
                        <a:cxn ang="T112">
                          <a:pos x="T32" y="T33"/>
                        </a:cxn>
                        <a:cxn ang="T113">
                          <a:pos x="T34" y="T35"/>
                        </a:cxn>
                        <a:cxn ang="T114">
                          <a:pos x="T36" y="T37"/>
                        </a:cxn>
                        <a:cxn ang="T115">
                          <a:pos x="T38" y="T39"/>
                        </a:cxn>
                        <a:cxn ang="T116">
                          <a:pos x="T40" y="T41"/>
                        </a:cxn>
                        <a:cxn ang="T117">
                          <a:pos x="T42" y="T43"/>
                        </a:cxn>
                        <a:cxn ang="T118">
                          <a:pos x="T44" y="T45"/>
                        </a:cxn>
                        <a:cxn ang="T119">
                          <a:pos x="T46" y="T47"/>
                        </a:cxn>
                        <a:cxn ang="T120">
                          <a:pos x="T48" y="T49"/>
                        </a:cxn>
                        <a:cxn ang="T121">
                          <a:pos x="T50" y="T51"/>
                        </a:cxn>
                        <a:cxn ang="T122">
                          <a:pos x="T52" y="T53"/>
                        </a:cxn>
                        <a:cxn ang="T123">
                          <a:pos x="T54" y="T55"/>
                        </a:cxn>
                        <a:cxn ang="T124">
                          <a:pos x="T56" y="T57"/>
                        </a:cxn>
                        <a:cxn ang="T125">
                          <a:pos x="T58" y="T59"/>
                        </a:cxn>
                        <a:cxn ang="T126">
                          <a:pos x="T60" y="T61"/>
                        </a:cxn>
                        <a:cxn ang="T127">
                          <a:pos x="T62" y="T63"/>
                        </a:cxn>
                        <a:cxn ang="T128">
                          <a:pos x="T64" y="T65"/>
                        </a:cxn>
                        <a:cxn ang="T129">
                          <a:pos x="T66" y="T67"/>
                        </a:cxn>
                        <a:cxn ang="T130">
                          <a:pos x="T68" y="T69"/>
                        </a:cxn>
                        <a:cxn ang="T131">
                          <a:pos x="T70" y="T71"/>
                        </a:cxn>
                        <a:cxn ang="T132">
                          <a:pos x="T72" y="T73"/>
                        </a:cxn>
                        <a:cxn ang="T133">
                          <a:pos x="T74" y="T75"/>
                        </a:cxn>
                        <a:cxn ang="T134">
                          <a:pos x="T76" y="T77"/>
                        </a:cxn>
                        <a:cxn ang="T135">
                          <a:pos x="T78" y="T79"/>
                        </a:cxn>
                        <a:cxn ang="T136">
                          <a:pos x="T80" y="T81"/>
                        </a:cxn>
                        <a:cxn ang="T137">
                          <a:pos x="T82" y="T83"/>
                        </a:cxn>
                        <a:cxn ang="T138">
                          <a:pos x="T84" y="T85"/>
                        </a:cxn>
                        <a:cxn ang="T139">
                          <a:pos x="T86" y="T87"/>
                        </a:cxn>
                        <a:cxn ang="T140">
                          <a:pos x="T88" y="T89"/>
                        </a:cxn>
                        <a:cxn ang="T141">
                          <a:pos x="T90" y="T91"/>
                        </a:cxn>
                        <a:cxn ang="T142">
                          <a:pos x="T92" y="T93"/>
                        </a:cxn>
                        <a:cxn ang="T143">
                          <a:pos x="T94" y="T95"/>
                        </a:cxn>
                      </a:cxnLst>
                      <a:rect l="T144" t="T145" r="T146" b="T147"/>
                      <a:pathLst>
                        <a:path w="692" h="684">
                          <a:moveTo>
                            <a:pt x="5" y="597"/>
                          </a:moveTo>
                          <a:lnTo>
                            <a:pt x="5" y="576"/>
                          </a:lnTo>
                          <a:lnTo>
                            <a:pt x="6" y="565"/>
                          </a:lnTo>
                          <a:lnTo>
                            <a:pt x="14" y="557"/>
                          </a:lnTo>
                          <a:lnTo>
                            <a:pt x="21" y="532"/>
                          </a:lnTo>
                          <a:lnTo>
                            <a:pt x="25" y="522"/>
                          </a:lnTo>
                          <a:lnTo>
                            <a:pt x="26" y="508"/>
                          </a:lnTo>
                          <a:lnTo>
                            <a:pt x="30" y="499"/>
                          </a:lnTo>
                          <a:lnTo>
                            <a:pt x="31" y="487"/>
                          </a:lnTo>
                          <a:lnTo>
                            <a:pt x="33" y="481"/>
                          </a:lnTo>
                          <a:lnTo>
                            <a:pt x="36" y="470"/>
                          </a:lnTo>
                          <a:lnTo>
                            <a:pt x="43" y="451"/>
                          </a:lnTo>
                          <a:lnTo>
                            <a:pt x="43" y="444"/>
                          </a:lnTo>
                          <a:lnTo>
                            <a:pt x="47" y="439"/>
                          </a:lnTo>
                          <a:lnTo>
                            <a:pt x="47" y="433"/>
                          </a:lnTo>
                          <a:lnTo>
                            <a:pt x="53" y="418"/>
                          </a:lnTo>
                          <a:lnTo>
                            <a:pt x="63" y="411"/>
                          </a:lnTo>
                          <a:lnTo>
                            <a:pt x="69" y="403"/>
                          </a:lnTo>
                          <a:lnTo>
                            <a:pt x="70" y="391"/>
                          </a:lnTo>
                          <a:lnTo>
                            <a:pt x="90" y="381"/>
                          </a:lnTo>
                          <a:lnTo>
                            <a:pt x="103" y="366"/>
                          </a:lnTo>
                          <a:lnTo>
                            <a:pt x="108" y="358"/>
                          </a:lnTo>
                          <a:lnTo>
                            <a:pt x="113" y="347"/>
                          </a:lnTo>
                          <a:lnTo>
                            <a:pt x="116" y="331"/>
                          </a:lnTo>
                          <a:lnTo>
                            <a:pt x="116" y="315"/>
                          </a:lnTo>
                          <a:lnTo>
                            <a:pt x="118" y="306"/>
                          </a:lnTo>
                          <a:lnTo>
                            <a:pt x="117" y="290"/>
                          </a:lnTo>
                          <a:lnTo>
                            <a:pt x="122" y="283"/>
                          </a:lnTo>
                          <a:lnTo>
                            <a:pt x="117" y="264"/>
                          </a:lnTo>
                          <a:lnTo>
                            <a:pt x="105" y="253"/>
                          </a:lnTo>
                          <a:lnTo>
                            <a:pt x="100" y="242"/>
                          </a:lnTo>
                          <a:lnTo>
                            <a:pt x="95" y="235"/>
                          </a:lnTo>
                          <a:lnTo>
                            <a:pt x="89" y="219"/>
                          </a:lnTo>
                          <a:lnTo>
                            <a:pt x="81" y="188"/>
                          </a:lnTo>
                          <a:lnTo>
                            <a:pt x="81" y="182"/>
                          </a:lnTo>
                          <a:lnTo>
                            <a:pt x="86" y="175"/>
                          </a:lnTo>
                          <a:lnTo>
                            <a:pt x="94" y="169"/>
                          </a:lnTo>
                          <a:lnTo>
                            <a:pt x="94" y="151"/>
                          </a:lnTo>
                          <a:lnTo>
                            <a:pt x="90" y="137"/>
                          </a:lnTo>
                          <a:lnTo>
                            <a:pt x="84" y="128"/>
                          </a:lnTo>
                          <a:lnTo>
                            <a:pt x="73" y="91"/>
                          </a:lnTo>
                          <a:lnTo>
                            <a:pt x="70" y="79"/>
                          </a:lnTo>
                          <a:lnTo>
                            <a:pt x="67" y="70"/>
                          </a:lnTo>
                          <a:lnTo>
                            <a:pt x="53" y="53"/>
                          </a:lnTo>
                          <a:lnTo>
                            <a:pt x="48" y="45"/>
                          </a:lnTo>
                          <a:lnTo>
                            <a:pt x="43" y="36"/>
                          </a:lnTo>
                          <a:lnTo>
                            <a:pt x="40" y="30"/>
                          </a:lnTo>
                          <a:lnTo>
                            <a:pt x="40" y="26"/>
                          </a:lnTo>
                          <a:lnTo>
                            <a:pt x="41" y="24"/>
                          </a:lnTo>
                          <a:lnTo>
                            <a:pt x="47" y="21"/>
                          </a:lnTo>
                          <a:lnTo>
                            <a:pt x="65" y="16"/>
                          </a:lnTo>
                          <a:lnTo>
                            <a:pt x="79" y="9"/>
                          </a:lnTo>
                          <a:lnTo>
                            <a:pt x="92" y="4"/>
                          </a:lnTo>
                          <a:lnTo>
                            <a:pt x="101" y="4"/>
                          </a:lnTo>
                          <a:lnTo>
                            <a:pt x="108" y="3"/>
                          </a:lnTo>
                          <a:lnTo>
                            <a:pt x="132" y="4"/>
                          </a:lnTo>
                          <a:lnTo>
                            <a:pt x="154" y="2"/>
                          </a:lnTo>
                          <a:lnTo>
                            <a:pt x="161" y="4"/>
                          </a:lnTo>
                          <a:lnTo>
                            <a:pt x="180" y="5"/>
                          </a:lnTo>
                          <a:lnTo>
                            <a:pt x="193" y="3"/>
                          </a:lnTo>
                          <a:lnTo>
                            <a:pt x="207" y="3"/>
                          </a:lnTo>
                          <a:lnTo>
                            <a:pt x="240" y="0"/>
                          </a:lnTo>
                          <a:lnTo>
                            <a:pt x="256" y="2"/>
                          </a:lnTo>
                          <a:lnTo>
                            <a:pt x="258" y="3"/>
                          </a:lnTo>
                          <a:lnTo>
                            <a:pt x="263" y="10"/>
                          </a:lnTo>
                          <a:lnTo>
                            <a:pt x="267" y="11"/>
                          </a:lnTo>
                          <a:lnTo>
                            <a:pt x="271" y="10"/>
                          </a:lnTo>
                          <a:lnTo>
                            <a:pt x="275" y="19"/>
                          </a:lnTo>
                          <a:lnTo>
                            <a:pt x="280" y="37"/>
                          </a:lnTo>
                          <a:lnTo>
                            <a:pt x="282" y="51"/>
                          </a:lnTo>
                          <a:lnTo>
                            <a:pt x="283" y="56"/>
                          </a:lnTo>
                          <a:lnTo>
                            <a:pt x="290" y="68"/>
                          </a:lnTo>
                          <a:lnTo>
                            <a:pt x="294" y="84"/>
                          </a:lnTo>
                          <a:lnTo>
                            <a:pt x="306" y="97"/>
                          </a:lnTo>
                          <a:lnTo>
                            <a:pt x="327" y="124"/>
                          </a:lnTo>
                          <a:lnTo>
                            <a:pt x="339" y="129"/>
                          </a:lnTo>
                          <a:lnTo>
                            <a:pt x="353" y="129"/>
                          </a:lnTo>
                          <a:lnTo>
                            <a:pt x="374" y="122"/>
                          </a:lnTo>
                          <a:lnTo>
                            <a:pt x="387" y="119"/>
                          </a:lnTo>
                          <a:lnTo>
                            <a:pt x="404" y="122"/>
                          </a:lnTo>
                          <a:lnTo>
                            <a:pt x="424" y="122"/>
                          </a:lnTo>
                          <a:lnTo>
                            <a:pt x="427" y="107"/>
                          </a:lnTo>
                          <a:lnTo>
                            <a:pt x="428" y="100"/>
                          </a:lnTo>
                          <a:lnTo>
                            <a:pt x="430" y="95"/>
                          </a:lnTo>
                          <a:lnTo>
                            <a:pt x="431" y="91"/>
                          </a:lnTo>
                          <a:lnTo>
                            <a:pt x="433" y="86"/>
                          </a:lnTo>
                          <a:lnTo>
                            <a:pt x="434" y="75"/>
                          </a:lnTo>
                          <a:lnTo>
                            <a:pt x="436" y="67"/>
                          </a:lnTo>
                          <a:lnTo>
                            <a:pt x="479" y="67"/>
                          </a:lnTo>
                          <a:lnTo>
                            <a:pt x="482" y="61"/>
                          </a:lnTo>
                          <a:lnTo>
                            <a:pt x="505" y="61"/>
                          </a:lnTo>
                          <a:lnTo>
                            <a:pt x="504" y="83"/>
                          </a:lnTo>
                          <a:lnTo>
                            <a:pt x="552" y="84"/>
                          </a:lnTo>
                          <a:lnTo>
                            <a:pt x="556" y="88"/>
                          </a:lnTo>
                          <a:lnTo>
                            <a:pt x="558" y="96"/>
                          </a:lnTo>
                          <a:lnTo>
                            <a:pt x="560" y="128"/>
                          </a:lnTo>
                          <a:lnTo>
                            <a:pt x="563" y="140"/>
                          </a:lnTo>
                          <a:lnTo>
                            <a:pt x="563" y="156"/>
                          </a:lnTo>
                          <a:lnTo>
                            <a:pt x="565" y="172"/>
                          </a:lnTo>
                          <a:lnTo>
                            <a:pt x="565" y="178"/>
                          </a:lnTo>
                          <a:lnTo>
                            <a:pt x="562" y="189"/>
                          </a:lnTo>
                          <a:lnTo>
                            <a:pt x="562" y="203"/>
                          </a:lnTo>
                          <a:lnTo>
                            <a:pt x="564" y="212"/>
                          </a:lnTo>
                          <a:lnTo>
                            <a:pt x="573" y="226"/>
                          </a:lnTo>
                          <a:lnTo>
                            <a:pt x="579" y="247"/>
                          </a:lnTo>
                          <a:lnTo>
                            <a:pt x="585" y="263"/>
                          </a:lnTo>
                          <a:lnTo>
                            <a:pt x="585" y="271"/>
                          </a:lnTo>
                          <a:lnTo>
                            <a:pt x="580" y="278"/>
                          </a:lnTo>
                          <a:lnTo>
                            <a:pt x="569" y="289"/>
                          </a:lnTo>
                          <a:lnTo>
                            <a:pt x="569" y="291"/>
                          </a:lnTo>
                          <a:lnTo>
                            <a:pt x="570" y="294"/>
                          </a:lnTo>
                          <a:lnTo>
                            <a:pt x="572" y="295"/>
                          </a:lnTo>
                          <a:lnTo>
                            <a:pt x="575" y="296"/>
                          </a:lnTo>
                          <a:lnTo>
                            <a:pt x="581" y="304"/>
                          </a:lnTo>
                          <a:lnTo>
                            <a:pt x="587" y="305"/>
                          </a:lnTo>
                          <a:lnTo>
                            <a:pt x="590" y="304"/>
                          </a:lnTo>
                          <a:lnTo>
                            <a:pt x="592" y="298"/>
                          </a:lnTo>
                          <a:lnTo>
                            <a:pt x="595" y="290"/>
                          </a:lnTo>
                          <a:lnTo>
                            <a:pt x="600" y="288"/>
                          </a:lnTo>
                          <a:lnTo>
                            <a:pt x="651" y="288"/>
                          </a:lnTo>
                          <a:lnTo>
                            <a:pt x="661" y="284"/>
                          </a:lnTo>
                          <a:lnTo>
                            <a:pt x="670" y="287"/>
                          </a:lnTo>
                          <a:lnTo>
                            <a:pt x="672" y="287"/>
                          </a:lnTo>
                          <a:lnTo>
                            <a:pt x="682" y="279"/>
                          </a:lnTo>
                          <a:lnTo>
                            <a:pt x="683" y="279"/>
                          </a:lnTo>
                          <a:lnTo>
                            <a:pt x="687" y="283"/>
                          </a:lnTo>
                          <a:lnTo>
                            <a:pt x="687" y="287"/>
                          </a:lnTo>
                          <a:lnTo>
                            <a:pt x="686" y="288"/>
                          </a:lnTo>
                          <a:lnTo>
                            <a:pt x="685" y="290"/>
                          </a:lnTo>
                          <a:lnTo>
                            <a:pt x="686" y="300"/>
                          </a:lnTo>
                          <a:lnTo>
                            <a:pt x="686" y="305"/>
                          </a:lnTo>
                          <a:lnTo>
                            <a:pt x="683" y="311"/>
                          </a:lnTo>
                          <a:lnTo>
                            <a:pt x="683" y="323"/>
                          </a:lnTo>
                          <a:lnTo>
                            <a:pt x="681" y="336"/>
                          </a:lnTo>
                          <a:lnTo>
                            <a:pt x="682" y="350"/>
                          </a:lnTo>
                          <a:lnTo>
                            <a:pt x="681" y="364"/>
                          </a:lnTo>
                          <a:lnTo>
                            <a:pt x="678" y="373"/>
                          </a:lnTo>
                          <a:lnTo>
                            <a:pt x="678" y="388"/>
                          </a:lnTo>
                          <a:lnTo>
                            <a:pt x="680" y="392"/>
                          </a:lnTo>
                          <a:lnTo>
                            <a:pt x="683" y="396"/>
                          </a:lnTo>
                          <a:lnTo>
                            <a:pt x="692" y="398"/>
                          </a:lnTo>
                          <a:lnTo>
                            <a:pt x="633" y="398"/>
                          </a:lnTo>
                          <a:lnTo>
                            <a:pt x="573" y="398"/>
                          </a:lnTo>
                          <a:lnTo>
                            <a:pt x="573" y="452"/>
                          </a:lnTo>
                          <a:lnTo>
                            <a:pt x="573" y="508"/>
                          </a:lnTo>
                          <a:lnTo>
                            <a:pt x="573" y="562"/>
                          </a:lnTo>
                          <a:lnTo>
                            <a:pt x="573" y="600"/>
                          </a:lnTo>
                          <a:lnTo>
                            <a:pt x="573" y="601"/>
                          </a:lnTo>
                          <a:lnTo>
                            <a:pt x="580" y="607"/>
                          </a:lnTo>
                          <a:lnTo>
                            <a:pt x="584" y="614"/>
                          </a:lnTo>
                          <a:lnTo>
                            <a:pt x="597" y="623"/>
                          </a:lnTo>
                          <a:lnTo>
                            <a:pt x="603" y="630"/>
                          </a:lnTo>
                          <a:lnTo>
                            <a:pt x="613" y="639"/>
                          </a:lnTo>
                          <a:lnTo>
                            <a:pt x="617" y="644"/>
                          </a:lnTo>
                          <a:lnTo>
                            <a:pt x="626" y="648"/>
                          </a:lnTo>
                          <a:lnTo>
                            <a:pt x="630" y="654"/>
                          </a:lnTo>
                          <a:lnTo>
                            <a:pt x="638" y="659"/>
                          </a:lnTo>
                          <a:lnTo>
                            <a:pt x="635" y="661"/>
                          </a:lnTo>
                          <a:lnTo>
                            <a:pt x="624" y="664"/>
                          </a:lnTo>
                          <a:lnTo>
                            <a:pt x="549" y="683"/>
                          </a:lnTo>
                          <a:lnTo>
                            <a:pt x="541" y="684"/>
                          </a:lnTo>
                          <a:lnTo>
                            <a:pt x="537" y="682"/>
                          </a:lnTo>
                          <a:lnTo>
                            <a:pt x="525" y="681"/>
                          </a:lnTo>
                          <a:lnTo>
                            <a:pt x="513" y="677"/>
                          </a:lnTo>
                          <a:lnTo>
                            <a:pt x="497" y="676"/>
                          </a:lnTo>
                          <a:lnTo>
                            <a:pt x="463" y="669"/>
                          </a:lnTo>
                          <a:lnTo>
                            <a:pt x="436" y="669"/>
                          </a:lnTo>
                          <a:lnTo>
                            <a:pt x="417" y="671"/>
                          </a:lnTo>
                          <a:lnTo>
                            <a:pt x="408" y="671"/>
                          </a:lnTo>
                          <a:lnTo>
                            <a:pt x="391" y="665"/>
                          </a:lnTo>
                          <a:lnTo>
                            <a:pt x="385" y="655"/>
                          </a:lnTo>
                          <a:lnTo>
                            <a:pt x="369" y="644"/>
                          </a:lnTo>
                          <a:lnTo>
                            <a:pt x="349" y="644"/>
                          </a:lnTo>
                          <a:lnTo>
                            <a:pt x="302" y="644"/>
                          </a:lnTo>
                          <a:lnTo>
                            <a:pt x="255" y="644"/>
                          </a:lnTo>
                          <a:lnTo>
                            <a:pt x="201" y="644"/>
                          </a:lnTo>
                          <a:lnTo>
                            <a:pt x="151" y="644"/>
                          </a:lnTo>
                          <a:lnTo>
                            <a:pt x="133" y="644"/>
                          </a:lnTo>
                          <a:lnTo>
                            <a:pt x="126" y="646"/>
                          </a:lnTo>
                          <a:lnTo>
                            <a:pt x="112" y="633"/>
                          </a:lnTo>
                          <a:lnTo>
                            <a:pt x="99" y="628"/>
                          </a:lnTo>
                          <a:lnTo>
                            <a:pt x="94" y="619"/>
                          </a:lnTo>
                          <a:lnTo>
                            <a:pt x="84" y="618"/>
                          </a:lnTo>
                          <a:lnTo>
                            <a:pt x="62" y="618"/>
                          </a:lnTo>
                          <a:lnTo>
                            <a:pt x="52" y="622"/>
                          </a:lnTo>
                          <a:lnTo>
                            <a:pt x="42" y="632"/>
                          </a:lnTo>
                          <a:lnTo>
                            <a:pt x="36" y="635"/>
                          </a:lnTo>
                          <a:lnTo>
                            <a:pt x="26" y="629"/>
                          </a:lnTo>
                          <a:lnTo>
                            <a:pt x="15" y="638"/>
                          </a:lnTo>
                          <a:lnTo>
                            <a:pt x="4" y="644"/>
                          </a:lnTo>
                          <a:lnTo>
                            <a:pt x="4" y="638"/>
                          </a:lnTo>
                          <a:lnTo>
                            <a:pt x="0" y="617"/>
                          </a:lnTo>
                          <a:lnTo>
                            <a:pt x="0" y="606"/>
                          </a:lnTo>
                          <a:lnTo>
                            <a:pt x="5" y="608"/>
                          </a:lnTo>
                          <a:lnTo>
                            <a:pt x="5" y="597"/>
                          </a:lnTo>
                          <a:close/>
                        </a:path>
                      </a:pathLst>
                    </a:custGeom>
                    <a:grpFill/>
                    <a:ln w="6350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txBody>
                    <a:bodyPr/>
                    <a:lstStyle/>
                    <a:p>
                      <a:endParaRPr lang="ru-RU" sz="1400"/>
                    </a:p>
                  </p:txBody>
                </p:sp>
                <p:sp>
                  <p:nvSpPr>
                    <p:cNvPr id="606" name="Freeform 31"/>
                    <p:cNvSpPr>
                      <a:spLocks/>
                    </p:cNvSpPr>
                    <p:nvPr/>
                  </p:nvSpPr>
                  <p:spPr bwMode="gray">
                    <a:xfrm>
                      <a:off x="2647" y="2535"/>
                      <a:ext cx="11" cy="16"/>
                    </a:xfrm>
                    <a:custGeom>
                      <a:avLst/>
                      <a:gdLst>
                        <a:gd name="T0" fmla="*/ 2 w 56"/>
                        <a:gd name="T1" fmla="*/ 1 h 78"/>
                        <a:gd name="T2" fmla="*/ 2 w 56"/>
                        <a:gd name="T3" fmla="*/ 0 h 78"/>
                        <a:gd name="T4" fmla="*/ 2 w 56"/>
                        <a:gd name="T5" fmla="*/ 0 h 78"/>
                        <a:gd name="T6" fmla="*/ 1 w 56"/>
                        <a:gd name="T7" fmla="*/ 0 h 78"/>
                        <a:gd name="T8" fmla="*/ 1 w 56"/>
                        <a:gd name="T9" fmla="*/ 1 h 78"/>
                        <a:gd name="T10" fmla="*/ 1 w 56"/>
                        <a:gd name="T11" fmla="*/ 1 h 78"/>
                        <a:gd name="T12" fmla="*/ 0 w 56"/>
                        <a:gd name="T13" fmla="*/ 1 h 78"/>
                        <a:gd name="T14" fmla="*/ 0 w 56"/>
                        <a:gd name="T15" fmla="*/ 2 h 78"/>
                        <a:gd name="T16" fmla="*/ 0 w 56"/>
                        <a:gd name="T17" fmla="*/ 2 h 78"/>
                        <a:gd name="T18" fmla="*/ 0 w 56"/>
                        <a:gd name="T19" fmla="*/ 3 h 78"/>
                        <a:gd name="T20" fmla="*/ 0 w 56"/>
                        <a:gd name="T21" fmla="*/ 3 h 78"/>
                        <a:gd name="T22" fmla="*/ 1 w 56"/>
                        <a:gd name="T23" fmla="*/ 3 h 78"/>
                        <a:gd name="T24" fmla="*/ 1 w 56"/>
                        <a:gd name="T25" fmla="*/ 3 h 78"/>
                        <a:gd name="T26" fmla="*/ 1 w 56"/>
                        <a:gd name="T27" fmla="*/ 3 h 78"/>
                        <a:gd name="T28" fmla="*/ 1 w 56"/>
                        <a:gd name="T29" fmla="*/ 2 h 78"/>
                        <a:gd name="T30" fmla="*/ 1 w 56"/>
                        <a:gd name="T31" fmla="*/ 1 h 78"/>
                        <a:gd name="T32" fmla="*/ 2 w 56"/>
                        <a:gd name="T33" fmla="*/ 1 h 78"/>
                        <a:gd name="T34" fmla="*/ 2 w 56"/>
                        <a:gd name="T35" fmla="*/ 1 h 78"/>
                        <a:gd name="T36" fmla="*/ 2 w 56"/>
                        <a:gd name="T37" fmla="*/ 1 h 78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w 56"/>
                        <a:gd name="T58" fmla="*/ 0 h 78"/>
                        <a:gd name="T59" fmla="*/ 56 w 56"/>
                        <a:gd name="T60" fmla="*/ 78 h 78"/>
                      </a:gdLst>
                      <a:ahLst/>
                      <a:cxnLst>
                        <a:cxn ang="T38">
                          <a:pos x="T0" y="T1"/>
                        </a:cxn>
                        <a:cxn ang="T39">
                          <a:pos x="T2" y="T3"/>
                        </a:cxn>
                        <a:cxn ang="T40">
                          <a:pos x="T4" y="T5"/>
                        </a:cxn>
                        <a:cxn ang="T41">
                          <a:pos x="T6" y="T7"/>
                        </a:cxn>
                        <a:cxn ang="T42">
                          <a:pos x="T8" y="T9"/>
                        </a:cxn>
                        <a:cxn ang="T43">
                          <a:pos x="T10" y="T11"/>
                        </a:cxn>
                        <a:cxn ang="T44">
                          <a:pos x="T12" y="T13"/>
                        </a:cxn>
                        <a:cxn ang="T45">
                          <a:pos x="T14" y="T15"/>
                        </a:cxn>
                        <a:cxn ang="T46">
                          <a:pos x="T16" y="T17"/>
                        </a:cxn>
                        <a:cxn ang="T47">
                          <a:pos x="T18" y="T19"/>
                        </a:cxn>
                        <a:cxn ang="T48">
                          <a:pos x="T20" y="T21"/>
                        </a:cxn>
                        <a:cxn ang="T49">
                          <a:pos x="T22" y="T23"/>
                        </a:cxn>
                        <a:cxn ang="T50">
                          <a:pos x="T24" y="T25"/>
                        </a:cxn>
                        <a:cxn ang="T51">
                          <a:pos x="T26" y="T27"/>
                        </a:cxn>
                        <a:cxn ang="T52">
                          <a:pos x="T28" y="T29"/>
                        </a:cxn>
                        <a:cxn ang="T53">
                          <a:pos x="T30" y="T31"/>
                        </a:cxn>
                        <a:cxn ang="T54">
                          <a:pos x="T32" y="T33"/>
                        </a:cxn>
                        <a:cxn ang="T55">
                          <a:pos x="T34" y="T35"/>
                        </a:cxn>
                        <a:cxn ang="T56">
                          <a:pos x="T36" y="T37"/>
                        </a:cxn>
                      </a:cxnLst>
                      <a:rect l="T57" t="T58" r="T59" b="T60"/>
                      <a:pathLst>
                        <a:path w="56" h="78">
                          <a:moveTo>
                            <a:pt x="56" y="14"/>
                          </a:moveTo>
                          <a:lnTo>
                            <a:pt x="51" y="3"/>
                          </a:lnTo>
                          <a:lnTo>
                            <a:pt x="41" y="0"/>
                          </a:lnTo>
                          <a:lnTo>
                            <a:pt x="31" y="5"/>
                          </a:lnTo>
                          <a:lnTo>
                            <a:pt x="24" y="19"/>
                          </a:lnTo>
                          <a:lnTo>
                            <a:pt x="14" y="25"/>
                          </a:lnTo>
                          <a:lnTo>
                            <a:pt x="0" y="35"/>
                          </a:lnTo>
                          <a:lnTo>
                            <a:pt x="5" y="40"/>
                          </a:lnTo>
                          <a:lnTo>
                            <a:pt x="8" y="55"/>
                          </a:lnTo>
                          <a:lnTo>
                            <a:pt x="8" y="64"/>
                          </a:lnTo>
                          <a:lnTo>
                            <a:pt x="9" y="71"/>
                          </a:lnTo>
                          <a:lnTo>
                            <a:pt x="18" y="78"/>
                          </a:lnTo>
                          <a:lnTo>
                            <a:pt x="26" y="73"/>
                          </a:lnTo>
                          <a:lnTo>
                            <a:pt x="27" y="61"/>
                          </a:lnTo>
                          <a:lnTo>
                            <a:pt x="30" y="46"/>
                          </a:lnTo>
                          <a:lnTo>
                            <a:pt x="34" y="30"/>
                          </a:lnTo>
                          <a:lnTo>
                            <a:pt x="43" y="22"/>
                          </a:lnTo>
                          <a:lnTo>
                            <a:pt x="52" y="16"/>
                          </a:lnTo>
                          <a:lnTo>
                            <a:pt x="56" y="14"/>
                          </a:lnTo>
                          <a:close/>
                        </a:path>
                      </a:pathLst>
                    </a:custGeom>
                    <a:grpFill/>
                    <a:ln w="6350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txBody>
                    <a:bodyPr/>
                    <a:lstStyle/>
                    <a:p>
                      <a:endParaRPr lang="ru-RU" sz="1400"/>
                    </a:p>
                  </p:txBody>
                </p:sp>
              </p:grpSp>
              <p:sp>
                <p:nvSpPr>
                  <p:cNvPr id="580" name="Freeform 32"/>
                  <p:cNvSpPr>
                    <a:spLocks/>
                  </p:cNvSpPr>
                  <p:nvPr/>
                </p:nvSpPr>
                <p:spPr bwMode="gray">
                  <a:xfrm>
                    <a:off x="2813" y="2811"/>
                    <a:ext cx="25" cy="26"/>
                  </a:xfrm>
                  <a:custGeom>
                    <a:avLst/>
                    <a:gdLst>
                      <a:gd name="T0" fmla="*/ 5 w 127"/>
                      <a:gd name="T1" fmla="*/ 2 h 131"/>
                      <a:gd name="T2" fmla="*/ 5 w 127"/>
                      <a:gd name="T3" fmla="*/ 2 h 131"/>
                      <a:gd name="T4" fmla="*/ 5 w 127"/>
                      <a:gd name="T5" fmla="*/ 2 h 131"/>
                      <a:gd name="T6" fmla="*/ 4 w 127"/>
                      <a:gd name="T7" fmla="*/ 4 h 131"/>
                      <a:gd name="T8" fmla="*/ 3 w 127"/>
                      <a:gd name="T9" fmla="*/ 4 h 131"/>
                      <a:gd name="T10" fmla="*/ 2 w 127"/>
                      <a:gd name="T11" fmla="*/ 5 h 131"/>
                      <a:gd name="T12" fmla="*/ 2 w 127"/>
                      <a:gd name="T13" fmla="*/ 5 h 131"/>
                      <a:gd name="T14" fmla="*/ 2 w 127"/>
                      <a:gd name="T15" fmla="*/ 5 h 131"/>
                      <a:gd name="T16" fmla="*/ 1 w 127"/>
                      <a:gd name="T17" fmla="*/ 4 h 131"/>
                      <a:gd name="T18" fmla="*/ 0 w 127"/>
                      <a:gd name="T19" fmla="*/ 4 h 131"/>
                      <a:gd name="T20" fmla="*/ 0 w 127"/>
                      <a:gd name="T21" fmla="*/ 3 h 131"/>
                      <a:gd name="T22" fmla="*/ 0 w 127"/>
                      <a:gd name="T23" fmla="*/ 3 h 131"/>
                      <a:gd name="T24" fmla="*/ 0 w 127"/>
                      <a:gd name="T25" fmla="*/ 2 h 131"/>
                      <a:gd name="T26" fmla="*/ 1 w 127"/>
                      <a:gd name="T27" fmla="*/ 1 h 131"/>
                      <a:gd name="T28" fmla="*/ 2 w 127"/>
                      <a:gd name="T29" fmla="*/ 1 h 131"/>
                      <a:gd name="T30" fmla="*/ 3 w 127"/>
                      <a:gd name="T31" fmla="*/ 0 h 131"/>
                      <a:gd name="T32" fmla="*/ 3 w 127"/>
                      <a:gd name="T33" fmla="*/ 0 h 131"/>
                      <a:gd name="T34" fmla="*/ 4 w 127"/>
                      <a:gd name="T35" fmla="*/ 0 h 131"/>
                      <a:gd name="T36" fmla="*/ 4 w 127"/>
                      <a:gd name="T37" fmla="*/ 1 h 131"/>
                      <a:gd name="T38" fmla="*/ 4 w 127"/>
                      <a:gd name="T39" fmla="*/ 1 h 131"/>
                      <a:gd name="T40" fmla="*/ 5 w 127"/>
                      <a:gd name="T41" fmla="*/ 2 h 131"/>
                      <a:gd name="T42" fmla="*/ 5 w 127"/>
                      <a:gd name="T43" fmla="*/ 2 h 131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w 127"/>
                      <a:gd name="T67" fmla="*/ 0 h 131"/>
                      <a:gd name="T68" fmla="*/ 127 w 127"/>
                      <a:gd name="T69" fmla="*/ 131 h 131"/>
                    </a:gdLst>
                    <a:ahLst/>
                    <a:cxnLst>
                      <a:cxn ang="T44">
                        <a:pos x="T0" y="T1"/>
                      </a:cxn>
                      <a:cxn ang="T45">
                        <a:pos x="T2" y="T3"/>
                      </a:cxn>
                      <a:cxn ang="T46">
                        <a:pos x="T4" y="T5"/>
                      </a:cxn>
                      <a:cxn ang="T47">
                        <a:pos x="T6" y="T7"/>
                      </a:cxn>
                      <a:cxn ang="T48">
                        <a:pos x="T8" y="T9"/>
                      </a:cxn>
                      <a:cxn ang="T49">
                        <a:pos x="T10" y="T11"/>
                      </a:cxn>
                      <a:cxn ang="T50">
                        <a:pos x="T12" y="T13"/>
                      </a:cxn>
                      <a:cxn ang="T51">
                        <a:pos x="T14" y="T15"/>
                      </a:cxn>
                      <a:cxn ang="T52">
                        <a:pos x="T16" y="T17"/>
                      </a:cxn>
                      <a:cxn ang="T53">
                        <a:pos x="T18" y="T19"/>
                      </a:cxn>
                      <a:cxn ang="T54">
                        <a:pos x="T20" y="T21"/>
                      </a:cxn>
                      <a:cxn ang="T55">
                        <a:pos x="T22" y="T23"/>
                      </a:cxn>
                      <a:cxn ang="T56">
                        <a:pos x="T24" y="T25"/>
                      </a:cxn>
                      <a:cxn ang="T57">
                        <a:pos x="T26" y="T27"/>
                      </a:cxn>
                      <a:cxn ang="T58">
                        <a:pos x="T28" y="T29"/>
                      </a:cxn>
                      <a:cxn ang="T59">
                        <a:pos x="T30" y="T31"/>
                      </a:cxn>
                      <a:cxn ang="T60">
                        <a:pos x="T32" y="T33"/>
                      </a:cxn>
                      <a:cxn ang="T61">
                        <a:pos x="T34" y="T35"/>
                      </a:cxn>
                      <a:cxn ang="T62">
                        <a:pos x="T36" y="T37"/>
                      </a:cxn>
                      <a:cxn ang="T63">
                        <a:pos x="T38" y="T39"/>
                      </a:cxn>
                      <a:cxn ang="T64">
                        <a:pos x="T40" y="T41"/>
                      </a:cxn>
                      <a:cxn ang="T65">
                        <a:pos x="T42" y="T43"/>
                      </a:cxn>
                    </a:cxnLst>
                    <a:rect l="T66" t="T67" r="T68" b="T69"/>
                    <a:pathLst>
                      <a:path w="127" h="131">
                        <a:moveTo>
                          <a:pt x="125" y="52"/>
                        </a:moveTo>
                        <a:lnTo>
                          <a:pt x="127" y="49"/>
                        </a:lnTo>
                        <a:lnTo>
                          <a:pt x="126" y="58"/>
                        </a:lnTo>
                        <a:lnTo>
                          <a:pt x="103" y="98"/>
                        </a:lnTo>
                        <a:lnTo>
                          <a:pt x="73" y="109"/>
                        </a:lnTo>
                        <a:lnTo>
                          <a:pt x="63" y="125"/>
                        </a:lnTo>
                        <a:lnTo>
                          <a:pt x="55" y="129"/>
                        </a:lnTo>
                        <a:lnTo>
                          <a:pt x="43" y="131"/>
                        </a:lnTo>
                        <a:lnTo>
                          <a:pt x="23" y="113"/>
                        </a:lnTo>
                        <a:lnTo>
                          <a:pt x="11" y="100"/>
                        </a:lnTo>
                        <a:lnTo>
                          <a:pt x="5" y="88"/>
                        </a:lnTo>
                        <a:lnTo>
                          <a:pt x="0" y="74"/>
                        </a:lnTo>
                        <a:lnTo>
                          <a:pt x="2" y="61"/>
                        </a:lnTo>
                        <a:lnTo>
                          <a:pt x="28" y="27"/>
                        </a:lnTo>
                        <a:lnTo>
                          <a:pt x="40" y="16"/>
                        </a:lnTo>
                        <a:lnTo>
                          <a:pt x="68" y="1"/>
                        </a:lnTo>
                        <a:lnTo>
                          <a:pt x="83" y="0"/>
                        </a:lnTo>
                        <a:lnTo>
                          <a:pt x="95" y="6"/>
                        </a:lnTo>
                        <a:lnTo>
                          <a:pt x="105" y="18"/>
                        </a:lnTo>
                        <a:lnTo>
                          <a:pt x="113" y="29"/>
                        </a:lnTo>
                        <a:lnTo>
                          <a:pt x="121" y="42"/>
                        </a:lnTo>
                        <a:lnTo>
                          <a:pt x="125" y="52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81" name="Freeform 33"/>
                  <p:cNvSpPr>
                    <a:spLocks/>
                  </p:cNvSpPr>
                  <p:nvPr/>
                </p:nvSpPr>
                <p:spPr bwMode="gray">
                  <a:xfrm>
                    <a:off x="2757" y="2576"/>
                    <a:ext cx="128" cy="110"/>
                  </a:xfrm>
                  <a:custGeom>
                    <a:avLst/>
                    <a:gdLst>
                      <a:gd name="T0" fmla="*/ 0 w 640"/>
                      <a:gd name="T1" fmla="*/ 13 h 552"/>
                      <a:gd name="T2" fmla="*/ 4 w 640"/>
                      <a:gd name="T3" fmla="*/ 11 h 552"/>
                      <a:gd name="T4" fmla="*/ 4 w 640"/>
                      <a:gd name="T5" fmla="*/ 9 h 552"/>
                      <a:gd name="T6" fmla="*/ 4 w 640"/>
                      <a:gd name="T7" fmla="*/ 7 h 552"/>
                      <a:gd name="T8" fmla="*/ 5 w 640"/>
                      <a:gd name="T9" fmla="*/ 6 h 552"/>
                      <a:gd name="T10" fmla="*/ 5 w 640"/>
                      <a:gd name="T11" fmla="*/ 6 h 552"/>
                      <a:gd name="T12" fmla="*/ 5 w 640"/>
                      <a:gd name="T13" fmla="*/ 7 h 552"/>
                      <a:gd name="T14" fmla="*/ 6 w 640"/>
                      <a:gd name="T15" fmla="*/ 7 h 552"/>
                      <a:gd name="T16" fmla="*/ 7 w 640"/>
                      <a:gd name="T17" fmla="*/ 7 h 552"/>
                      <a:gd name="T18" fmla="*/ 9 w 640"/>
                      <a:gd name="T19" fmla="*/ 8 h 552"/>
                      <a:gd name="T20" fmla="*/ 11 w 640"/>
                      <a:gd name="T21" fmla="*/ 8 h 552"/>
                      <a:gd name="T22" fmla="*/ 13 w 640"/>
                      <a:gd name="T23" fmla="*/ 9 h 552"/>
                      <a:gd name="T24" fmla="*/ 14 w 640"/>
                      <a:gd name="T25" fmla="*/ 10 h 552"/>
                      <a:gd name="T26" fmla="*/ 16 w 640"/>
                      <a:gd name="T27" fmla="*/ 11 h 552"/>
                      <a:gd name="T28" fmla="*/ 16 w 640"/>
                      <a:gd name="T29" fmla="*/ 11 h 552"/>
                      <a:gd name="T30" fmla="*/ 17 w 640"/>
                      <a:gd name="T31" fmla="*/ 11 h 552"/>
                      <a:gd name="T32" fmla="*/ 17 w 640"/>
                      <a:gd name="T33" fmla="*/ 9 h 552"/>
                      <a:gd name="T34" fmla="*/ 15 w 640"/>
                      <a:gd name="T35" fmla="*/ 9 h 552"/>
                      <a:gd name="T36" fmla="*/ 14 w 640"/>
                      <a:gd name="T37" fmla="*/ 8 h 552"/>
                      <a:gd name="T38" fmla="*/ 15 w 640"/>
                      <a:gd name="T39" fmla="*/ 5 h 552"/>
                      <a:gd name="T40" fmla="*/ 15 w 640"/>
                      <a:gd name="T41" fmla="*/ 3 h 552"/>
                      <a:gd name="T42" fmla="*/ 15 w 640"/>
                      <a:gd name="T43" fmla="*/ 1 h 552"/>
                      <a:gd name="T44" fmla="*/ 16 w 640"/>
                      <a:gd name="T45" fmla="*/ 1 h 552"/>
                      <a:gd name="T46" fmla="*/ 19 w 640"/>
                      <a:gd name="T47" fmla="*/ 1 h 552"/>
                      <a:gd name="T48" fmla="*/ 20 w 640"/>
                      <a:gd name="T49" fmla="*/ 1 h 552"/>
                      <a:gd name="T50" fmla="*/ 21 w 640"/>
                      <a:gd name="T51" fmla="*/ 1 h 552"/>
                      <a:gd name="T52" fmla="*/ 23 w 640"/>
                      <a:gd name="T53" fmla="*/ 2 h 552"/>
                      <a:gd name="T54" fmla="*/ 24 w 640"/>
                      <a:gd name="T55" fmla="*/ 3 h 552"/>
                      <a:gd name="T56" fmla="*/ 24 w 640"/>
                      <a:gd name="T57" fmla="*/ 3 h 552"/>
                      <a:gd name="T58" fmla="*/ 25 w 640"/>
                      <a:gd name="T59" fmla="*/ 4 h 552"/>
                      <a:gd name="T60" fmla="*/ 26 w 640"/>
                      <a:gd name="T61" fmla="*/ 6 h 552"/>
                      <a:gd name="T62" fmla="*/ 25 w 640"/>
                      <a:gd name="T63" fmla="*/ 6 h 552"/>
                      <a:gd name="T64" fmla="*/ 25 w 640"/>
                      <a:gd name="T65" fmla="*/ 8 h 552"/>
                      <a:gd name="T66" fmla="*/ 25 w 640"/>
                      <a:gd name="T67" fmla="*/ 9 h 552"/>
                      <a:gd name="T68" fmla="*/ 25 w 640"/>
                      <a:gd name="T69" fmla="*/ 10 h 552"/>
                      <a:gd name="T70" fmla="*/ 24 w 640"/>
                      <a:gd name="T71" fmla="*/ 11 h 552"/>
                      <a:gd name="T72" fmla="*/ 24 w 640"/>
                      <a:gd name="T73" fmla="*/ 12 h 552"/>
                      <a:gd name="T74" fmla="*/ 24 w 640"/>
                      <a:gd name="T75" fmla="*/ 13 h 552"/>
                      <a:gd name="T76" fmla="*/ 18 w 640"/>
                      <a:gd name="T77" fmla="*/ 15 h 552"/>
                      <a:gd name="T78" fmla="*/ 18 w 640"/>
                      <a:gd name="T79" fmla="*/ 17 h 552"/>
                      <a:gd name="T80" fmla="*/ 17 w 640"/>
                      <a:gd name="T81" fmla="*/ 17 h 552"/>
                      <a:gd name="T82" fmla="*/ 15 w 640"/>
                      <a:gd name="T83" fmla="*/ 17 h 552"/>
                      <a:gd name="T84" fmla="*/ 15 w 640"/>
                      <a:gd name="T85" fmla="*/ 18 h 552"/>
                      <a:gd name="T86" fmla="*/ 15 w 640"/>
                      <a:gd name="T87" fmla="*/ 18 h 552"/>
                      <a:gd name="T88" fmla="*/ 13 w 640"/>
                      <a:gd name="T89" fmla="*/ 19 h 552"/>
                      <a:gd name="T90" fmla="*/ 13 w 640"/>
                      <a:gd name="T91" fmla="*/ 19 h 552"/>
                      <a:gd name="T92" fmla="*/ 12 w 640"/>
                      <a:gd name="T93" fmla="*/ 20 h 552"/>
                      <a:gd name="T94" fmla="*/ 11 w 640"/>
                      <a:gd name="T95" fmla="*/ 21 h 552"/>
                      <a:gd name="T96" fmla="*/ 11 w 640"/>
                      <a:gd name="T97" fmla="*/ 22 h 552"/>
                      <a:gd name="T98" fmla="*/ 10 w 640"/>
                      <a:gd name="T99" fmla="*/ 22 h 552"/>
                      <a:gd name="T100" fmla="*/ 8 w 640"/>
                      <a:gd name="T101" fmla="*/ 22 h 552"/>
                      <a:gd name="T102" fmla="*/ 7 w 640"/>
                      <a:gd name="T103" fmla="*/ 21 h 552"/>
                      <a:gd name="T104" fmla="*/ 6 w 640"/>
                      <a:gd name="T105" fmla="*/ 21 h 552"/>
                      <a:gd name="T106" fmla="*/ 3 w 640"/>
                      <a:gd name="T107" fmla="*/ 21 h 552"/>
                      <a:gd name="T108" fmla="*/ 2 w 640"/>
                      <a:gd name="T109" fmla="*/ 20 h 552"/>
                      <a:gd name="T110" fmla="*/ 0 w 640"/>
                      <a:gd name="T111" fmla="*/ 19 h 552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w 640"/>
                      <a:gd name="T169" fmla="*/ 0 h 552"/>
                      <a:gd name="T170" fmla="*/ 640 w 640"/>
                      <a:gd name="T171" fmla="*/ 552 h 552"/>
                    </a:gdLst>
                    <a:ahLst/>
                    <a:cxnLst>
                      <a:cxn ang="T112">
                        <a:pos x="T0" y="T1"/>
                      </a:cxn>
                      <a:cxn ang="T113">
                        <a:pos x="T2" y="T3"/>
                      </a:cxn>
                      <a:cxn ang="T114">
                        <a:pos x="T4" y="T5"/>
                      </a:cxn>
                      <a:cxn ang="T115">
                        <a:pos x="T6" y="T7"/>
                      </a:cxn>
                      <a:cxn ang="T116">
                        <a:pos x="T8" y="T9"/>
                      </a:cxn>
                      <a:cxn ang="T117">
                        <a:pos x="T10" y="T11"/>
                      </a:cxn>
                      <a:cxn ang="T118">
                        <a:pos x="T12" y="T13"/>
                      </a:cxn>
                      <a:cxn ang="T119">
                        <a:pos x="T14" y="T15"/>
                      </a:cxn>
                      <a:cxn ang="T120">
                        <a:pos x="T16" y="T17"/>
                      </a:cxn>
                      <a:cxn ang="T121">
                        <a:pos x="T18" y="T19"/>
                      </a:cxn>
                      <a:cxn ang="T122">
                        <a:pos x="T20" y="T21"/>
                      </a:cxn>
                      <a:cxn ang="T123">
                        <a:pos x="T22" y="T23"/>
                      </a:cxn>
                      <a:cxn ang="T124">
                        <a:pos x="T24" y="T25"/>
                      </a:cxn>
                      <a:cxn ang="T125">
                        <a:pos x="T26" y="T27"/>
                      </a:cxn>
                      <a:cxn ang="T126">
                        <a:pos x="T28" y="T29"/>
                      </a:cxn>
                      <a:cxn ang="T127">
                        <a:pos x="T30" y="T31"/>
                      </a:cxn>
                      <a:cxn ang="T128">
                        <a:pos x="T32" y="T33"/>
                      </a:cxn>
                      <a:cxn ang="T129">
                        <a:pos x="T34" y="T35"/>
                      </a:cxn>
                      <a:cxn ang="T130">
                        <a:pos x="T36" y="T37"/>
                      </a:cxn>
                      <a:cxn ang="T131">
                        <a:pos x="T38" y="T39"/>
                      </a:cxn>
                      <a:cxn ang="T132">
                        <a:pos x="T40" y="T41"/>
                      </a:cxn>
                      <a:cxn ang="T133">
                        <a:pos x="T42" y="T43"/>
                      </a:cxn>
                      <a:cxn ang="T134">
                        <a:pos x="T44" y="T45"/>
                      </a:cxn>
                      <a:cxn ang="T135">
                        <a:pos x="T46" y="T47"/>
                      </a:cxn>
                      <a:cxn ang="T136">
                        <a:pos x="T48" y="T49"/>
                      </a:cxn>
                      <a:cxn ang="T137">
                        <a:pos x="T50" y="T51"/>
                      </a:cxn>
                      <a:cxn ang="T138">
                        <a:pos x="T52" y="T53"/>
                      </a:cxn>
                      <a:cxn ang="T139">
                        <a:pos x="T54" y="T55"/>
                      </a:cxn>
                      <a:cxn ang="T140">
                        <a:pos x="T56" y="T57"/>
                      </a:cxn>
                      <a:cxn ang="T141">
                        <a:pos x="T58" y="T59"/>
                      </a:cxn>
                      <a:cxn ang="T142">
                        <a:pos x="T60" y="T61"/>
                      </a:cxn>
                      <a:cxn ang="T143">
                        <a:pos x="T62" y="T63"/>
                      </a:cxn>
                      <a:cxn ang="T144">
                        <a:pos x="T64" y="T65"/>
                      </a:cxn>
                      <a:cxn ang="T145">
                        <a:pos x="T66" y="T67"/>
                      </a:cxn>
                      <a:cxn ang="T146">
                        <a:pos x="T68" y="T69"/>
                      </a:cxn>
                      <a:cxn ang="T147">
                        <a:pos x="T70" y="T71"/>
                      </a:cxn>
                      <a:cxn ang="T148">
                        <a:pos x="T72" y="T73"/>
                      </a:cxn>
                      <a:cxn ang="T149">
                        <a:pos x="T74" y="T75"/>
                      </a:cxn>
                      <a:cxn ang="T150">
                        <a:pos x="T76" y="T77"/>
                      </a:cxn>
                      <a:cxn ang="T151">
                        <a:pos x="T78" y="T79"/>
                      </a:cxn>
                      <a:cxn ang="T152">
                        <a:pos x="T80" y="T81"/>
                      </a:cxn>
                      <a:cxn ang="T153">
                        <a:pos x="T82" y="T83"/>
                      </a:cxn>
                      <a:cxn ang="T154">
                        <a:pos x="T84" y="T85"/>
                      </a:cxn>
                      <a:cxn ang="T155">
                        <a:pos x="T86" y="T87"/>
                      </a:cxn>
                      <a:cxn ang="T156">
                        <a:pos x="T88" y="T89"/>
                      </a:cxn>
                      <a:cxn ang="T157">
                        <a:pos x="T90" y="T91"/>
                      </a:cxn>
                      <a:cxn ang="T158">
                        <a:pos x="T92" y="T93"/>
                      </a:cxn>
                      <a:cxn ang="T159">
                        <a:pos x="T94" y="T95"/>
                      </a:cxn>
                      <a:cxn ang="T160">
                        <a:pos x="T96" y="T97"/>
                      </a:cxn>
                      <a:cxn ang="T161">
                        <a:pos x="T98" y="T99"/>
                      </a:cxn>
                      <a:cxn ang="T162">
                        <a:pos x="T100" y="T101"/>
                      </a:cxn>
                      <a:cxn ang="T163">
                        <a:pos x="T102" y="T103"/>
                      </a:cxn>
                      <a:cxn ang="T164">
                        <a:pos x="T104" y="T105"/>
                      </a:cxn>
                      <a:cxn ang="T165">
                        <a:pos x="T106" y="T107"/>
                      </a:cxn>
                      <a:cxn ang="T166">
                        <a:pos x="T108" y="T109"/>
                      </a:cxn>
                      <a:cxn ang="T167">
                        <a:pos x="T110" y="T111"/>
                      </a:cxn>
                    </a:cxnLst>
                    <a:rect l="T168" t="T169" r="T170" b="T171"/>
                    <a:pathLst>
                      <a:path w="640" h="552">
                        <a:moveTo>
                          <a:pt x="0" y="468"/>
                        </a:moveTo>
                        <a:lnTo>
                          <a:pt x="0" y="430"/>
                        </a:lnTo>
                        <a:lnTo>
                          <a:pt x="0" y="376"/>
                        </a:lnTo>
                        <a:lnTo>
                          <a:pt x="0" y="320"/>
                        </a:lnTo>
                        <a:lnTo>
                          <a:pt x="0" y="266"/>
                        </a:lnTo>
                        <a:lnTo>
                          <a:pt x="60" y="266"/>
                        </a:lnTo>
                        <a:lnTo>
                          <a:pt x="119" y="266"/>
                        </a:lnTo>
                        <a:lnTo>
                          <a:pt x="110" y="264"/>
                        </a:lnTo>
                        <a:lnTo>
                          <a:pt x="107" y="260"/>
                        </a:lnTo>
                        <a:lnTo>
                          <a:pt x="105" y="256"/>
                        </a:lnTo>
                        <a:lnTo>
                          <a:pt x="105" y="241"/>
                        </a:lnTo>
                        <a:lnTo>
                          <a:pt x="108" y="232"/>
                        </a:lnTo>
                        <a:lnTo>
                          <a:pt x="109" y="218"/>
                        </a:lnTo>
                        <a:lnTo>
                          <a:pt x="108" y="204"/>
                        </a:lnTo>
                        <a:lnTo>
                          <a:pt x="110" y="191"/>
                        </a:lnTo>
                        <a:lnTo>
                          <a:pt x="110" y="179"/>
                        </a:lnTo>
                        <a:lnTo>
                          <a:pt x="113" y="173"/>
                        </a:lnTo>
                        <a:lnTo>
                          <a:pt x="113" y="168"/>
                        </a:lnTo>
                        <a:lnTo>
                          <a:pt x="112" y="158"/>
                        </a:lnTo>
                        <a:lnTo>
                          <a:pt x="113" y="156"/>
                        </a:lnTo>
                        <a:lnTo>
                          <a:pt x="114" y="155"/>
                        </a:lnTo>
                        <a:lnTo>
                          <a:pt x="114" y="151"/>
                        </a:lnTo>
                        <a:lnTo>
                          <a:pt x="110" y="147"/>
                        </a:lnTo>
                        <a:lnTo>
                          <a:pt x="120" y="145"/>
                        </a:lnTo>
                        <a:lnTo>
                          <a:pt x="124" y="145"/>
                        </a:lnTo>
                        <a:lnTo>
                          <a:pt x="126" y="146"/>
                        </a:lnTo>
                        <a:lnTo>
                          <a:pt x="132" y="156"/>
                        </a:lnTo>
                        <a:lnTo>
                          <a:pt x="132" y="168"/>
                        </a:lnTo>
                        <a:lnTo>
                          <a:pt x="134" y="173"/>
                        </a:lnTo>
                        <a:lnTo>
                          <a:pt x="137" y="173"/>
                        </a:lnTo>
                        <a:lnTo>
                          <a:pt x="151" y="167"/>
                        </a:lnTo>
                        <a:lnTo>
                          <a:pt x="156" y="166"/>
                        </a:lnTo>
                        <a:lnTo>
                          <a:pt x="162" y="166"/>
                        </a:lnTo>
                        <a:lnTo>
                          <a:pt x="173" y="161"/>
                        </a:lnTo>
                        <a:lnTo>
                          <a:pt x="179" y="169"/>
                        </a:lnTo>
                        <a:lnTo>
                          <a:pt x="183" y="178"/>
                        </a:lnTo>
                        <a:lnTo>
                          <a:pt x="188" y="184"/>
                        </a:lnTo>
                        <a:lnTo>
                          <a:pt x="201" y="190"/>
                        </a:lnTo>
                        <a:lnTo>
                          <a:pt x="213" y="198"/>
                        </a:lnTo>
                        <a:lnTo>
                          <a:pt x="231" y="205"/>
                        </a:lnTo>
                        <a:lnTo>
                          <a:pt x="243" y="206"/>
                        </a:lnTo>
                        <a:lnTo>
                          <a:pt x="252" y="204"/>
                        </a:lnTo>
                        <a:lnTo>
                          <a:pt x="264" y="199"/>
                        </a:lnTo>
                        <a:lnTo>
                          <a:pt x="274" y="196"/>
                        </a:lnTo>
                        <a:lnTo>
                          <a:pt x="279" y="198"/>
                        </a:lnTo>
                        <a:lnTo>
                          <a:pt x="298" y="216"/>
                        </a:lnTo>
                        <a:lnTo>
                          <a:pt x="312" y="222"/>
                        </a:lnTo>
                        <a:lnTo>
                          <a:pt x="323" y="226"/>
                        </a:lnTo>
                        <a:lnTo>
                          <a:pt x="334" y="227"/>
                        </a:lnTo>
                        <a:lnTo>
                          <a:pt x="341" y="233"/>
                        </a:lnTo>
                        <a:lnTo>
                          <a:pt x="346" y="245"/>
                        </a:lnTo>
                        <a:lnTo>
                          <a:pt x="350" y="252"/>
                        </a:lnTo>
                        <a:lnTo>
                          <a:pt x="363" y="264"/>
                        </a:lnTo>
                        <a:lnTo>
                          <a:pt x="377" y="272"/>
                        </a:lnTo>
                        <a:lnTo>
                          <a:pt x="387" y="276"/>
                        </a:lnTo>
                        <a:lnTo>
                          <a:pt x="397" y="277"/>
                        </a:lnTo>
                        <a:lnTo>
                          <a:pt x="400" y="277"/>
                        </a:lnTo>
                        <a:lnTo>
                          <a:pt x="406" y="275"/>
                        </a:lnTo>
                        <a:lnTo>
                          <a:pt x="410" y="274"/>
                        </a:lnTo>
                        <a:lnTo>
                          <a:pt x="411" y="275"/>
                        </a:lnTo>
                        <a:lnTo>
                          <a:pt x="416" y="282"/>
                        </a:lnTo>
                        <a:lnTo>
                          <a:pt x="420" y="283"/>
                        </a:lnTo>
                        <a:lnTo>
                          <a:pt x="424" y="283"/>
                        </a:lnTo>
                        <a:lnTo>
                          <a:pt x="426" y="281"/>
                        </a:lnTo>
                        <a:lnTo>
                          <a:pt x="426" y="274"/>
                        </a:lnTo>
                        <a:lnTo>
                          <a:pt x="425" y="266"/>
                        </a:lnTo>
                        <a:lnTo>
                          <a:pt x="424" y="231"/>
                        </a:lnTo>
                        <a:lnTo>
                          <a:pt x="421" y="223"/>
                        </a:lnTo>
                        <a:lnTo>
                          <a:pt x="415" y="222"/>
                        </a:lnTo>
                        <a:lnTo>
                          <a:pt x="406" y="227"/>
                        </a:lnTo>
                        <a:lnTo>
                          <a:pt x="395" y="225"/>
                        </a:lnTo>
                        <a:lnTo>
                          <a:pt x="383" y="225"/>
                        </a:lnTo>
                        <a:lnTo>
                          <a:pt x="376" y="220"/>
                        </a:lnTo>
                        <a:lnTo>
                          <a:pt x="366" y="207"/>
                        </a:lnTo>
                        <a:lnTo>
                          <a:pt x="360" y="201"/>
                        </a:lnTo>
                        <a:lnTo>
                          <a:pt x="358" y="199"/>
                        </a:lnTo>
                        <a:lnTo>
                          <a:pt x="357" y="189"/>
                        </a:lnTo>
                        <a:lnTo>
                          <a:pt x="360" y="182"/>
                        </a:lnTo>
                        <a:lnTo>
                          <a:pt x="362" y="170"/>
                        </a:lnTo>
                        <a:lnTo>
                          <a:pt x="377" y="131"/>
                        </a:lnTo>
                        <a:lnTo>
                          <a:pt x="378" y="124"/>
                        </a:lnTo>
                        <a:lnTo>
                          <a:pt x="379" y="99"/>
                        </a:lnTo>
                        <a:lnTo>
                          <a:pt x="377" y="85"/>
                        </a:lnTo>
                        <a:lnTo>
                          <a:pt x="370" y="66"/>
                        </a:lnTo>
                        <a:lnTo>
                          <a:pt x="370" y="56"/>
                        </a:lnTo>
                        <a:lnTo>
                          <a:pt x="372" y="53"/>
                        </a:lnTo>
                        <a:lnTo>
                          <a:pt x="374" y="44"/>
                        </a:lnTo>
                        <a:lnTo>
                          <a:pt x="379" y="37"/>
                        </a:lnTo>
                        <a:lnTo>
                          <a:pt x="387" y="23"/>
                        </a:lnTo>
                        <a:lnTo>
                          <a:pt x="389" y="21"/>
                        </a:lnTo>
                        <a:lnTo>
                          <a:pt x="394" y="17"/>
                        </a:lnTo>
                        <a:lnTo>
                          <a:pt x="397" y="17"/>
                        </a:lnTo>
                        <a:lnTo>
                          <a:pt x="406" y="13"/>
                        </a:lnTo>
                        <a:lnTo>
                          <a:pt x="468" y="0"/>
                        </a:lnTo>
                        <a:lnTo>
                          <a:pt x="471" y="6"/>
                        </a:lnTo>
                        <a:lnTo>
                          <a:pt x="470" y="13"/>
                        </a:lnTo>
                        <a:lnTo>
                          <a:pt x="471" y="22"/>
                        </a:lnTo>
                        <a:lnTo>
                          <a:pt x="475" y="23"/>
                        </a:lnTo>
                        <a:lnTo>
                          <a:pt x="483" y="24"/>
                        </a:lnTo>
                        <a:lnTo>
                          <a:pt x="494" y="33"/>
                        </a:lnTo>
                        <a:lnTo>
                          <a:pt x="502" y="22"/>
                        </a:lnTo>
                        <a:lnTo>
                          <a:pt x="508" y="21"/>
                        </a:lnTo>
                        <a:lnTo>
                          <a:pt x="516" y="23"/>
                        </a:lnTo>
                        <a:lnTo>
                          <a:pt x="526" y="32"/>
                        </a:lnTo>
                        <a:lnTo>
                          <a:pt x="530" y="39"/>
                        </a:lnTo>
                        <a:lnTo>
                          <a:pt x="538" y="43"/>
                        </a:lnTo>
                        <a:lnTo>
                          <a:pt x="546" y="45"/>
                        </a:lnTo>
                        <a:lnTo>
                          <a:pt x="575" y="57"/>
                        </a:lnTo>
                        <a:lnTo>
                          <a:pt x="586" y="61"/>
                        </a:lnTo>
                        <a:lnTo>
                          <a:pt x="597" y="61"/>
                        </a:lnTo>
                        <a:lnTo>
                          <a:pt x="599" y="64"/>
                        </a:lnTo>
                        <a:lnTo>
                          <a:pt x="603" y="67"/>
                        </a:lnTo>
                        <a:lnTo>
                          <a:pt x="602" y="70"/>
                        </a:lnTo>
                        <a:lnTo>
                          <a:pt x="602" y="75"/>
                        </a:lnTo>
                        <a:lnTo>
                          <a:pt x="603" y="76"/>
                        </a:lnTo>
                        <a:lnTo>
                          <a:pt x="605" y="82"/>
                        </a:lnTo>
                        <a:lnTo>
                          <a:pt x="614" y="82"/>
                        </a:lnTo>
                        <a:lnTo>
                          <a:pt x="621" y="91"/>
                        </a:lnTo>
                        <a:lnTo>
                          <a:pt x="623" y="96"/>
                        </a:lnTo>
                        <a:lnTo>
                          <a:pt x="626" y="107"/>
                        </a:lnTo>
                        <a:lnTo>
                          <a:pt x="632" y="112"/>
                        </a:lnTo>
                        <a:lnTo>
                          <a:pt x="635" y="130"/>
                        </a:lnTo>
                        <a:lnTo>
                          <a:pt x="639" y="132"/>
                        </a:lnTo>
                        <a:lnTo>
                          <a:pt x="640" y="139"/>
                        </a:lnTo>
                        <a:lnTo>
                          <a:pt x="640" y="142"/>
                        </a:lnTo>
                        <a:lnTo>
                          <a:pt x="631" y="147"/>
                        </a:lnTo>
                        <a:lnTo>
                          <a:pt x="629" y="148"/>
                        </a:lnTo>
                        <a:lnTo>
                          <a:pt x="625" y="151"/>
                        </a:lnTo>
                        <a:lnTo>
                          <a:pt x="624" y="161"/>
                        </a:lnTo>
                        <a:lnTo>
                          <a:pt x="625" y="169"/>
                        </a:lnTo>
                        <a:lnTo>
                          <a:pt x="619" y="186"/>
                        </a:lnTo>
                        <a:lnTo>
                          <a:pt x="620" y="194"/>
                        </a:lnTo>
                        <a:lnTo>
                          <a:pt x="621" y="209"/>
                        </a:lnTo>
                        <a:lnTo>
                          <a:pt x="619" y="223"/>
                        </a:lnTo>
                        <a:lnTo>
                          <a:pt x="620" y="226"/>
                        </a:lnTo>
                        <a:lnTo>
                          <a:pt x="624" y="231"/>
                        </a:lnTo>
                        <a:lnTo>
                          <a:pt x="629" y="233"/>
                        </a:lnTo>
                        <a:lnTo>
                          <a:pt x="630" y="239"/>
                        </a:lnTo>
                        <a:lnTo>
                          <a:pt x="627" y="242"/>
                        </a:lnTo>
                        <a:lnTo>
                          <a:pt x="619" y="243"/>
                        </a:lnTo>
                        <a:lnTo>
                          <a:pt x="613" y="248"/>
                        </a:lnTo>
                        <a:lnTo>
                          <a:pt x="608" y="249"/>
                        </a:lnTo>
                        <a:lnTo>
                          <a:pt x="607" y="250"/>
                        </a:lnTo>
                        <a:lnTo>
                          <a:pt x="603" y="265"/>
                        </a:lnTo>
                        <a:lnTo>
                          <a:pt x="603" y="280"/>
                        </a:lnTo>
                        <a:lnTo>
                          <a:pt x="598" y="295"/>
                        </a:lnTo>
                        <a:lnTo>
                          <a:pt x="591" y="302"/>
                        </a:lnTo>
                        <a:lnTo>
                          <a:pt x="589" y="306"/>
                        </a:lnTo>
                        <a:lnTo>
                          <a:pt x="592" y="314"/>
                        </a:lnTo>
                        <a:lnTo>
                          <a:pt x="597" y="315"/>
                        </a:lnTo>
                        <a:lnTo>
                          <a:pt x="600" y="323"/>
                        </a:lnTo>
                        <a:lnTo>
                          <a:pt x="608" y="322"/>
                        </a:lnTo>
                        <a:lnTo>
                          <a:pt x="612" y="324"/>
                        </a:lnTo>
                        <a:lnTo>
                          <a:pt x="612" y="325"/>
                        </a:lnTo>
                        <a:lnTo>
                          <a:pt x="603" y="326"/>
                        </a:lnTo>
                        <a:lnTo>
                          <a:pt x="438" y="383"/>
                        </a:lnTo>
                        <a:lnTo>
                          <a:pt x="446" y="399"/>
                        </a:lnTo>
                        <a:lnTo>
                          <a:pt x="448" y="411"/>
                        </a:lnTo>
                        <a:lnTo>
                          <a:pt x="453" y="414"/>
                        </a:lnTo>
                        <a:lnTo>
                          <a:pt x="452" y="416"/>
                        </a:lnTo>
                        <a:lnTo>
                          <a:pt x="444" y="415"/>
                        </a:lnTo>
                        <a:lnTo>
                          <a:pt x="436" y="417"/>
                        </a:lnTo>
                        <a:lnTo>
                          <a:pt x="430" y="416"/>
                        </a:lnTo>
                        <a:lnTo>
                          <a:pt x="424" y="414"/>
                        </a:lnTo>
                        <a:lnTo>
                          <a:pt x="420" y="414"/>
                        </a:lnTo>
                        <a:lnTo>
                          <a:pt x="408" y="420"/>
                        </a:lnTo>
                        <a:lnTo>
                          <a:pt x="392" y="421"/>
                        </a:lnTo>
                        <a:lnTo>
                          <a:pt x="385" y="425"/>
                        </a:lnTo>
                        <a:lnTo>
                          <a:pt x="378" y="432"/>
                        </a:lnTo>
                        <a:lnTo>
                          <a:pt x="372" y="432"/>
                        </a:lnTo>
                        <a:lnTo>
                          <a:pt x="366" y="435"/>
                        </a:lnTo>
                        <a:lnTo>
                          <a:pt x="365" y="442"/>
                        </a:lnTo>
                        <a:lnTo>
                          <a:pt x="365" y="451"/>
                        </a:lnTo>
                        <a:lnTo>
                          <a:pt x="366" y="455"/>
                        </a:lnTo>
                        <a:lnTo>
                          <a:pt x="365" y="459"/>
                        </a:lnTo>
                        <a:lnTo>
                          <a:pt x="363" y="464"/>
                        </a:lnTo>
                        <a:lnTo>
                          <a:pt x="362" y="468"/>
                        </a:lnTo>
                        <a:lnTo>
                          <a:pt x="354" y="468"/>
                        </a:lnTo>
                        <a:lnTo>
                          <a:pt x="342" y="467"/>
                        </a:lnTo>
                        <a:lnTo>
                          <a:pt x="336" y="469"/>
                        </a:lnTo>
                        <a:lnTo>
                          <a:pt x="334" y="473"/>
                        </a:lnTo>
                        <a:lnTo>
                          <a:pt x="331" y="473"/>
                        </a:lnTo>
                        <a:lnTo>
                          <a:pt x="324" y="482"/>
                        </a:lnTo>
                        <a:lnTo>
                          <a:pt x="315" y="481"/>
                        </a:lnTo>
                        <a:lnTo>
                          <a:pt x="312" y="482"/>
                        </a:lnTo>
                        <a:lnTo>
                          <a:pt x="309" y="485"/>
                        </a:lnTo>
                        <a:lnTo>
                          <a:pt x="307" y="490"/>
                        </a:lnTo>
                        <a:lnTo>
                          <a:pt x="303" y="491"/>
                        </a:lnTo>
                        <a:lnTo>
                          <a:pt x="297" y="503"/>
                        </a:lnTo>
                        <a:lnTo>
                          <a:pt x="287" y="513"/>
                        </a:lnTo>
                        <a:lnTo>
                          <a:pt x="285" y="518"/>
                        </a:lnTo>
                        <a:lnTo>
                          <a:pt x="285" y="524"/>
                        </a:lnTo>
                        <a:lnTo>
                          <a:pt x="280" y="529"/>
                        </a:lnTo>
                        <a:lnTo>
                          <a:pt x="276" y="532"/>
                        </a:lnTo>
                        <a:lnTo>
                          <a:pt x="270" y="541"/>
                        </a:lnTo>
                        <a:lnTo>
                          <a:pt x="264" y="549"/>
                        </a:lnTo>
                        <a:lnTo>
                          <a:pt x="259" y="549"/>
                        </a:lnTo>
                        <a:lnTo>
                          <a:pt x="252" y="552"/>
                        </a:lnTo>
                        <a:lnTo>
                          <a:pt x="247" y="551"/>
                        </a:lnTo>
                        <a:lnTo>
                          <a:pt x="245" y="546"/>
                        </a:lnTo>
                        <a:lnTo>
                          <a:pt x="241" y="544"/>
                        </a:lnTo>
                        <a:lnTo>
                          <a:pt x="233" y="545"/>
                        </a:lnTo>
                        <a:lnTo>
                          <a:pt x="228" y="544"/>
                        </a:lnTo>
                        <a:lnTo>
                          <a:pt x="211" y="546"/>
                        </a:lnTo>
                        <a:lnTo>
                          <a:pt x="198" y="541"/>
                        </a:lnTo>
                        <a:lnTo>
                          <a:pt x="179" y="543"/>
                        </a:lnTo>
                        <a:lnTo>
                          <a:pt x="174" y="543"/>
                        </a:lnTo>
                        <a:lnTo>
                          <a:pt x="172" y="539"/>
                        </a:lnTo>
                        <a:lnTo>
                          <a:pt x="164" y="537"/>
                        </a:lnTo>
                        <a:lnTo>
                          <a:pt x="157" y="524"/>
                        </a:lnTo>
                        <a:lnTo>
                          <a:pt x="153" y="521"/>
                        </a:lnTo>
                        <a:lnTo>
                          <a:pt x="139" y="518"/>
                        </a:lnTo>
                        <a:lnTo>
                          <a:pt x="118" y="518"/>
                        </a:lnTo>
                        <a:lnTo>
                          <a:pt x="115" y="514"/>
                        </a:lnTo>
                        <a:lnTo>
                          <a:pt x="72" y="525"/>
                        </a:lnTo>
                        <a:lnTo>
                          <a:pt x="65" y="527"/>
                        </a:lnTo>
                        <a:lnTo>
                          <a:pt x="57" y="522"/>
                        </a:lnTo>
                        <a:lnTo>
                          <a:pt x="53" y="516"/>
                        </a:lnTo>
                        <a:lnTo>
                          <a:pt x="44" y="512"/>
                        </a:lnTo>
                        <a:lnTo>
                          <a:pt x="40" y="507"/>
                        </a:lnTo>
                        <a:lnTo>
                          <a:pt x="30" y="498"/>
                        </a:lnTo>
                        <a:lnTo>
                          <a:pt x="24" y="491"/>
                        </a:lnTo>
                        <a:lnTo>
                          <a:pt x="11" y="482"/>
                        </a:lnTo>
                        <a:lnTo>
                          <a:pt x="7" y="475"/>
                        </a:lnTo>
                        <a:lnTo>
                          <a:pt x="0" y="469"/>
                        </a:lnTo>
                        <a:lnTo>
                          <a:pt x="0" y="468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82" name="Freeform 34"/>
                  <p:cNvSpPr>
                    <a:spLocks/>
                  </p:cNvSpPr>
                  <p:nvPr/>
                </p:nvSpPr>
                <p:spPr bwMode="gray">
                  <a:xfrm>
                    <a:off x="2792" y="2659"/>
                    <a:ext cx="85" cy="81"/>
                  </a:xfrm>
                  <a:custGeom>
                    <a:avLst/>
                    <a:gdLst>
                      <a:gd name="T0" fmla="*/ 8 w 428"/>
                      <a:gd name="T1" fmla="*/ 2 h 405"/>
                      <a:gd name="T2" fmla="*/ 8 w 428"/>
                      <a:gd name="T3" fmla="*/ 3 h 405"/>
                      <a:gd name="T4" fmla="*/ 8 w 428"/>
                      <a:gd name="T5" fmla="*/ 3 h 405"/>
                      <a:gd name="T6" fmla="*/ 7 w 428"/>
                      <a:gd name="T7" fmla="*/ 3 h 405"/>
                      <a:gd name="T8" fmla="*/ 7 w 428"/>
                      <a:gd name="T9" fmla="*/ 3 h 405"/>
                      <a:gd name="T10" fmla="*/ 7 w 428"/>
                      <a:gd name="T11" fmla="*/ 3 h 405"/>
                      <a:gd name="T12" fmla="*/ 7 w 428"/>
                      <a:gd name="T13" fmla="*/ 3 h 405"/>
                      <a:gd name="T14" fmla="*/ 6 w 428"/>
                      <a:gd name="T15" fmla="*/ 3 h 405"/>
                      <a:gd name="T16" fmla="*/ 6 w 428"/>
                      <a:gd name="T17" fmla="*/ 3 h 405"/>
                      <a:gd name="T18" fmla="*/ 6 w 428"/>
                      <a:gd name="T19" fmla="*/ 3 h 405"/>
                      <a:gd name="T20" fmla="*/ 6 w 428"/>
                      <a:gd name="T21" fmla="*/ 3 h 405"/>
                      <a:gd name="T22" fmla="*/ 6 w 428"/>
                      <a:gd name="T23" fmla="*/ 4 h 405"/>
                      <a:gd name="T24" fmla="*/ 5 w 428"/>
                      <a:gd name="T25" fmla="*/ 4 h 405"/>
                      <a:gd name="T26" fmla="*/ 5 w 428"/>
                      <a:gd name="T27" fmla="*/ 4 h 405"/>
                      <a:gd name="T28" fmla="*/ 5 w 428"/>
                      <a:gd name="T29" fmla="*/ 5 h 405"/>
                      <a:gd name="T30" fmla="*/ 4 w 428"/>
                      <a:gd name="T31" fmla="*/ 5 h 405"/>
                      <a:gd name="T32" fmla="*/ 4 w 428"/>
                      <a:gd name="T33" fmla="*/ 5 h 405"/>
                      <a:gd name="T34" fmla="*/ 3 w 428"/>
                      <a:gd name="T35" fmla="*/ 6 h 405"/>
                      <a:gd name="T36" fmla="*/ 3 w 428"/>
                      <a:gd name="T37" fmla="*/ 5 h 405"/>
                      <a:gd name="T38" fmla="*/ 2 w 428"/>
                      <a:gd name="T39" fmla="*/ 5 h 405"/>
                      <a:gd name="T40" fmla="*/ 2 w 428"/>
                      <a:gd name="T41" fmla="*/ 5 h 405"/>
                      <a:gd name="T42" fmla="*/ 0 w 428"/>
                      <a:gd name="T43" fmla="*/ 5 h 405"/>
                      <a:gd name="T44" fmla="*/ 0 w 428"/>
                      <a:gd name="T45" fmla="*/ 5 h 405"/>
                      <a:gd name="T46" fmla="*/ 0 w 428"/>
                      <a:gd name="T47" fmla="*/ 6 h 405"/>
                      <a:gd name="T48" fmla="*/ 1 w 428"/>
                      <a:gd name="T49" fmla="*/ 7 h 405"/>
                      <a:gd name="T50" fmla="*/ 1 w 428"/>
                      <a:gd name="T51" fmla="*/ 8 h 405"/>
                      <a:gd name="T52" fmla="*/ 3 w 428"/>
                      <a:gd name="T53" fmla="*/ 10 h 405"/>
                      <a:gd name="T54" fmla="*/ 4 w 428"/>
                      <a:gd name="T55" fmla="*/ 10 h 405"/>
                      <a:gd name="T56" fmla="*/ 5 w 428"/>
                      <a:gd name="T57" fmla="*/ 11 h 405"/>
                      <a:gd name="T58" fmla="*/ 6 w 428"/>
                      <a:gd name="T59" fmla="*/ 12 h 405"/>
                      <a:gd name="T60" fmla="*/ 6 w 428"/>
                      <a:gd name="T61" fmla="*/ 14 h 405"/>
                      <a:gd name="T62" fmla="*/ 7 w 428"/>
                      <a:gd name="T63" fmla="*/ 14 h 405"/>
                      <a:gd name="T64" fmla="*/ 8 w 428"/>
                      <a:gd name="T65" fmla="*/ 14 h 405"/>
                      <a:gd name="T66" fmla="*/ 9 w 428"/>
                      <a:gd name="T67" fmla="*/ 15 h 405"/>
                      <a:gd name="T68" fmla="*/ 9 w 428"/>
                      <a:gd name="T69" fmla="*/ 15 h 405"/>
                      <a:gd name="T70" fmla="*/ 11 w 428"/>
                      <a:gd name="T71" fmla="*/ 15 h 405"/>
                      <a:gd name="T72" fmla="*/ 12 w 428"/>
                      <a:gd name="T73" fmla="*/ 15 h 405"/>
                      <a:gd name="T74" fmla="*/ 13 w 428"/>
                      <a:gd name="T75" fmla="*/ 16 h 405"/>
                      <a:gd name="T76" fmla="*/ 14 w 428"/>
                      <a:gd name="T77" fmla="*/ 16 h 405"/>
                      <a:gd name="T78" fmla="*/ 14 w 428"/>
                      <a:gd name="T79" fmla="*/ 16 h 405"/>
                      <a:gd name="T80" fmla="*/ 14 w 428"/>
                      <a:gd name="T81" fmla="*/ 15 h 405"/>
                      <a:gd name="T82" fmla="*/ 15 w 428"/>
                      <a:gd name="T83" fmla="*/ 14 h 405"/>
                      <a:gd name="T84" fmla="*/ 16 w 428"/>
                      <a:gd name="T85" fmla="*/ 13 h 405"/>
                      <a:gd name="T86" fmla="*/ 17 w 428"/>
                      <a:gd name="T87" fmla="*/ 10 h 405"/>
                      <a:gd name="T88" fmla="*/ 16 w 428"/>
                      <a:gd name="T89" fmla="*/ 8 h 405"/>
                      <a:gd name="T90" fmla="*/ 17 w 428"/>
                      <a:gd name="T91" fmla="*/ 7 h 405"/>
                      <a:gd name="T92" fmla="*/ 17 w 428"/>
                      <a:gd name="T93" fmla="*/ 6 h 405"/>
                      <a:gd name="T94" fmla="*/ 17 w 428"/>
                      <a:gd name="T95" fmla="*/ 4 h 405"/>
                      <a:gd name="T96" fmla="*/ 16 w 428"/>
                      <a:gd name="T97" fmla="*/ 3 h 405"/>
                      <a:gd name="T98" fmla="*/ 16 w 428"/>
                      <a:gd name="T99" fmla="*/ 2 h 405"/>
                      <a:gd name="T100" fmla="*/ 14 w 428"/>
                      <a:gd name="T101" fmla="*/ 1 h 405"/>
                      <a:gd name="T102" fmla="*/ 13 w 428"/>
                      <a:gd name="T103" fmla="*/ 1 h 405"/>
                      <a:gd name="T104" fmla="*/ 11 w 428"/>
                      <a:gd name="T105" fmla="*/ 1 h 405"/>
                      <a:gd name="T106" fmla="*/ 11 w 428"/>
                      <a:gd name="T107" fmla="*/ 0 h 405"/>
                      <a:gd name="T108" fmla="*/ 10 w 428"/>
                      <a:gd name="T109" fmla="*/ 0 h 405"/>
                      <a:gd name="T110" fmla="*/ 10 w 428"/>
                      <a:gd name="T111" fmla="*/ 0 h 405"/>
                      <a:gd name="T112" fmla="*/ 9 w 428"/>
                      <a:gd name="T113" fmla="*/ 0 h 405"/>
                      <a:gd name="T114" fmla="*/ 8 w 428"/>
                      <a:gd name="T115" fmla="*/ 0 h 405"/>
                      <a:gd name="T116" fmla="*/ 8 w 428"/>
                      <a:gd name="T117" fmla="*/ 1 h 405"/>
                      <a:gd name="T118" fmla="*/ 8 w 428"/>
                      <a:gd name="T119" fmla="*/ 1 h 405"/>
                      <a:gd name="T120" fmla="*/ 8 w 428"/>
                      <a:gd name="T121" fmla="*/ 2 h 405"/>
                      <a:gd name="T122" fmla="*/ 8 w 428"/>
                      <a:gd name="T123" fmla="*/ 2 h 405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60000 65536"/>
                      <a:gd name="T184" fmla="*/ 0 60000 65536"/>
                      <a:gd name="T185" fmla="*/ 0 60000 65536"/>
                      <a:gd name="T186" fmla="*/ 0 w 428"/>
                      <a:gd name="T187" fmla="*/ 0 h 405"/>
                      <a:gd name="T188" fmla="*/ 428 w 428"/>
                      <a:gd name="T189" fmla="*/ 405 h 405"/>
                    </a:gdLst>
                    <a:ahLst/>
                    <a:cxnLst>
                      <a:cxn ang="T124">
                        <a:pos x="T0" y="T1"/>
                      </a:cxn>
                      <a:cxn ang="T125">
                        <a:pos x="T2" y="T3"/>
                      </a:cxn>
                      <a:cxn ang="T126">
                        <a:pos x="T4" y="T5"/>
                      </a:cxn>
                      <a:cxn ang="T127">
                        <a:pos x="T6" y="T7"/>
                      </a:cxn>
                      <a:cxn ang="T128">
                        <a:pos x="T8" y="T9"/>
                      </a:cxn>
                      <a:cxn ang="T129">
                        <a:pos x="T10" y="T11"/>
                      </a:cxn>
                      <a:cxn ang="T130">
                        <a:pos x="T12" y="T13"/>
                      </a:cxn>
                      <a:cxn ang="T131">
                        <a:pos x="T14" y="T15"/>
                      </a:cxn>
                      <a:cxn ang="T132">
                        <a:pos x="T16" y="T17"/>
                      </a:cxn>
                      <a:cxn ang="T133">
                        <a:pos x="T18" y="T19"/>
                      </a:cxn>
                      <a:cxn ang="T134">
                        <a:pos x="T20" y="T21"/>
                      </a:cxn>
                      <a:cxn ang="T135">
                        <a:pos x="T22" y="T23"/>
                      </a:cxn>
                      <a:cxn ang="T136">
                        <a:pos x="T24" y="T25"/>
                      </a:cxn>
                      <a:cxn ang="T137">
                        <a:pos x="T26" y="T27"/>
                      </a:cxn>
                      <a:cxn ang="T138">
                        <a:pos x="T28" y="T29"/>
                      </a:cxn>
                      <a:cxn ang="T139">
                        <a:pos x="T30" y="T31"/>
                      </a:cxn>
                      <a:cxn ang="T140">
                        <a:pos x="T32" y="T33"/>
                      </a:cxn>
                      <a:cxn ang="T141">
                        <a:pos x="T34" y="T35"/>
                      </a:cxn>
                      <a:cxn ang="T142">
                        <a:pos x="T36" y="T37"/>
                      </a:cxn>
                      <a:cxn ang="T143">
                        <a:pos x="T38" y="T39"/>
                      </a:cxn>
                      <a:cxn ang="T144">
                        <a:pos x="T40" y="T41"/>
                      </a:cxn>
                      <a:cxn ang="T145">
                        <a:pos x="T42" y="T43"/>
                      </a:cxn>
                      <a:cxn ang="T146">
                        <a:pos x="T44" y="T45"/>
                      </a:cxn>
                      <a:cxn ang="T147">
                        <a:pos x="T46" y="T47"/>
                      </a:cxn>
                      <a:cxn ang="T148">
                        <a:pos x="T48" y="T49"/>
                      </a:cxn>
                      <a:cxn ang="T149">
                        <a:pos x="T50" y="T51"/>
                      </a:cxn>
                      <a:cxn ang="T150">
                        <a:pos x="T52" y="T53"/>
                      </a:cxn>
                      <a:cxn ang="T151">
                        <a:pos x="T54" y="T55"/>
                      </a:cxn>
                      <a:cxn ang="T152">
                        <a:pos x="T56" y="T57"/>
                      </a:cxn>
                      <a:cxn ang="T153">
                        <a:pos x="T58" y="T59"/>
                      </a:cxn>
                      <a:cxn ang="T154">
                        <a:pos x="T60" y="T61"/>
                      </a:cxn>
                      <a:cxn ang="T155">
                        <a:pos x="T62" y="T63"/>
                      </a:cxn>
                      <a:cxn ang="T156">
                        <a:pos x="T64" y="T65"/>
                      </a:cxn>
                      <a:cxn ang="T157">
                        <a:pos x="T66" y="T67"/>
                      </a:cxn>
                      <a:cxn ang="T158">
                        <a:pos x="T68" y="T69"/>
                      </a:cxn>
                      <a:cxn ang="T159">
                        <a:pos x="T70" y="T71"/>
                      </a:cxn>
                      <a:cxn ang="T160">
                        <a:pos x="T72" y="T73"/>
                      </a:cxn>
                      <a:cxn ang="T161">
                        <a:pos x="T74" y="T75"/>
                      </a:cxn>
                      <a:cxn ang="T162">
                        <a:pos x="T76" y="T77"/>
                      </a:cxn>
                      <a:cxn ang="T163">
                        <a:pos x="T78" y="T79"/>
                      </a:cxn>
                      <a:cxn ang="T164">
                        <a:pos x="T80" y="T81"/>
                      </a:cxn>
                      <a:cxn ang="T165">
                        <a:pos x="T82" y="T83"/>
                      </a:cxn>
                      <a:cxn ang="T166">
                        <a:pos x="T84" y="T85"/>
                      </a:cxn>
                      <a:cxn ang="T167">
                        <a:pos x="T86" y="T87"/>
                      </a:cxn>
                      <a:cxn ang="T168">
                        <a:pos x="T88" y="T89"/>
                      </a:cxn>
                      <a:cxn ang="T169">
                        <a:pos x="T90" y="T91"/>
                      </a:cxn>
                      <a:cxn ang="T170">
                        <a:pos x="T92" y="T93"/>
                      </a:cxn>
                      <a:cxn ang="T171">
                        <a:pos x="T94" y="T95"/>
                      </a:cxn>
                      <a:cxn ang="T172">
                        <a:pos x="T96" y="T97"/>
                      </a:cxn>
                      <a:cxn ang="T173">
                        <a:pos x="T98" y="T99"/>
                      </a:cxn>
                      <a:cxn ang="T174">
                        <a:pos x="T100" y="T101"/>
                      </a:cxn>
                      <a:cxn ang="T175">
                        <a:pos x="T102" y="T103"/>
                      </a:cxn>
                      <a:cxn ang="T176">
                        <a:pos x="T104" y="T105"/>
                      </a:cxn>
                      <a:cxn ang="T177">
                        <a:pos x="T106" y="T107"/>
                      </a:cxn>
                      <a:cxn ang="T178">
                        <a:pos x="T108" y="T109"/>
                      </a:cxn>
                      <a:cxn ang="T179">
                        <a:pos x="T110" y="T111"/>
                      </a:cxn>
                      <a:cxn ang="T180">
                        <a:pos x="T112" y="T113"/>
                      </a:cxn>
                      <a:cxn ang="T181">
                        <a:pos x="T114" y="T115"/>
                      </a:cxn>
                      <a:cxn ang="T182">
                        <a:pos x="T116" y="T117"/>
                      </a:cxn>
                      <a:cxn ang="T183">
                        <a:pos x="T118" y="T119"/>
                      </a:cxn>
                      <a:cxn ang="T184">
                        <a:pos x="T120" y="T121"/>
                      </a:cxn>
                      <a:cxn ang="T185">
                        <a:pos x="T122" y="T123"/>
                      </a:cxn>
                    </a:cxnLst>
                    <a:rect l="T186" t="T187" r="T188" b="T189"/>
                    <a:pathLst>
                      <a:path w="428" h="405">
                        <a:moveTo>
                          <a:pt x="190" y="54"/>
                        </a:moveTo>
                        <a:lnTo>
                          <a:pt x="202" y="60"/>
                        </a:lnTo>
                        <a:lnTo>
                          <a:pt x="202" y="64"/>
                        </a:lnTo>
                        <a:lnTo>
                          <a:pt x="198" y="66"/>
                        </a:lnTo>
                        <a:lnTo>
                          <a:pt x="195" y="70"/>
                        </a:lnTo>
                        <a:lnTo>
                          <a:pt x="193" y="70"/>
                        </a:lnTo>
                        <a:lnTo>
                          <a:pt x="184" y="66"/>
                        </a:lnTo>
                        <a:lnTo>
                          <a:pt x="179" y="66"/>
                        </a:lnTo>
                        <a:lnTo>
                          <a:pt x="177" y="67"/>
                        </a:lnTo>
                        <a:lnTo>
                          <a:pt x="175" y="71"/>
                        </a:lnTo>
                        <a:lnTo>
                          <a:pt x="172" y="72"/>
                        </a:lnTo>
                        <a:lnTo>
                          <a:pt x="169" y="70"/>
                        </a:lnTo>
                        <a:lnTo>
                          <a:pt x="167" y="70"/>
                        </a:lnTo>
                        <a:lnTo>
                          <a:pt x="164" y="72"/>
                        </a:lnTo>
                        <a:lnTo>
                          <a:pt x="159" y="75"/>
                        </a:lnTo>
                        <a:lnTo>
                          <a:pt x="156" y="78"/>
                        </a:lnTo>
                        <a:lnTo>
                          <a:pt x="155" y="81"/>
                        </a:lnTo>
                        <a:lnTo>
                          <a:pt x="156" y="83"/>
                        </a:lnTo>
                        <a:lnTo>
                          <a:pt x="155" y="84"/>
                        </a:lnTo>
                        <a:lnTo>
                          <a:pt x="153" y="86"/>
                        </a:lnTo>
                        <a:lnTo>
                          <a:pt x="151" y="83"/>
                        </a:lnTo>
                        <a:lnTo>
                          <a:pt x="143" y="87"/>
                        </a:lnTo>
                        <a:lnTo>
                          <a:pt x="140" y="91"/>
                        </a:lnTo>
                        <a:lnTo>
                          <a:pt x="140" y="93"/>
                        </a:lnTo>
                        <a:lnTo>
                          <a:pt x="135" y="96"/>
                        </a:lnTo>
                        <a:lnTo>
                          <a:pt x="130" y="100"/>
                        </a:lnTo>
                        <a:lnTo>
                          <a:pt x="126" y="107"/>
                        </a:lnTo>
                        <a:lnTo>
                          <a:pt x="121" y="110"/>
                        </a:lnTo>
                        <a:lnTo>
                          <a:pt x="121" y="113"/>
                        </a:lnTo>
                        <a:lnTo>
                          <a:pt x="115" y="115"/>
                        </a:lnTo>
                        <a:lnTo>
                          <a:pt x="110" y="123"/>
                        </a:lnTo>
                        <a:lnTo>
                          <a:pt x="103" y="129"/>
                        </a:lnTo>
                        <a:lnTo>
                          <a:pt x="98" y="127"/>
                        </a:lnTo>
                        <a:lnTo>
                          <a:pt x="92" y="135"/>
                        </a:lnTo>
                        <a:lnTo>
                          <a:pt x="87" y="135"/>
                        </a:lnTo>
                        <a:lnTo>
                          <a:pt x="80" y="138"/>
                        </a:lnTo>
                        <a:lnTo>
                          <a:pt x="75" y="137"/>
                        </a:lnTo>
                        <a:lnTo>
                          <a:pt x="73" y="132"/>
                        </a:lnTo>
                        <a:lnTo>
                          <a:pt x="69" y="130"/>
                        </a:lnTo>
                        <a:lnTo>
                          <a:pt x="61" y="131"/>
                        </a:lnTo>
                        <a:lnTo>
                          <a:pt x="56" y="130"/>
                        </a:lnTo>
                        <a:lnTo>
                          <a:pt x="39" y="132"/>
                        </a:lnTo>
                        <a:lnTo>
                          <a:pt x="26" y="127"/>
                        </a:lnTo>
                        <a:lnTo>
                          <a:pt x="7" y="129"/>
                        </a:lnTo>
                        <a:lnTo>
                          <a:pt x="2" y="129"/>
                        </a:lnTo>
                        <a:lnTo>
                          <a:pt x="0" y="125"/>
                        </a:lnTo>
                        <a:lnTo>
                          <a:pt x="0" y="134"/>
                        </a:lnTo>
                        <a:lnTo>
                          <a:pt x="3" y="140"/>
                        </a:lnTo>
                        <a:lnTo>
                          <a:pt x="16" y="162"/>
                        </a:lnTo>
                        <a:lnTo>
                          <a:pt x="27" y="172"/>
                        </a:lnTo>
                        <a:lnTo>
                          <a:pt x="28" y="183"/>
                        </a:lnTo>
                        <a:lnTo>
                          <a:pt x="35" y="197"/>
                        </a:lnTo>
                        <a:lnTo>
                          <a:pt x="48" y="216"/>
                        </a:lnTo>
                        <a:lnTo>
                          <a:pt x="77" y="247"/>
                        </a:lnTo>
                        <a:lnTo>
                          <a:pt x="94" y="250"/>
                        </a:lnTo>
                        <a:lnTo>
                          <a:pt x="107" y="260"/>
                        </a:lnTo>
                        <a:lnTo>
                          <a:pt x="116" y="274"/>
                        </a:lnTo>
                        <a:lnTo>
                          <a:pt x="129" y="279"/>
                        </a:lnTo>
                        <a:lnTo>
                          <a:pt x="140" y="287"/>
                        </a:lnTo>
                        <a:lnTo>
                          <a:pt x="140" y="308"/>
                        </a:lnTo>
                        <a:lnTo>
                          <a:pt x="143" y="328"/>
                        </a:lnTo>
                        <a:lnTo>
                          <a:pt x="150" y="341"/>
                        </a:lnTo>
                        <a:lnTo>
                          <a:pt x="158" y="350"/>
                        </a:lnTo>
                        <a:lnTo>
                          <a:pt x="167" y="355"/>
                        </a:lnTo>
                        <a:lnTo>
                          <a:pt x="180" y="357"/>
                        </a:lnTo>
                        <a:lnTo>
                          <a:pt x="193" y="357"/>
                        </a:lnTo>
                        <a:lnTo>
                          <a:pt x="206" y="363"/>
                        </a:lnTo>
                        <a:lnTo>
                          <a:pt x="216" y="367"/>
                        </a:lnTo>
                        <a:lnTo>
                          <a:pt x="227" y="376"/>
                        </a:lnTo>
                        <a:lnTo>
                          <a:pt x="239" y="371"/>
                        </a:lnTo>
                        <a:lnTo>
                          <a:pt x="248" y="373"/>
                        </a:lnTo>
                        <a:lnTo>
                          <a:pt x="271" y="380"/>
                        </a:lnTo>
                        <a:lnTo>
                          <a:pt x="283" y="383"/>
                        </a:lnTo>
                        <a:lnTo>
                          <a:pt x="296" y="380"/>
                        </a:lnTo>
                        <a:lnTo>
                          <a:pt x="308" y="382"/>
                        </a:lnTo>
                        <a:lnTo>
                          <a:pt x="329" y="388"/>
                        </a:lnTo>
                        <a:lnTo>
                          <a:pt x="344" y="403"/>
                        </a:lnTo>
                        <a:lnTo>
                          <a:pt x="349" y="404"/>
                        </a:lnTo>
                        <a:lnTo>
                          <a:pt x="350" y="405"/>
                        </a:lnTo>
                        <a:lnTo>
                          <a:pt x="351" y="404"/>
                        </a:lnTo>
                        <a:lnTo>
                          <a:pt x="351" y="389"/>
                        </a:lnTo>
                        <a:lnTo>
                          <a:pt x="355" y="377"/>
                        </a:lnTo>
                        <a:lnTo>
                          <a:pt x="361" y="367"/>
                        </a:lnTo>
                        <a:lnTo>
                          <a:pt x="372" y="360"/>
                        </a:lnTo>
                        <a:lnTo>
                          <a:pt x="379" y="352"/>
                        </a:lnTo>
                        <a:lnTo>
                          <a:pt x="398" y="318"/>
                        </a:lnTo>
                        <a:lnTo>
                          <a:pt x="405" y="287"/>
                        </a:lnTo>
                        <a:lnTo>
                          <a:pt x="422" y="251"/>
                        </a:lnTo>
                        <a:lnTo>
                          <a:pt x="419" y="224"/>
                        </a:lnTo>
                        <a:lnTo>
                          <a:pt x="414" y="211"/>
                        </a:lnTo>
                        <a:lnTo>
                          <a:pt x="412" y="194"/>
                        </a:lnTo>
                        <a:lnTo>
                          <a:pt x="422" y="175"/>
                        </a:lnTo>
                        <a:lnTo>
                          <a:pt x="424" y="167"/>
                        </a:lnTo>
                        <a:lnTo>
                          <a:pt x="428" y="151"/>
                        </a:lnTo>
                        <a:lnTo>
                          <a:pt x="427" y="140"/>
                        </a:lnTo>
                        <a:lnTo>
                          <a:pt x="428" y="105"/>
                        </a:lnTo>
                        <a:lnTo>
                          <a:pt x="424" y="83"/>
                        </a:lnTo>
                        <a:lnTo>
                          <a:pt x="420" y="73"/>
                        </a:lnTo>
                        <a:lnTo>
                          <a:pt x="419" y="60"/>
                        </a:lnTo>
                        <a:lnTo>
                          <a:pt x="410" y="50"/>
                        </a:lnTo>
                        <a:lnTo>
                          <a:pt x="379" y="39"/>
                        </a:lnTo>
                        <a:lnTo>
                          <a:pt x="351" y="27"/>
                        </a:lnTo>
                        <a:lnTo>
                          <a:pt x="336" y="23"/>
                        </a:lnTo>
                        <a:lnTo>
                          <a:pt x="322" y="19"/>
                        </a:lnTo>
                        <a:lnTo>
                          <a:pt x="299" y="21"/>
                        </a:lnTo>
                        <a:lnTo>
                          <a:pt x="281" y="19"/>
                        </a:lnTo>
                        <a:lnTo>
                          <a:pt x="281" y="0"/>
                        </a:lnTo>
                        <a:lnTo>
                          <a:pt x="280" y="2"/>
                        </a:lnTo>
                        <a:lnTo>
                          <a:pt x="272" y="1"/>
                        </a:lnTo>
                        <a:lnTo>
                          <a:pt x="264" y="3"/>
                        </a:lnTo>
                        <a:lnTo>
                          <a:pt x="258" y="2"/>
                        </a:lnTo>
                        <a:lnTo>
                          <a:pt x="252" y="0"/>
                        </a:lnTo>
                        <a:lnTo>
                          <a:pt x="248" y="0"/>
                        </a:lnTo>
                        <a:lnTo>
                          <a:pt x="236" y="6"/>
                        </a:lnTo>
                        <a:lnTo>
                          <a:pt x="220" y="7"/>
                        </a:lnTo>
                        <a:lnTo>
                          <a:pt x="213" y="11"/>
                        </a:lnTo>
                        <a:lnTo>
                          <a:pt x="206" y="18"/>
                        </a:lnTo>
                        <a:lnTo>
                          <a:pt x="200" y="18"/>
                        </a:lnTo>
                        <a:lnTo>
                          <a:pt x="194" y="21"/>
                        </a:lnTo>
                        <a:lnTo>
                          <a:pt x="193" y="28"/>
                        </a:lnTo>
                        <a:lnTo>
                          <a:pt x="193" y="37"/>
                        </a:lnTo>
                        <a:lnTo>
                          <a:pt x="194" y="41"/>
                        </a:lnTo>
                        <a:lnTo>
                          <a:pt x="193" y="45"/>
                        </a:lnTo>
                        <a:lnTo>
                          <a:pt x="191" y="50"/>
                        </a:lnTo>
                        <a:lnTo>
                          <a:pt x="190" y="54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83" name="Freeform 35"/>
                  <p:cNvSpPr>
                    <a:spLocks/>
                  </p:cNvSpPr>
                  <p:nvPr/>
                </p:nvSpPr>
                <p:spPr bwMode="gray">
                  <a:xfrm>
                    <a:off x="2643" y="2673"/>
                    <a:ext cx="147" cy="145"/>
                  </a:xfrm>
                  <a:custGeom>
                    <a:avLst/>
                    <a:gdLst>
                      <a:gd name="T0" fmla="*/ 10 w 734"/>
                      <a:gd name="T1" fmla="*/ 1 h 722"/>
                      <a:gd name="T2" fmla="*/ 5 w 734"/>
                      <a:gd name="T3" fmla="*/ 1 h 722"/>
                      <a:gd name="T4" fmla="*/ 4 w 734"/>
                      <a:gd name="T5" fmla="*/ 0 h 722"/>
                      <a:gd name="T6" fmla="*/ 2 w 734"/>
                      <a:gd name="T7" fmla="*/ 0 h 722"/>
                      <a:gd name="T8" fmla="*/ 1 w 734"/>
                      <a:gd name="T9" fmla="*/ 1 h 722"/>
                      <a:gd name="T10" fmla="*/ 0 w 734"/>
                      <a:gd name="T11" fmla="*/ 1 h 722"/>
                      <a:gd name="T12" fmla="*/ 0 w 734"/>
                      <a:gd name="T13" fmla="*/ 3 h 722"/>
                      <a:gd name="T14" fmla="*/ 1 w 734"/>
                      <a:gd name="T15" fmla="*/ 4 h 722"/>
                      <a:gd name="T16" fmla="*/ 1 w 734"/>
                      <a:gd name="T17" fmla="*/ 5 h 722"/>
                      <a:gd name="T18" fmla="*/ 2 w 734"/>
                      <a:gd name="T19" fmla="*/ 6 h 722"/>
                      <a:gd name="T20" fmla="*/ 2 w 734"/>
                      <a:gd name="T21" fmla="*/ 7 h 722"/>
                      <a:gd name="T22" fmla="*/ 3 w 734"/>
                      <a:gd name="T23" fmla="*/ 8 h 722"/>
                      <a:gd name="T24" fmla="*/ 4 w 734"/>
                      <a:gd name="T25" fmla="*/ 10 h 722"/>
                      <a:gd name="T26" fmla="*/ 5 w 734"/>
                      <a:gd name="T27" fmla="*/ 11 h 722"/>
                      <a:gd name="T28" fmla="*/ 6 w 734"/>
                      <a:gd name="T29" fmla="*/ 13 h 722"/>
                      <a:gd name="T30" fmla="*/ 6 w 734"/>
                      <a:gd name="T31" fmla="*/ 15 h 722"/>
                      <a:gd name="T32" fmla="*/ 6 w 734"/>
                      <a:gd name="T33" fmla="*/ 17 h 722"/>
                      <a:gd name="T34" fmla="*/ 7 w 734"/>
                      <a:gd name="T35" fmla="*/ 19 h 722"/>
                      <a:gd name="T36" fmla="*/ 7 w 734"/>
                      <a:gd name="T37" fmla="*/ 21 h 722"/>
                      <a:gd name="T38" fmla="*/ 7 w 734"/>
                      <a:gd name="T39" fmla="*/ 22 h 722"/>
                      <a:gd name="T40" fmla="*/ 8 w 734"/>
                      <a:gd name="T41" fmla="*/ 24 h 722"/>
                      <a:gd name="T42" fmla="*/ 9 w 734"/>
                      <a:gd name="T43" fmla="*/ 26 h 722"/>
                      <a:gd name="T44" fmla="*/ 10 w 734"/>
                      <a:gd name="T45" fmla="*/ 28 h 722"/>
                      <a:gd name="T46" fmla="*/ 11 w 734"/>
                      <a:gd name="T47" fmla="*/ 28 h 722"/>
                      <a:gd name="T48" fmla="*/ 11 w 734"/>
                      <a:gd name="T49" fmla="*/ 28 h 722"/>
                      <a:gd name="T50" fmla="*/ 13 w 734"/>
                      <a:gd name="T51" fmla="*/ 28 h 722"/>
                      <a:gd name="T52" fmla="*/ 14 w 734"/>
                      <a:gd name="T53" fmla="*/ 29 h 722"/>
                      <a:gd name="T54" fmla="*/ 16 w 734"/>
                      <a:gd name="T55" fmla="*/ 29 h 722"/>
                      <a:gd name="T56" fmla="*/ 17 w 734"/>
                      <a:gd name="T57" fmla="*/ 28 h 722"/>
                      <a:gd name="T58" fmla="*/ 18 w 734"/>
                      <a:gd name="T59" fmla="*/ 26 h 722"/>
                      <a:gd name="T60" fmla="*/ 18 w 734"/>
                      <a:gd name="T61" fmla="*/ 18 h 722"/>
                      <a:gd name="T62" fmla="*/ 18 w 734"/>
                      <a:gd name="T63" fmla="*/ 12 h 722"/>
                      <a:gd name="T64" fmla="*/ 20 w 734"/>
                      <a:gd name="T65" fmla="*/ 8 h 722"/>
                      <a:gd name="T66" fmla="*/ 21 w 734"/>
                      <a:gd name="T67" fmla="*/ 3 h 722"/>
                      <a:gd name="T68" fmla="*/ 25 w 734"/>
                      <a:gd name="T69" fmla="*/ 3 h 722"/>
                      <a:gd name="T70" fmla="*/ 26 w 734"/>
                      <a:gd name="T71" fmla="*/ 3 h 722"/>
                      <a:gd name="T72" fmla="*/ 27 w 734"/>
                      <a:gd name="T73" fmla="*/ 3 h 722"/>
                      <a:gd name="T74" fmla="*/ 29 w 734"/>
                      <a:gd name="T75" fmla="*/ 2 h 722"/>
                      <a:gd name="T76" fmla="*/ 29 w 734"/>
                      <a:gd name="T77" fmla="*/ 2 h 722"/>
                      <a:gd name="T78" fmla="*/ 28 w 734"/>
                      <a:gd name="T79" fmla="*/ 1 h 722"/>
                      <a:gd name="T80" fmla="*/ 25 w 734"/>
                      <a:gd name="T81" fmla="*/ 2 h 722"/>
                      <a:gd name="T82" fmla="*/ 22 w 734"/>
                      <a:gd name="T83" fmla="*/ 3 h 722"/>
                      <a:gd name="T84" fmla="*/ 21 w 734"/>
                      <a:gd name="T85" fmla="*/ 3 h 722"/>
                      <a:gd name="T86" fmla="*/ 18 w 734"/>
                      <a:gd name="T87" fmla="*/ 2 h 722"/>
                      <a:gd name="T88" fmla="*/ 16 w 734"/>
                      <a:gd name="T89" fmla="*/ 2 h 722"/>
                      <a:gd name="T90" fmla="*/ 15 w 734"/>
                      <a:gd name="T91" fmla="*/ 1 h 722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w 734"/>
                      <a:gd name="T139" fmla="*/ 0 h 722"/>
                      <a:gd name="T140" fmla="*/ 734 w 734"/>
                      <a:gd name="T141" fmla="*/ 722 h 722"/>
                    </a:gdLst>
                    <a:ahLst/>
                    <a:cxnLst>
                      <a:cxn ang="T92">
                        <a:pos x="T0" y="T1"/>
                      </a:cxn>
                      <a:cxn ang="T93">
                        <a:pos x="T2" y="T3"/>
                      </a:cxn>
                      <a:cxn ang="T94">
                        <a:pos x="T4" y="T5"/>
                      </a:cxn>
                      <a:cxn ang="T95">
                        <a:pos x="T6" y="T7"/>
                      </a:cxn>
                      <a:cxn ang="T96">
                        <a:pos x="T8" y="T9"/>
                      </a:cxn>
                      <a:cxn ang="T97">
                        <a:pos x="T10" y="T11"/>
                      </a:cxn>
                      <a:cxn ang="T98">
                        <a:pos x="T12" y="T13"/>
                      </a:cxn>
                      <a:cxn ang="T99">
                        <a:pos x="T14" y="T15"/>
                      </a:cxn>
                      <a:cxn ang="T100">
                        <a:pos x="T16" y="T17"/>
                      </a:cxn>
                      <a:cxn ang="T101">
                        <a:pos x="T18" y="T19"/>
                      </a:cxn>
                      <a:cxn ang="T102">
                        <a:pos x="T20" y="T21"/>
                      </a:cxn>
                      <a:cxn ang="T103">
                        <a:pos x="T22" y="T23"/>
                      </a:cxn>
                      <a:cxn ang="T104">
                        <a:pos x="T24" y="T25"/>
                      </a:cxn>
                      <a:cxn ang="T105">
                        <a:pos x="T26" y="T27"/>
                      </a:cxn>
                      <a:cxn ang="T106">
                        <a:pos x="T28" y="T29"/>
                      </a:cxn>
                      <a:cxn ang="T107">
                        <a:pos x="T30" y="T31"/>
                      </a:cxn>
                      <a:cxn ang="T108">
                        <a:pos x="T32" y="T33"/>
                      </a:cxn>
                      <a:cxn ang="T109">
                        <a:pos x="T34" y="T35"/>
                      </a:cxn>
                      <a:cxn ang="T110">
                        <a:pos x="T36" y="T37"/>
                      </a:cxn>
                      <a:cxn ang="T111">
                        <a:pos x="T38" y="T39"/>
                      </a:cxn>
                      <a:cxn ang="T112">
                        <a:pos x="T40" y="T41"/>
                      </a:cxn>
                      <a:cxn ang="T113">
                        <a:pos x="T42" y="T43"/>
                      </a:cxn>
                      <a:cxn ang="T114">
                        <a:pos x="T44" y="T45"/>
                      </a:cxn>
                      <a:cxn ang="T115">
                        <a:pos x="T46" y="T47"/>
                      </a:cxn>
                      <a:cxn ang="T116">
                        <a:pos x="T48" y="T49"/>
                      </a:cxn>
                      <a:cxn ang="T117">
                        <a:pos x="T50" y="T51"/>
                      </a:cxn>
                      <a:cxn ang="T118">
                        <a:pos x="T52" y="T53"/>
                      </a:cxn>
                      <a:cxn ang="T119">
                        <a:pos x="T54" y="T55"/>
                      </a:cxn>
                      <a:cxn ang="T120">
                        <a:pos x="T56" y="T57"/>
                      </a:cxn>
                      <a:cxn ang="T121">
                        <a:pos x="T58" y="T59"/>
                      </a:cxn>
                      <a:cxn ang="T122">
                        <a:pos x="T60" y="T61"/>
                      </a:cxn>
                      <a:cxn ang="T123">
                        <a:pos x="T62" y="T63"/>
                      </a:cxn>
                      <a:cxn ang="T124">
                        <a:pos x="T64" y="T65"/>
                      </a:cxn>
                      <a:cxn ang="T125">
                        <a:pos x="T66" y="T67"/>
                      </a:cxn>
                      <a:cxn ang="T126">
                        <a:pos x="T68" y="T69"/>
                      </a:cxn>
                      <a:cxn ang="T127">
                        <a:pos x="T70" y="T71"/>
                      </a:cxn>
                      <a:cxn ang="T128">
                        <a:pos x="T72" y="T73"/>
                      </a:cxn>
                      <a:cxn ang="T129">
                        <a:pos x="T74" y="T75"/>
                      </a:cxn>
                      <a:cxn ang="T130">
                        <a:pos x="T76" y="T77"/>
                      </a:cxn>
                      <a:cxn ang="T131">
                        <a:pos x="T78" y="T79"/>
                      </a:cxn>
                      <a:cxn ang="T132">
                        <a:pos x="T80" y="T81"/>
                      </a:cxn>
                      <a:cxn ang="T133">
                        <a:pos x="T82" y="T83"/>
                      </a:cxn>
                      <a:cxn ang="T134">
                        <a:pos x="T84" y="T85"/>
                      </a:cxn>
                      <a:cxn ang="T135">
                        <a:pos x="T86" y="T87"/>
                      </a:cxn>
                      <a:cxn ang="T136">
                        <a:pos x="T88" y="T89"/>
                      </a:cxn>
                      <a:cxn ang="T137">
                        <a:pos x="T90" y="T91"/>
                      </a:cxn>
                    </a:cxnLst>
                    <a:rect l="T138" t="T139" r="T140" b="T141"/>
                    <a:pathLst>
                      <a:path w="734" h="722">
                        <a:moveTo>
                          <a:pt x="346" y="26"/>
                        </a:moveTo>
                        <a:lnTo>
                          <a:pt x="299" y="26"/>
                        </a:lnTo>
                        <a:lnTo>
                          <a:pt x="252" y="26"/>
                        </a:lnTo>
                        <a:lnTo>
                          <a:pt x="198" y="26"/>
                        </a:lnTo>
                        <a:lnTo>
                          <a:pt x="148" y="26"/>
                        </a:lnTo>
                        <a:lnTo>
                          <a:pt x="130" y="26"/>
                        </a:lnTo>
                        <a:lnTo>
                          <a:pt x="123" y="28"/>
                        </a:lnTo>
                        <a:lnTo>
                          <a:pt x="109" y="15"/>
                        </a:lnTo>
                        <a:lnTo>
                          <a:pt x="96" y="10"/>
                        </a:lnTo>
                        <a:lnTo>
                          <a:pt x="91" y="1"/>
                        </a:lnTo>
                        <a:lnTo>
                          <a:pt x="81" y="0"/>
                        </a:lnTo>
                        <a:lnTo>
                          <a:pt x="59" y="0"/>
                        </a:lnTo>
                        <a:lnTo>
                          <a:pt x="49" y="4"/>
                        </a:lnTo>
                        <a:lnTo>
                          <a:pt x="39" y="14"/>
                        </a:lnTo>
                        <a:lnTo>
                          <a:pt x="33" y="17"/>
                        </a:lnTo>
                        <a:lnTo>
                          <a:pt x="23" y="11"/>
                        </a:lnTo>
                        <a:lnTo>
                          <a:pt x="12" y="20"/>
                        </a:lnTo>
                        <a:lnTo>
                          <a:pt x="1" y="26"/>
                        </a:lnTo>
                        <a:lnTo>
                          <a:pt x="0" y="49"/>
                        </a:lnTo>
                        <a:lnTo>
                          <a:pt x="0" y="55"/>
                        </a:lnTo>
                        <a:lnTo>
                          <a:pt x="3" y="64"/>
                        </a:lnTo>
                        <a:lnTo>
                          <a:pt x="3" y="74"/>
                        </a:lnTo>
                        <a:lnTo>
                          <a:pt x="12" y="92"/>
                        </a:lnTo>
                        <a:lnTo>
                          <a:pt x="17" y="100"/>
                        </a:lnTo>
                        <a:lnTo>
                          <a:pt x="19" y="102"/>
                        </a:lnTo>
                        <a:lnTo>
                          <a:pt x="28" y="108"/>
                        </a:lnTo>
                        <a:lnTo>
                          <a:pt x="34" y="117"/>
                        </a:lnTo>
                        <a:lnTo>
                          <a:pt x="38" y="127"/>
                        </a:lnTo>
                        <a:lnTo>
                          <a:pt x="44" y="134"/>
                        </a:lnTo>
                        <a:lnTo>
                          <a:pt x="46" y="139"/>
                        </a:lnTo>
                        <a:lnTo>
                          <a:pt x="55" y="150"/>
                        </a:lnTo>
                        <a:lnTo>
                          <a:pt x="56" y="157"/>
                        </a:lnTo>
                        <a:lnTo>
                          <a:pt x="62" y="168"/>
                        </a:lnTo>
                        <a:lnTo>
                          <a:pt x="65" y="176"/>
                        </a:lnTo>
                        <a:lnTo>
                          <a:pt x="81" y="202"/>
                        </a:lnTo>
                        <a:lnTo>
                          <a:pt x="82" y="209"/>
                        </a:lnTo>
                        <a:lnTo>
                          <a:pt x="86" y="215"/>
                        </a:lnTo>
                        <a:lnTo>
                          <a:pt x="88" y="224"/>
                        </a:lnTo>
                        <a:lnTo>
                          <a:pt x="96" y="238"/>
                        </a:lnTo>
                        <a:lnTo>
                          <a:pt x="110" y="263"/>
                        </a:lnTo>
                        <a:lnTo>
                          <a:pt x="116" y="273"/>
                        </a:lnTo>
                        <a:lnTo>
                          <a:pt x="118" y="278"/>
                        </a:lnTo>
                        <a:lnTo>
                          <a:pt x="121" y="288"/>
                        </a:lnTo>
                        <a:lnTo>
                          <a:pt x="141" y="312"/>
                        </a:lnTo>
                        <a:lnTo>
                          <a:pt x="150" y="331"/>
                        </a:lnTo>
                        <a:lnTo>
                          <a:pt x="151" y="334"/>
                        </a:lnTo>
                        <a:lnTo>
                          <a:pt x="152" y="350"/>
                        </a:lnTo>
                        <a:lnTo>
                          <a:pt x="151" y="369"/>
                        </a:lnTo>
                        <a:lnTo>
                          <a:pt x="152" y="406"/>
                        </a:lnTo>
                        <a:lnTo>
                          <a:pt x="151" y="424"/>
                        </a:lnTo>
                        <a:lnTo>
                          <a:pt x="153" y="435"/>
                        </a:lnTo>
                        <a:lnTo>
                          <a:pt x="157" y="445"/>
                        </a:lnTo>
                        <a:lnTo>
                          <a:pt x="162" y="458"/>
                        </a:lnTo>
                        <a:lnTo>
                          <a:pt x="172" y="477"/>
                        </a:lnTo>
                        <a:lnTo>
                          <a:pt x="173" y="484"/>
                        </a:lnTo>
                        <a:lnTo>
                          <a:pt x="171" y="498"/>
                        </a:lnTo>
                        <a:lnTo>
                          <a:pt x="172" y="521"/>
                        </a:lnTo>
                        <a:lnTo>
                          <a:pt x="174" y="531"/>
                        </a:lnTo>
                        <a:lnTo>
                          <a:pt x="182" y="546"/>
                        </a:lnTo>
                        <a:lnTo>
                          <a:pt x="179" y="555"/>
                        </a:lnTo>
                        <a:lnTo>
                          <a:pt x="182" y="559"/>
                        </a:lnTo>
                        <a:lnTo>
                          <a:pt x="185" y="569"/>
                        </a:lnTo>
                        <a:lnTo>
                          <a:pt x="188" y="589"/>
                        </a:lnTo>
                        <a:lnTo>
                          <a:pt x="191" y="600"/>
                        </a:lnTo>
                        <a:lnTo>
                          <a:pt x="194" y="622"/>
                        </a:lnTo>
                        <a:lnTo>
                          <a:pt x="214" y="646"/>
                        </a:lnTo>
                        <a:lnTo>
                          <a:pt x="222" y="665"/>
                        </a:lnTo>
                        <a:lnTo>
                          <a:pt x="233" y="676"/>
                        </a:lnTo>
                        <a:lnTo>
                          <a:pt x="243" y="683"/>
                        </a:lnTo>
                        <a:lnTo>
                          <a:pt x="256" y="698"/>
                        </a:lnTo>
                        <a:lnTo>
                          <a:pt x="261" y="698"/>
                        </a:lnTo>
                        <a:lnTo>
                          <a:pt x="264" y="700"/>
                        </a:lnTo>
                        <a:lnTo>
                          <a:pt x="269" y="699"/>
                        </a:lnTo>
                        <a:lnTo>
                          <a:pt x="272" y="697"/>
                        </a:lnTo>
                        <a:lnTo>
                          <a:pt x="279" y="689"/>
                        </a:lnTo>
                        <a:lnTo>
                          <a:pt x="285" y="678"/>
                        </a:lnTo>
                        <a:lnTo>
                          <a:pt x="297" y="677"/>
                        </a:lnTo>
                        <a:lnTo>
                          <a:pt x="323" y="695"/>
                        </a:lnTo>
                        <a:lnTo>
                          <a:pt x="323" y="708"/>
                        </a:lnTo>
                        <a:lnTo>
                          <a:pt x="334" y="720"/>
                        </a:lnTo>
                        <a:lnTo>
                          <a:pt x="350" y="722"/>
                        </a:lnTo>
                        <a:lnTo>
                          <a:pt x="365" y="717"/>
                        </a:lnTo>
                        <a:lnTo>
                          <a:pt x="384" y="717"/>
                        </a:lnTo>
                        <a:lnTo>
                          <a:pt x="393" y="720"/>
                        </a:lnTo>
                        <a:lnTo>
                          <a:pt x="405" y="720"/>
                        </a:lnTo>
                        <a:lnTo>
                          <a:pt x="421" y="705"/>
                        </a:lnTo>
                        <a:lnTo>
                          <a:pt x="435" y="695"/>
                        </a:lnTo>
                        <a:lnTo>
                          <a:pt x="446" y="693"/>
                        </a:lnTo>
                        <a:lnTo>
                          <a:pt x="452" y="689"/>
                        </a:lnTo>
                        <a:lnTo>
                          <a:pt x="452" y="633"/>
                        </a:lnTo>
                        <a:lnTo>
                          <a:pt x="452" y="574"/>
                        </a:lnTo>
                        <a:lnTo>
                          <a:pt x="452" y="515"/>
                        </a:lnTo>
                        <a:lnTo>
                          <a:pt x="452" y="460"/>
                        </a:lnTo>
                        <a:lnTo>
                          <a:pt x="452" y="407"/>
                        </a:lnTo>
                        <a:lnTo>
                          <a:pt x="452" y="349"/>
                        </a:lnTo>
                        <a:lnTo>
                          <a:pt x="452" y="295"/>
                        </a:lnTo>
                        <a:lnTo>
                          <a:pt x="507" y="295"/>
                        </a:lnTo>
                        <a:lnTo>
                          <a:pt x="507" y="257"/>
                        </a:lnTo>
                        <a:lnTo>
                          <a:pt x="507" y="200"/>
                        </a:lnTo>
                        <a:lnTo>
                          <a:pt x="507" y="144"/>
                        </a:lnTo>
                        <a:lnTo>
                          <a:pt x="507" y="91"/>
                        </a:lnTo>
                        <a:lnTo>
                          <a:pt x="512" y="86"/>
                        </a:lnTo>
                        <a:lnTo>
                          <a:pt x="592" y="71"/>
                        </a:lnTo>
                        <a:lnTo>
                          <a:pt x="609" y="68"/>
                        </a:lnTo>
                        <a:lnTo>
                          <a:pt x="615" y="68"/>
                        </a:lnTo>
                        <a:lnTo>
                          <a:pt x="632" y="69"/>
                        </a:lnTo>
                        <a:lnTo>
                          <a:pt x="643" y="73"/>
                        </a:lnTo>
                        <a:lnTo>
                          <a:pt x="650" y="85"/>
                        </a:lnTo>
                        <a:lnTo>
                          <a:pt x="653" y="100"/>
                        </a:lnTo>
                        <a:lnTo>
                          <a:pt x="659" y="92"/>
                        </a:lnTo>
                        <a:lnTo>
                          <a:pt x="668" y="81"/>
                        </a:lnTo>
                        <a:lnTo>
                          <a:pt x="684" y="69"/>
                        </a:lnTo>
                        <a:lnTo>
                          <a:pt x="711" y="63"/>
                        </a:lnTo>
                        <a:lnTo>
                          <a:pt x="716" y="57"/>
                        </a:lnTo>
                        <a:lnTo>
                          <a:pt x="723" y="52"/>
                        </a:lnTo>
                        <a:lnTo>
                          <a:pt x="734" y="51"/>
                        </a:lnTo>
                        <a:lnTo>
                          <a:pt x="727" y="38"/>
                        </a:lnTo>
                        <a:lnTo>
                          <a:pt x="723" y="35"/>
                        </a:lnTo>
                        <a:lnTo>
                          <a:pt x="709" y="32"/>
                        </a:lnTo>
                        <a:lnTo>
                          <a:pt x="688" y="32"/>
                        </a:lnTo>
                        <a:lnTo>
                          <a:pt x="685" y="28"/>
                        </a:lnTo>
                        <a:lnTo>
                          <a:pt x="642" y="39"/>
                        </a:lnTo>
                        <a:lnTo>
                          <a:pt x="635" y="41"/>
                        </a:lnTo>
                        <a:lnTo>
                          <a:pt x="632" y="43"/>
                        </a:lnTo>
                        <a:lnTo>
                          <a:pt x="621" y="46"/>
                        </a:lnTo>
                        <a:lnTo>
                          <a:pt x="546" y="65"/>
                        </a:lnTo>
                        <a:lnTo>
                          <a:pt x="538" y="66"/>
                        </a:lnTo>
                        <a:lnTo>
                          <a:pt x="534" y="64"/>
                        </a:lnTo>
                        <a:lnTo>
                          <a:pt x="522" y="63"/>
                        </a:lnTo>
                        <a:lnTo>
                          <a:pt x="510" y="59"/>
                        </a:lnTo>
                        <a:lnTo>
                          <a:pt x="494" y="58"/>
                        </a:lnTo>
                        <a:lnTo>
                          <a:pt x="460" y="51"/>
                        </a:lnTo>
                        <a:lnTo>
                          <a:pt x="433" y="51"/>
                        </a:lnTo>
                        <a:lnTo>
                          <a:pt x="414" y="53"/>
                        </a:lnTo>
                        <a:lnTo>
                          <a:pt x="405" y="53"/>
                        </a:lnTo>
                        <a:lnTo>
                          <a:pt x="388" y="47"/>
                        </a:lnTo>
                        <a:lnTo>
                          <a:pt x="382" y="37"/>
                        </a:lnTo>
                        <a:lnTo>
                          <a:pt x="366" y="26"/>
                        </a:lnTo>
                        <a:lnTo>
                          <a:pt x="346" y="26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84" name="Freeform 36"/>
                  <p:cNvSpPr>
                    <a:spLocks/>
                  </p:cNvSpPr>
                  <p:nvPr/>
                </p:nvSpPr>
                <p:spPr bwMode="gray">
                  <a:xfrm>
                    <a:off x="2845" y="2602"/>
                    <a:ext cx="117" cy="187"/>
                  </a:xfrm>
                  <a:custGeom>
                    <a:avLst/>
                    <a:gdLst>
                      <a:gd name="T0" fmla="*/ 23 w 586"/>
                      <a:gd name="T1" fmla="*/ 0 h 937"/>
                      <a:gd name="T2" fmla="*/ 23 w 586"/>
                      <a:gd name="T3" fmla="*/ 2 h 937"/>
                      <a:gd name="T4" fmla="*/ 23 w 586"/>
                      <a:gd name="T5" fmla="*/ 5 h 937"/>
                      <a:gd name="T6" fmla="*/ 23 w 586"/>
                      <a:gd name="T7" fmla="*/ 7 h 937"/>
                      <a:gd name="T8" fmla="*/ 23 w 586"/>
                      <a:gd name="T9" fmla="*/ 8 h 937"/>
                      <a:gd name="T10" fmla="*/ 23 w 586"/>
                      <a:gd name="T11" fmla="*/ 9 h 937"/>
                      <a:gd name="T12" fmla="*/ 23 w 586"/>
                      <a:gd name="T13" fmla="*/ 10 h 937"/>
                      <a:gd name="T14" fmla="*/ 23 w 586"/>
                      <a:gd name="T15" fmla="*/ 11 h 937"/>
                      <a:gd name="T16" fmla="*/ 21 w 586"/>
                      <a:gd name="T17" fmla="*/ 13 h 937"/>
                      <a:gd name="T18" fmla="*/ 20 w 586"/>
                      <a:gd name="T19" fmla="*/ 14 h 937"/>
                      <a:gd name="T20" fmla="*/ 18 w 586"/>
                      <a:gd name="T21" fmla="*/ 15 h 937"/>
                      <a:gd name="T22" fmla="*/ 15 w 586"/>
                      <a:gd name="T23" fmla="*/ 17 h 937"/>
                      <a:gd name="T24" fmla="*/ 14 w 586"/>
                      <a:gd name="T25" fmla="*/ 18 h 937"/>
                      <a:gd name="T26" fmla="*/ 13 w 586"/>
                      <a:gd name="T27" fmla="*/ 19 h 937"/>
                      <a:gd name="T28" fmla="*/ 11 w 586"/>
                      <a:gd name="T29" fmla="*/ 21 h 937"/>
                      <a:gd name="T30" fmla="*/ 10 w 586"/>
                      <a:gd name="T31" fmla="*/ 23 h 937"/>
                      <a:gd name="T32" fmla="*/ 11 w 586"/>
                      <a:gd name="T33" fmla="*/ 24 h 937"/>
                      <a:gd name="T34" fmla="*/ 12 w 586"/>
                      <a:gd name="T35" fmla="*/ 27 h 937"/>
                      <a:gd name="T36" fmla="*/ 12 w 586"/>
                      <a:gd name="T37" fmla="*/ 29 h 937"/>
                      <a:gd name="T38" fmla="*/ 12 w 586"/>
                      <a:gd name="T39" fmla="*/ 30 h 937"/>
                      <a:gd name="T40" fmla="*/ 11 w 586"/>
                      <a:gd name="T41" fmla="*/ 32 h 937"/>
                      <a:gd name="T42" fmla="*/ 8 w 586"/>
                      <a:gd name="T43" fmla="*/ 34 h 937"/>
                      <a:gd name="T44" fmla="*/ 6 w 586"/>
                      <a:gd name="T45" fmla="*/ 34 h 937"/>
                      <a:gd name="T46" fmla="*/ 5 w 586"/>
                      <a:gd name="T47" fmla="*/ 36 h 937"/>
                      <a:gd name="T48" fmla="*/ 6 w 586"/>
                      <a:gd name="T49" fmla="*/ 36 h 937"/>
                      <a:gd name="T50" fmla="*/ 4 w 586"/>
                      <a:gd name="T51" fmla="*/ 36 h 937"/>
                      <a:gd name="T52" fmla="*/ 4 w 586"/>
                      <a:gd name="T53" fmla="*/ 30 h 937"/>
                      <a:gd name="T54" fmla="*/ 3 w 586"/>
                      <a:gd name="T55" fmla="*/ 27 h 937"/>
                      <a:gd name="T56" fmla="*/ 5 w 586"/>
                      <a:gd name="T57" fmla="*/ 25 h 937"/>
                      <a:gd name="T58" fmla="*/ 6 w 586"/>
                      <a:gd name="T59" fmla="*/ 20 h 937"/>
                      <a:gd name="T60" fmla="*/ 6 w 586"/>
                      <a:gd name="T61" fmla="*/ 18 h 937"/>
                      <a:gd name="T62" fmla="*/ 6 w 586"/>
                      <a:gd name="T63" fmla="*/ 15 h 937"/>
                      <a:gd name="T64" fmla="*/ 5 w 586"/>
                      <a:gd name="T65" fmla="*/ 13 h 937"/>
                      <a:gd name="T66" fmla="*/ 1 w 586"/>
                      <a:gd name="T67" fmla="*/ 12 h 937"/>
                      <a:gd name="T68" fmla="*/ 0 w 586"/>
                      <a:gd name="T69" fmla="*/ 11 h 937"/>
                      <a:gd name="T70" fmla="*/ 7 w 586"/>
                      <a:gd name="T71" fmla="*/ 8 h 937"/>
                      <a:gd name="T72" fmla="*/ 8 w 586"/>
                      <a:gd name="T73" fmla="*/ 9 h 937"/>
                      <a:gd name="T74" fmla="*/ 10 w 586"/>
                      <a:gd name="T75" fmla="*/ 9 h 937"/>
                      <a:gd name="T76" fmla="*/ 10 w 586"/>
                      <a:gd name="T77" fmla="*/ 11 h 937"/>
                      <a:gd name="T78" fmla="*/ 9 w 586"/>
                      <a:gd name="T79" fmla="*/ 12 h 937"/>
                      <a:gd name="T80" fmla="*/ 10 w 586"/>
                      <a:gd name="T81" fmla="*/ 13 h 937"/>
                      <a:gd name="T82" fmla="*/ 11 w 586"/>
                      <a:gd name="T83" fmla="*/ 14 h 937"/>
                      <a:gd name="T84" fmla="*/ 11 w 586"/>
                      <a:gd name="T85" fmla="*/ 15 h 937"/>
                      <a:gd name="T86" fmla="*/ 12 w 586"/>
                      <a:gd name="T87" fmla="*/ 14 h 937"/>
                      <a:gd name="T88" fmla="*/ 11 w 586"/>
                      <a:gd name="T89" fmla="*/ 13 h 937"/>
                      <a:gd name="T90" fmla="*/ 12 w 586"/>
                      <a:gd name="T91" fmla="*/ 13 h 937"/>
                      <a:gd name="T92" fmla="*/ 13 w 586"/>
                      <a:gd name="T93" fmla="*/ 11 h 937"/>
                      <a:gd name="T94" fmla="*/ 13 w 586"/>
                      <a:gd name="T95" fmla="*/ 10 h 937"/>
                      <a:gd name="T96" fmla="*/ 12 w 586"/>
                      <a:gd name="T97" fmla="*/ 8 h 937"/>
                      <a:gd name="T98" fmla="*/ 11 w 586"/>
                      <a:gd name="T99" fmla="*/ 7 h 937"/>
                      <a:gd name="T100" fmla="*/ 10 w 586"/>
                      <a:gd name="T101" fmla="*/ 5 h 937"/>
                      <a:gd name="T102" fmla="*/ 11 w 586"/>
                      <a:gd name="T103" fmla="*/ 3 h 937"/>
                      <a:gd name="T104" fmla="*/ 13 w 586"/>
                      <a:gd name="T105" fmla="*/ 2 h 937"/>
                      <a:gd name="T106" fmla="*/ 14 w 586"/>
                      <a:gd name="T107" fmla="*/ 3 h 937"/>
                      <a:gd name="T108" fmla="*/ 15 w 586"/>
                      <a:gd name="T109" fmla="*/ 2 h 937"/>
                      <a:gd name="T110" fmla="*/ 17 w 586"/>
                      <a:gd name="T111" fmla="*/ 2 h 937"/>
                      <a:gd name="T112" fmla="*/ 19 w 586"/>
                      <a:gd name="T113" fmla="*/ 2 h 937"/>
                      <a:gd name="T114" fmla="*/ 22 w 586"/>
                      <a:gd name="T115" fmla="*/ 1 h 937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w 586"/>
                      <a:gd name="T175" fmla="*/ 0 h 937"/>
                      <a:gd name="T176" fmla="*/ 586 w 586"/>
                      <a:gd name="T177" fmla="*/ 937 h 937"/>
                    </a:gdLst>
                    <a:ahLst/>
                    <a:cxnLst>
                      <a:cxn ang="T116">
                        <a:pos x="T0" y="T1"/>
                      </a:cxn>
                      <a:cxn ang="T117">
                        <a:pos x="T2" y="T3"/>
                      </a:cxn>
                      <a:cxn ang="T118">
                        <a:pos x="T4" y="T5"/>
                      </a:cxn>
                      <a:cxn ang="T119">
                        <a:pos x="T6" y="T7"/>
                      </a:cxn>
                      <a:cxn ang="T120">
                        <a:pos x="T8" y="T9"/>
                      </a:cxn>
                      <a:cxn ang="T121">
                        <a:pos x="T10" y="T11"/>
                      </a:cxn>
                      <a:cxn ang="T122">
                        <a:pos x="T12" y="T13"/>
                      </a:cxn>
                      <a:cxn ang="T123">
                        <a:pos x="T14" y="T15"/>
                      </a:cxn>
                      <a:cxn ang="T124">
                        <a:pos x="T16" y="T17"/>
                      </a:cxn>
                      <a:cxn ang="T125">
                        <a:pos x="T18" y="T19"/>
                      </a:cxn>
                      <a:cxn ang="T126">
                        <a:pos x="T20" y="T21"/>
                      </a:cxn>
                      <a:cxn ang="T127">
                        <a:pos x="T22" y="T23"/>
                      </a:cxn>
                      <a:cxn ang="T128">
                        <a:pos x="T24" y="T25"/>
                      </a:cxn>
                      <a:cxn ang="T129">
                        <a:pos x="T26" y="T27"/>
                      </a:cxn>
                      <a:cxn ang="T130">
                        <a:pos x="T28" y="T29"/>
                      </a:cxn>
                      <a:cxn ang="T131">
                        <a:pos x="T30" y="T31"/>
                      </a:cxn>
                      <a:cxn ang="T132">
                        <a:pos x="T32" y="T33"/>
                      </a:cxn>
                      <a:cxn ang="T133">
                        <a:pos x="T34" y="T35"/>
                      </a:cxn>
                      <a:cxn ang="T134">
                        <a:pos x="T36" y="T37"/>
                      </a:cxn>
                      <a:cxn ang="T135">
                        <a:pos x="T38" y="T39"/>
                      </a:cxn>
                      <a:cxn ang="T136">
                        <a:pos x="T40" y="T41"/>
                      </a:cxn>
                      <a:cxn ang="T137">
                        <a:pos x="T42" y="T43"/>
                      </a:cxn>
                      <a:cxn ang="T138">
                        <a:pos x="T44" y="T45"/>
                      </a:cxn>
                      <a:cxn ang="T139">
                        <a:pos x="T46" y="T47"/>
                      </a:cxn>
                      <a:cxn ang="T140">
                        <a:pos x="T48" y="T49"/>
                      </a:cxn>
                      <a:cxn ang="T141">
                        <a:pos x="T50" y="T51"/>
                      </a:cxn>
                      <a:cxn ang="T142">
                        <a:pos x="T52" y="T53"/>
                      </a:cxn>
                      <a:cxn ang="T143">
                        <a:pos x="T54" y="T55"/>
                      </a:cxn>
                      <a:cxn ang="T144">
                        <a:pos x="T56" y="T57"/>
                      </a:cxn>
                      <a:cxn ang="T145">
                        <a:pos x="T58" y="T59"/>
                      </a:cxn>
                      <a:cxn ang="T146">
                        <a:pos x="T60" y="T61"/>
                      </a:cxn>
                      <a:cxn ang="T147">
                        <a:pos x="T62" y="T63"/>
                      </a:cxn>
                      <a:cxn ang="T148">
                        <a:pos x="T64" y="T65"/>
                      </a:cxn>
                      <a:cxn ang="T149">
                        <a:pos x="T66" y="T67"/>
                      </a:cxn>
                      <a:cxn ang="T150">
                        <a:pos x="T68" y="T69"/>
                      </a:cxn>
                      <a:cxn ang="T151">
                        <a:pos x="T70" y="T71"/>
                      </a:cxn>
                      <a:cxn ang="T152">
                        <a:pos x="T72" y="T73"/>
                      </a:cxn>
                      <a:cxn ang="T153">
                        <a:pos x="T74" y="T75"/>
                      </a:cxn>
                      <a:cxn ang="T154">
                        <a:pos x="T76" y="T77"/>
                      </a:cxn>
                      <a:cxn ang="T155">
                        <a:pos x="T78" y="T79"/>
                      </a:cxn>
                      <a:cxn ang="T156">
                        <a:pos x="T80" y="T81"/>
                      </a:cxn>
                      <a:cxn ang="T157">
                        <a:pos x="T82" y="T83"/>
                      </a:cxn>
                      <a:cxn ang="T158">
                        <a:pos x="T84" y="T85"/>
                      </a:cxn>
                      <a:cxn ang="T159">
                        <a:pos x="T86" y="T87"/>
                      </a:cxn>
                      <a:cxn ang="T160">
                        <a:pos x="T88" y="T89"/>
                      </a:cxn>
                      <a:cxn ang="T161">
                        <a:pos x="T90" y="T91"/>
                      </a:cxn>
                      <a:cxn ang="T162">
                        <a:pos x="T92" y="T93"/>
                      </a:cxn>
                      <a:cxn ang="T163">
                        <a:pos x="T94" y="T95"/>
                      </a:cxn>
                      <a:cxn ang="T164">
                        <a:pos x="T96" y="T97"/>
                      </a:cxn>
                      <a:cxn ang="T165">
                        <a:pos x="T98" y="T99"/>
                      </a:cxn>
                      <a:cxn ang="T166">
                        <a:pos x="T100" y="T101"/>
                      </a:cxn>
                      <a:cxn ang="T167">
                        <a:pos x="T102" y="T103"/>
                      </a:cxn>
                      <a:cxn ang="T168">
                        <a:pos x="T104" y="T105"/>
                      </a:cxn>
                      <a:cxn ang="T169">
                        <a:pos x="T106" y="T107"/>
                      </a:cxn>
                      <a:cxn ang="T170">
                        <a:pos x="T108" y="T109"/>
                      </a:cxn>
                      <a:cxn ang="T171">
                        <a:pos x="T110" y="T111"/>
                      </a:cxn>
                      <a:cxn ang="T172">
                        <a:pos x="T112" y="T113"/>
                      </a:cxn>
                      <a:cxn ang="T173">
                        <a:pos x="T114" y="T115"/>
                      </a:cxn>
                    </a:cxnLst>
                    <a:rect l="T174" t="T175" r="T176" b="T177"/>
                    <a:pathLst>
                      <a:path w="586" h="937">
                        <a:moveTo>
                          <a:pt x="580" y="0"/>
                        </a:moveTo>
                        <a:lnTo>
                          <a:pt x="584" y="2"/>
                        </a:lnTo>
                        <a:lnTo>
                          <a:pt x="586" y="7"/>
                        </a:lnTo>
                        <a:lnTo>
                          <a:pt x="584" y="10"/>
                        </a:lnTo>
                        <a:lnTo>
                          <a:pt x="585" y="27"/>
                        </a:lnTo>
                        <a:lnTo>
                          <a:pt x="583" y="33"/>
                        </a:lnTo>
                        <a:lnTo>
                          <a:pt x="578" y="42"/>
                        </a:lnTo>
                        <a:lnTo>
                          <a:pt x="570" y="56"/>
                        </a:lnTo>
                        <a:lnTo>
                          <a:pt x="567" y="70"/>
                        </a:lnTo>
                        <a:lnTo>
                          <a:pt x="568" y="95"/>
                        </a:lnTo>
                        <a:lnTo>
                          <a:pt x="570" y="113"/>
                        </a:lnTo>
                        <a:lnTo>
                          <a:pt x="572" y="128"/>
                        </a:lnTo>
                        <a:lnTo>
                          <a:pt x="565" y="133"/>
                        </a:lnTo>
                        <a:lnTo>
                          <a:pt x="568" y="142"/>
                        </a:lnTo>
                        <a:lnTo>
                          <a:pt x="570" y="142"/>
                        </a:lnTo>
                        <a:lnTo>
                          <a:pt x="569" y="176"/>
                        </a:lnTo>
                        <a:lnTo>
                          <a:pt x="572" y="196"/>
                        </a:lnTo>
                        <a:lnTo>
                          <a:pt x="570" y="205"/>
                        </a:lnTo>
                        <a:lnTo>
                          <a:pt x="574" y="208"/>
                        </a:lnTo>
                        <a:lnTo>
                          <a:pt x="578" y="205"/>
                        </a:lnTo>
                        <a:lnTo>
                          <a:pt x="581" y="212"/>
                        </a:lnTo>
                        <a:lnTo>
                          <a:pt x="575" y="220"/>
                        </a:lnTo>
                        <a:lnTo>
                          <a:pt x="580" y="220"/>
                        </a:lnTo>
                        <a:lnTo>
                          <a:pt x="585" y="224"/>
                        </a:lnTo>
                        <a:lnTo>
                          <a:pt x="585" y="232"/>
                        </a:lnTo>
                        <a:lnTo>
                          <a:pt x="580" y="242"/>
                        </a:lnTo>
                        <a:lnTo>
                          <a:pt x="576" y="253"/>
                        </a:lnTo>
                        <a:lnTo>
                          <a:pt x="568" y="263"/>
                        </a:lnTo>
                        <a:lnTo>
                          <a:pt x="575" y="265"/>
                        </a:lnTo>
                        <a:lnTo>
                          <a:pt x="574" y="274"/>
                        </a:lnTo>
                        <a:lnTo>
                          <a:pt x="573" y="280"/>
                        </a:lnTo>
                        <a:lnTo>
                          <a:pt x="564" y="285"/>
                        </a:lnTo>
                        <a:lnTo>
                          <a:pt x="547" y="305"/>
                        </a:lnTo>
                        <a:lnTo>
                          <a:pt x="543" y="313"/>
                        </a:lnTo>
                        <a:lnTo>
                          <a:pt x="526" y="323"/>
                        </a:lnTo>
                        <a:lnTo>
                          <a:pt x="532" y="328"/>
                        </a:lnTo>
                        <a:lnTo>
                          <a:pt x="527" y="337"/>
                        </a:lnTo>
                        <a:lnTo>
                          <a:pt x="517" y="344"/>
                        </a:lnTo>
                        <a:lnTo>
                          <a:pt x="505" y="351"/>
                        </a:lnTo>
                        <a:lnTo>
                          <a:pt x="497" y="355"/>
                        </a:lnTo>
                        <a:lnTo>
                          <a:pt x="490" y="366"/>
                        </a:lnTo>
                        <a:lnTo>
                          <a:pt x="477" y="373"/>
                        </a:lnTo>
                        <a:lnTo>
                          <a:pt x="460" y="373"/>
                        </a:lnTo>
                        <a:lnTo>
                          <a:pt x="447" y="378"/>
                        </a:lnTo>
                        <a:lnTo>
                          <a:pt x="403" y="398"/>
                        </a:lnTo>
                        <a:lnTo>
                          <a:pt x="375" y="420"/>
                        </a:lnTo>
                        <a:lnTo>
                          <a:pt x="373" y="430"/>
                        </a:lnTo>
                        <a:lnTo>
                          <a:pt x="368" y="434"/>
                        </a:lnTo>
                        <a:lnTo>
                          <a:pt x="360" y="435"/>
                        </a:lnTo>
                        <a:lnTo>
                          <a:pt x="355" y="436"/>
                        </a:lnTo>
                        <a:lnTo>
                          <a:pt x="361" y="442"/>
                        </a:lnTo>
                        <a:lnTo>
                          <a:pt x="345" y="462"/>
                        </a:lnTo>
                        <a:lnTo>
                          <a:pt x="338" y="473"/>
                        </a:lnTo>
                        <a:lnTo>
                          <a:pt x="333" y="470"/>
                        </a:lnTo>
                        <a:lnTo>
                          <a:pt x="330" y="461"/>
                        </a:lnTo>
                        <a:lnTo>
                          <a:pt x="323" y="477"/>
                        </a:lnTo>
                        <a:lnTo>
                          <a:pt x="315" y="480"/>
                        </a:lnTo>
                        <a:lnTo>
                          <a:pt x="305" y="493"/>
                        </a:lnTo>
                        <a:lnTo>
                          <a:pt x="287" y="512"/>
                        </a:lnTo>
                        <a:lnTo>
                          <a:pt x="273" y="521"/>
                        </a:lnTo>
                        <a:lnTo>
                          <a:pt x="266" y="529"/>
                        </a:lnTo>
                        <a:lnTo>
                          <a:pt x="255" y="533"/>
                        </a:lnTo>
                        <a:lnTo>
                          <a:pt x="252" y="563"/>
                        </a:lnTo>
                        <a:lnTo>
                          <a:pt x="253" y="572"/>
                        </a:lnTo>
                        <a:lnTo>
                          <a:pt x="267" y="582"/>
                        </a:lnTo>
                        <a:lnTo>
                          <a:pt x="271" y="588"/>
                        </a:lnTo>
                        <a:lnTo>
                          <a:pt x="272" y="597"/>
                        </a:lnTo>
                        <a:lnTo>
                          <a:pt x="273" y="598"/>
                        </a:lnTo>
                        <a:lnTo>
                          <a:pt x="274" y="608"/>
                        </a:lnTo>
                        <a:lnTo>
                          <a:pt x="287" y="642"/>
                        </a:lnTo>
                        <a:lnTo>
                          <a:pt x="288" y="662"/>
                        </a:lnTo>
                        <a:lnTo>
                          <a:pt x="289" y="667"/>
                        </a:lnTo>
                        <a:lnTo>
                          <a:pt x="295" y="662"/>
                        </a:lnTo>
                        <a:lnTo>
                          <a:pt x="299" y="666"/>
                        </a:lnTo>
                        <a:lnTo>
                          <a:pt x="299" y="688"/>
                        </a:lnTo>
                        <a:lnTo>
                          <a:pt x="295" y="725"/>
                        </a:lnTo>
                        <a:lnTo>
                          <a:pt x="283" y="771"/>
                        </a:lnTo>
                        <a:lnTo>
                          <a:pt x="285" y="782"/>
                        </a:lnTo>
                        <a:lnTo>
                          <a:pt x="289" y="774"/>
                        </a:lnTo>
                        <a:lnTo>
                          <a:pt x="295" y="764"/>
                        </a:lnTo>
                        <a:lnTo>
                          <a:pt x="295" y="768"/>
                        </a:lnTo>
                        <a:lnTo>
                          <a:pt x="293" y="781"/>
                        </a:lnTo>
                        <a:lnTo>
                          <a:pt x="288" y="792"/>
                        </a:lnTo>
                        <a:lnTo>
                          <a:pt x="273" y="811"/>
                        </a:lnTo>
                        <a:lnTo>
                          <a:pt x="258" y="822"/>
                        </a:lnTo>
                        <a:lnTo>
                          <a:pt x="240" y="829"/>
                        </a:lnTo>
                        <a:lnTo>
                          <a:pt x="228" y="830"/>
                        </a:lnTo>
                        <a:lnTo>
                          <a:pt x="192" y="843"/>
                        </a:lnTo>
                        <a:lnTo>
                          <a:pt x="183" y="849"/>
                        </a:lnTo>
                        <a:lnTo>
                          <a:pt x="176" y="855"/>
                        </a:lnTo>
                        <a:lnTo>
                          <a:pt x="166" y="861"/>
                        </a:lnTo>
                        <a:lnTo>
                          <a:pt x="156" y="863"/>
                        </a:lnTo>
                        <a:lnTo>
                          <a:pt x="151" y="868"/>
                        </a:lnTo>
                        <a:lnTo>
                          <a:pt x="144" y="881"/>
                        </a:lnTo>
                        <a:lnTo>
                          <a:pt x="135" y="893"/>
                        </a:lnTo>
                        <a:lnTo>
                          <a:pt x="134" y="893"/>
                        </a:lnTo>
                        <a:lnTo>
                          <a:pt x="142" y="900"/>
                        </a:lnTo>
                        <a:lnTo>
                          <a:pt x="148" y="910"/>
                        </a:lnTo>
                        <a:lnTo>
                          <a:pt x="154" y="905"/>
                        </a:lnTo>
                        <a:lnTo>
                          <a:pt x="158" y="899"/>
                        </a:lnTo>
                        <a:lnTo>
                          <a:pt x="154" y="937"/>
                        </a:lnTo>
                        <a:lnTo>
                          <a:pt x="148" y="936"/>
                        </a:lnTo>
                        <a:lnTo>
                          <a:pt x="112" y="936"/>
                        </a:lnTo>
                        <a:lnTo>
                          <a:pt x="110" y="908"/>
                        </a:lnTo>
                        <a:lnTo>
                          <a:pt x="110" y="887"/>
                        </a:lnTo>
                        <a:lnTo>
                          <a:pt x="108" y="879"/>
                        </a:lnTo>
                        <a:lnTo>
                          <a:pt x="105" y="786"/>
                        </a:lnTo>
                        <a:lnTo>
                          <a:pt x="92" y="742"/>
                        </a:lnTo>
                        <a:lnTo>
                          <a:pt x="86" y="710"/>
                        </a:lnTo>
                        <a:lnTo>
                          <a:pt x="84" y="689"/>
                        </a:lnTo>
                        <a:lnTo>
                          <a:pt x="85" y="688"/>
                        </a:lnTo>
                        <a:lnTo>
                          <a:pt x="85" y="673"/>
                        </a:lnTo>
                        <a:lnTo>
                          <a:pt x="89" y="661"/>
                        </a:lnTo>
                        <a:lnTo>
                          <a:pt x="95" y="651"/>
                        </a:lnTo>
                        <a:lnTo>
                          <a:pt x="106" y="644"/>
                        </a:lnTo>
                        <a:lnTo>
                          <a:pt x="113" y="636"/>
                        </a:lnTo>
                        <a:lnTo>
                          <a:pt x="132" y="602"/>
                        </a:lnTo>
                        <a:lnTo>
                          <a:pt x="139" y="571"/>
                        </a:lnTo>
                        <a:lnTo>
                          <a:pt x="156" y="535"/>
                        </a:lnTo>
                        <a:lnTo>
                          <a:pt x="153" y="508"/>
                        </a:lnTo>
                        <a:lnTo>
                          <a:pt x="148" y="495"/>
                        </a:lnTo>
                        <a:lnTo>
                          <a:pt x="146" y="478"/>
                        </a:lnTo>
                        <a:lnTo>
                          <a:pt x="156" y="459"/>
                        </a:lnTo>
                        <a:lnTo>
                          <a:pt x="158" y="451"/>
                        </a:lnTo>
                        <a:lnTo>
                          <a:pt x="162" y="435"/>
                        </a:lnTo>
                        <a:lnTo>
                          <a:pt x="161" y="424"/>
                        </a:lnTo>
                        <a:lnTo>
                          <a:pt x="162" y="389"/>
                        </a:lnTo>
                        <a:lnTo>
                          <a:pt x="158" y="367"/>
                        </a:lnTo>
                        <a:lnTo>
                          <a:pt x="154" y="357"/>
                        </a:lnTo>
                        <a:lnTo>
                          <a:pt x="153" y="344"/>
                        </a:lnTo>
                        <a:lnTo>
                          <a:pt x="144" y="334"/>
                        </a:lnTo>
                        <a:lnTo>
                          <a:pt x="113" y="323"/>
                        </a:lnTo>
                        <a:lnTo>
                          <a:pt x="85" y="311"/>
                        </a:lnTo>
                        <a:lnTo>
                          <a:pt x="70" y="307"/>
                        </a:lnTo>
                        <a:lnTo>
                          <a:pt x="56" y="303"/>
                        </a:lnTo>
                        <a:lnTo>
                          <a:pt x="33" y="305"/>
                        </a:lnTo>
                        <a:lnTo>
                          <a:pt x="15" y="303"/>
                        </a:lnTo>
                        <a:lnTo>
                          <a:pt x="15" y="284"/>
                        </a:lnTo>
                        <a:lnTo>
                          <a:pt x="10" y="281"/>
                        </a:lnTo>
                        <a:lnTo>
                          <a:pt x="8" y="269"/>
                        </a:lnTo>
                        <a:lnTo>
                          <a:pt x="0" y="253"/>
                        </a:lnTo>
                        <a:lnTo>
                          <a:pt x="165" y="196"/>
                        </a:lnTo>
                        <a:lnTo>
                          <a:pt x="174" y="195"/>
                        </a:lnTo>
                        <a:lnTo>
                          <a:pt x="175" y="198"/>
                        </a:lnTo>
                        <a:lnTo>
                          <a:pt x="181" y="200"/>
                        </a:lnTo>
                        <a:lnTo>
                          <a:pt x="188" y="216"/>
                        </a:lnTo>
                        <a:lnTo>
                          <a:pt x="198" y="226"/>
                        </a:lnTo>
                        <a:lnTo>
                          <a:pt x="202" y="226"/>
                        </a:lnTo>
                        <a:lnTo>
                          <a:pt x="210" y="224"/>
                        </a:lnTo>
                        <a:lnTo>
                          <a:pt x="240" y="220"/>
                        </a:lnTo>
                        <a:lnTo>
                          <a:pt x="244" y="221"/>
                        </a:lnTo>
                        <a:lnTo>
                          <a:pt x="247" y="226"/>
                        </a:lnTo>
                        <a:lnTo>
                          <a:pt x="251" y="239"/>
                        </a:lnTo>
                        <a:lnTo>
                          <a:pt x="252" y="247"/>
                        </a:lnTo>
                        <a:lnTo>
                          <a:pt x="253" y="265"/>
                        </a:lnTo>
                        <a:lnTo>
                          <a:pt x="251" y="273"/>
                        </a:lnTo>
                        <a:lnTo>
                          <a:pt x="245" y="280"/>
                        </a:lnTo>
                        <a:lnTo>
                          <a:pt x="246" y="286"/>
                        </a:lnTo>
                        <a:lnTo>
                          <a:pt x="240" y="291"/>
                        </a:lnTo>
                        <a:lnTo>
                          <a:pt x="236" y="302"/>
                        </a:lnTo>
                        <a:lnTo>
                          <a:pt x="240" y="306"/>
                        </a:lnTo>
                        <a:lnTo>
                          <a:pt x="245" y="322"/>
                        </a:lnTo>
                        <a:lnTo>
                          <a:pt x="248" y="325"/>
                        </a:lnTo>
                        <a:lnTo>
                          <a:pt x="252" y="327"/>
                        </a:lnTo>
                        <a:lnTo>
                          <a:pt x="255" y="332"/>
                        </a:lnTo>
                        <a:lnTo>
                          <a:pt x="263" y="341"/>
                        </a:lnTo>
                        <a:lnTo>
                          <a:pt x="268" y="348"/>
                        </a:lnTo>
                        <a:lnTo>
                          <a:pt x="272" y="350"/>
                        </a:lnTo>
                        <a:lnTo>
                          <a:pt x="279" y="351"/>
                        </a:lnTo>
                        <a:lnTo>
                          <a:pt x="283" y="356"/>
                        </a:lnTo>
                        <a:lnTo>
                          <a:pt x="283" y="360"/>
                        </a:lnTo>
                        <a:lnTo>
                          <a:pt x="278" y="366"/>
                        </a:lnTo>
                        <a:lnTo>
                          <a:pt x="279" y="368"/>
                        </a:lnTo>
                        <a:lnTo>
                          <a:pt x="291" y="368"/>
                        </a:lnTo>
                        <a:lnTo>
                          <a:pt x="293" y="367"/>
                        </a:lnTo>
                        <a:lnTo>
                          <a:pt x="291" y="357"/>
                        </a:lnTo>
                        <a:lnTo>
                          <a:pt x="293" y="351"/>
                        </a:lnTo>
                        <a:lnTo>
                          <a:pt x="290" y="346"/>
                        </a:lnTo>
                        <a:lnTo>
                          <a:pt x="287" y="343"/>
                        </a:lnTo>
                        <a:lnTo>
                          <a:pt x="287" y="337"/>
                        </a:lnTo>
                        <a:lnTo>
                          <a:pt x="290" y="329"/>
                        </a:lnTo>
                        <a:lnTo>
                          <a:pt x="290" y="325"/>
                        </a:lnTo>
                        <a:lnTo>
                          <a:pt x="291" y="322"/>
                        </a:lnTo>
                        <a:lnTo>
                          <a:pt x="304" y="314"/>
                        </a:lnTo>
                        <a:lnTo>
                          <a:pt x="310" y="313"/>
                        </a:lnTo>
                        <a:lnTo>
                          <a:pt x="316" y="311"/>
                        </a:lnTo>
                        <a:lnTo>
                          <a:pt x="320" y="305"/>
                        </a:lnTo>
                        <a:lnTo>
                          <a:pt x="321" y="284"/>
                        </a:lnTo>
                        <a:lnTo>
                          <a:pt x="323" y="276"/>
                        </a:lnTo>
                        <a:lnTo>
                          <a:pt x="320" y="262"/>
                        </a:lnTo>
                        <a:lnTo>
                          <a:pt x="323" y="252"/>
                        </a:lnTo>
                        <a:lnTo>
                          <a:pt x="326" y="244"/>
                        </a:lnTo>
                        <a:lnTo>
                          <a:pt x="323" y="232"/>
                        </a:lnTo>
                        <a:lnTo>
                          <a:pt x="318" y="225"/>
                        </a:lnTo>
                        <a:lnTo>
                          <a:pt x="305" y="212"/>
                        </a:lnTo>
                        <a:lnTo>
                          <a:pt x="299" y="203"/>
                        </a:lnTo>
                        <a:lnTo>
                          <a:pt x="284" y="184"/>
                        </a:lnTo>
                        <a:lnTo>
                          <a:pt x="274" y="177"/>
                        </a:lnTo>
                        <a:lnTo>
                          <a:pt x="267" y="167"/>
                        </a:lnTo>
                        <a:lnTo>
                          <a:pt x="266" y="167"/>
                        </a:lnTo>
                        <a:lnTo>
                          <a:pt x="263" y="156"/>
                        </a:lnTo>
                        <a:lnTo>
                          <a:pt x="263" y="146"/>
                        </a:lnTo>
                        <a:lnTo>
                          <a:pt x="262" y="138"/>
                        </a:lnTo>
                        <a:lnTo>
                          <a:pt x="262" y="123"/>
                        </a:lnTo>
                        <a:lnTo>
                          <a:pt x="258" y="115"/>
                        </a:lnTo>
                        <a:lnTo>
                          <a:pt x="258" y="107"/>
                        </a:lnTo>
                        <a:lnTo>
                          <a:pt x="262" y="92"/>
                        </a:lnTo>
                        <a:lnTo>
                          <a:pt x="269" y="76"/>
                        </a:lnTo>
                        <a:lnTo>
                          <a:pt x="273" y="58"/>
                        </a:lnTo>
                        <a:lnTo>
                          <a:pt x="314" y="59"/>
                        </a:lnTo>
                        <a:lnTo>
                          <a:pt x="317" y="58"/>
                        </a:lnTo>
                        <a:lnTo>
                          <a:pt x="323" y="53"/>
                        </a:lnTo>
                        <a:lnTo>
                          <a:pt x="331" y="53"/>
                        </a:lnTo>
                        <a:lnTo>
                          <a:pt x="338" y="55"/>
                        </a:lnTo>
                        <a:lnTo>
                          <a:pt x="344" y="61"/>
                        </a:lnTo>
                        <a:lnTo>
                          <a:pt x="349" y="65"/>
                        </a:lnTo>
                        <a:lnTo>
                          <a:pt x="354" y="66"/>
                        </a:lnTo>
                        <a:lnTo>
                          <a:pt x="361" y="64"/>
                        </a:lnTo>
                        <a:lnTo>
                          <a:pt x="370" y="64"/>
                        </a:lnTo>
                        <a:lnTo>
                          <a:pt x="381" y="56"/>
                        </a:lnTo>
                        <a:lnTo>
                          <a:pt x="412" y="58"/>
                        </a:lnTo>
                        <a:lnTo>
                          <a:pt x="419" y="58"/>
                        </a:lnTo>
                        <a:lnTo>
                          <a:pt x="423" y="56"/>
                        </a:lnTo>
                        <a:lnTo>
                          <a:pt x="436" y="43"/>
                        </a:lnTo>
                        <a:lnTo>
                          <a:pt x="450" y="42"/>
                        </a:lnTo>
                        <a:lnTo>
                          <a:pt x="459" y="39"/>
                        </a:lnTo>
                        <a:lnTo>
                          <a:pt x="472" y="45"/>
                        </a:lnTo>
                        <a:lnTo>
                          <a:pt x="482" y="45"/>
                        </a:lnTo>
                        <a:lnTo>
                          <a:pt x="490" y="44"/>
                        </a:lnTo>
                        <a:lnTo>
                          <a:pt x="524" y="32"/>
                        </a:lnTo>
                        <a:lnTo>
                          <a:pt x="543" y="27"/>
                        </a:lnTo>
                        <a:lnTo>
                          <a:pt x="547" y="25"/>
                        </a:lnTo>
                        <a:lnTo>
                          <a:pt x="562" y="11"/>
                        </a:lnTo>
                        <a:lnTo>
                          <a:pt x="576" y="1"/>
                        </a:lnTo>
                        <a:lnTo>
                          <a:pt x="580" y="0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85" name="Freeform 37"/>
                  <p:cNvSpPr>
                    <a:spLocks/>
                  </p:cNvSpPr>
                  <p:nvPr/>
                </p:nvSpPr>
                <p:spPr bwMode="gray">
                  <a:xfrm>
                    <a:off x="2733" y="2683"/>
                    <a:ext cx="104" cy="107"/>
                  </a:xfrm>
                  <a:custGeom>
                    <a:avLst/>
                    <a:gdLst>
                      <a:gd name="T0" fmla="*/ 0 w 518"/>
                      <a:gd name="T1" fmla="*/ 14 h 534"/>
                      <a:gd name="T2" fmla="*/ 0 w 518"/>
                      <a:gd name="T3" fmla="*/ 10 h 534"/>
                      <a:gd name="T4" fmla="*/ 2 w 518"/>
                      <a:gd name="T5" fmla="*/ 8 h 534"/>
                      <a:gd name="T6" fmla="*/ 2 w 518"/>
                      <a:gd name="T7" fmla="*/ 4 h 534"/>
                      <a:gd name="T8" fmla="*/ 2 w 518"/>
                      <a:gd name="T9" fmla="*/ 1 h 534"/>
                      <a:gd name="T10" fmla="*/ 6 w 518"/>
                      <a:gd name="T11" fmla="*/ 1 h 534"/>
                      <a:gd name="T12" fmla="*/ 7 w 518"/>
                      <a:gd name="T13" fmla="*/ 1 h 534"/>
                      <a:gd name="T14" fmla="*/ 8 w 518"/>
                      <a:gd name="T15" fmla="*/ 1 h 534"/>
                      <a:gd name="T16" fmla="*/ 8 w 518"/>
                      <a:gd name="T17" fmla="*/ 2 h 534"/>
                      <a:gd name="T18" fmla="*/ 9 w 518"/>
                      <a:gd name="T19" fmla="*/ 1 h 534"/>
                      <a:gd name="T20" fmla="*/ 11 w 518"/>
                      <a:gd name="T21" fmla="*/ 0 h 534"/>
                      <a:gd name="T22" fmla="*/ 11 w 518"/>
                      <a:gd name="T23" fmla="*/ 0 h 534"/>
                      <a:gd name="T24" fmla="*/ 12 w 518"/>
                      <a:gd name="T25" fmla="*/ 0 h 534"/>
                      <a:gd name="T26" fmla="*/ 12 w 518"/>
                      <a:gd name="T27" fmla="*/ 2 h 534"/>
                      <a:gd name="T28" fmla="*/ 13 w 518"/>
                      <a:gd name="T29" fmla="*/ 2 h 534"/>
                      <a:gd name="T30" fmla="*/ 14 w 518"/>
                      <a:gd name="T31" fmla="*/ 4 h 534"/>
                      <a:gd name="T32" fmla="*/ 15 w 518"/>
                      <a:gd name="T33" fmla="*/ 5 h 534"/>
                      <a:gd name="T34" fmla="*/ 16 w 518"/>
                      <a:gd name="T35" fmla="*/ 6 h 534"/>
                      <a:gd name="T36" fmla="*/ 17 w 518"/>
                      <a:gd name="T37" fmla="*/ 7 h 534"/>
                      <a:gd name="T38" fmla="*/ 17 w 518"/>
                      <a:gd name="T39" fmla="*/ 8 h 534"/>
                      <a:gd name="T40" fmla="*/ 18 w 518"/>
                      <a:gd name="T41" fmla="*/ 9 h 534"/>
                      <a:gd name="T42" fmla="*/ 19 w 518"/>
                      <a:gd name="T43" fmla="*/ 9 h 534"/>
                      <a:gd name="T44" fmla="*/ 20 w 518"/>
                      <a:gd name="T45" fmla="*/ 10 h 534"/>
                      <a:gd name="T46" fmla="*/ 21 w 518"/>
                      <a:gd name="T47" fmla="*/ 10 h 534"/>
                      <a:gd name="T48" fmla="*/ 20 w 518"/>
                      <a:gd name="T49" fmla="*/ 10 h 534"/>
                      <a:gd name="T50" fmla="*/ 18 w 518"/>
                      <a:gd name="T51" fmla="*/ 12 h 534"/>
                      <a:gd name="T52" fmla="*/ 17 w 518"/>
                      <a:gd name="T53" fmla="*/ 13 h 534"/>
                      <a:gd name="T54" fmla="*/ 16 w 518"/>
                      <a:gd name="T55" fmla="*/ 14 h 534"/>
                      <a:gd name="T56" fmla="*/ 14 w 518"/>
                      <a:gd name="T57" fmla="*/ 16 h 534"/>
                      <a:gd name="T58" fmla="*/ 13 w 518"/>
                      <a:gd name="T59" fmla="*/ 18 h 534"/>
                      <a:gd name="T60" fmla="*/ 12 w 518"/>
                      <a:gd name="T61" fmla="*/ 18 h 534"/>
                      <a:gd name="T62" fmla="*/ 11 w 518"/>
                      <a:gd name="T63" fmla="*/ 19 h 534"/>
                      <a:gd name="T64" fmla="*/ 9 w 518"/>
                      <a:gd name="T65" fmla="*/ 18 h 534"/>
                      <a:gd name="T66" fmla="*/ 8 w 518"/>
                      <a:gd name="T67" fmla="*/ 18 h 534"/>
                      <a:gd name="T68" fmla="*/ 7 w 518"/>
                      <a:gd name="T69" fmla="*/ 19 h 534"/>
                      <a:gd name="T70" fmla="*/ 6 w 518"/>
                      <a:gd name="T71" fmla="*/ 19 h 534"/>
                      <a:gd name="T72" fmla="*/ 6 w 518"/>
                      <a:gd name="T73" fmla="*/ 20 h 534"/>
                      <a:gd name="T74" fmla="*/ 5 w 518"/>
                      <a:gd name="T75" fmla="*/ 21 h 534"/>
                      <a:gd name="T76" fmla="*/ 3 w 518"/>
                      <a:gd name="T77" fmla="*/ 21 h 534"/>
                      <a:gd name="T78" fmla="*/ 2 w 518"/>
                      <a:gd name="T79" fmla="*/ 21 h 534"/>
                      <a:gd name="T80" fmla="*/ 2 w 518"/>
                      <a:gd name="T81" fmla="*/ 20 h 534"/>
                      <a:gd name="T82" fmla="*/ 2 w 518"/>
                      <a:gd name="T83" fmla="*/ 19 h 534"/>
                      <a:gd name="T84" fmla="*/ 2 w 518"/>
                      <a:gd name="T85" fmla="*/ 18 h 534"/>
                      <a:gd name="T86" fmla="*/ 1 w 518"/>
                      <a:gd name="T87" fmla="*/ 17 h 534"/>
                      <a:gd name="T88" fmla="*/ 0 w 518"/>
                      <a:gd name="T89" fmla="*/ 17 h 534"/>
                      <a:gd name="T90" fmla="*/ 0 w 518"/>
                      <a:gd name="T91" fmla="*/ 16 h 534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w 518"/>
                      <a:gd name="T139" fmla="*/ 0 h 534"/>
                      <a:gd name="T140" fmla="*/ 518 w 518"/>
                      <a:gd name="T141" fmla="*/ 534 h 534"/>
                    </a:gdLst>
                    <a:ahLst/>
                    <a:cxnLst>
                      <a:cxn ang="T92">
                        <a:pos x="T0" y="T1"/>
                      </a:cxn>
                      <a:cxn ang="T93">
                        <a:pos x="T2" y="T3"/>
                      </a:cxn>
                      <a:cxn ang="T94">
                        <a:pos x="T4" y="T5"/>
                      </a:cxn>
                      <a:cxn ang="T95">
                        <a:pos x="T6" y="T7"/>
                      </a:cxn>
                      <a:cxn ang="T96">
                        <a:pos x="T8" y="T9"/>
                      </a:cxn>
                      <a:cxn ang="T97">
                        <a:pos x="T10" y="T11"/>
                      </a:cxn>
                      <a:cxn ang="T98">
                        <a:pos x="T12" y="T13"/>
                      </a:cxn>
                      <a:cxn ang="T99">
                        <a:pos x="T14" y="T15"/>
                      </a:cxn>
                      <a:cxn ang="T100">
                        <a:pos x="T16" y="T17"/>
                      </a:cxn>
                      <a:cxn ang="T101">
                        <a:pos x="T18" y="T19"/>
                      </a:cxn>
                      <a:cxn ang="T102">
                        <a:pos x="T20" y="T21"/>
                      </a:cxn>
                      <a:cxn ang="T103">
                        <a:pos x="T22" y="T23"/>
                      </a:cxn>
                      <a:cxn ang="T104">
                        <a:pos x="T24" y="T25"/>
                      </a:cxn>
                      <a:cxn ang="T105">
                        <a:pos x="T26" y="T27"/>
                      </a:cxn>
                      <a:cxn ang="T106">
                        <a:pos x="T28" y="T29"/>
                      </a:cxn>
                      <a:cxn ang="T107">
                        <a:pos x="T30" y="T31"/>
                      </a:cxn>
                      <a:cxn ang="T108">
                        <a:pos x="T32" y="T33"/>
                      </a:cxn>
                      <a:cxn ang="T109">
                        <a:pos x="T34" y="T35"/>
                      </a:cxn>
                      <a:cxn ang="T110">
                        <a:pos x="T36" y="T37"/>
                      </a:cxn>
                      <a:cxn ang="T111">
                        <a:pos x="T38" y="T39"/>
                      </a:cxn>
                      <a:cxn ang="T112">
                        <a:pos x="T40" y="T41"/>
                      </a:cxn>
                      <a:cxn ang="T113">
                        <a:pos x="T42" y="T43"/>
                      </a:cxn>
                      <a:cxn ang="T114">
                        <a:pos x="T44" y="T45"/>
                      </a:cxn>
                      <a:cxn ang="T115">
                        <a:pos x="T46" y="T47"/>
                      </a:cxn>
                      <a:cxn ang="T116">
                        <a:pos x="T48" y="T49"/>
                      </a:cxn>
                      <a:cxn ang="T117">
                        <a:pos x="T50" y="T51"/>
                      </a:cxn>
                      <a:cxn ang="T118">
                        <a:pos x="T52" y="T53"/>
                      </a:cxn>
                      <a:cxn ang="T119">
                        <a:pos x="T54" y="T55"/>
                      </a:cxn>
                      <a:cxn ang="T120">
                        <a:pos x="T56" y="T57"/>
                      </a:cxn>
                      <a:cxn ang="T121">
                        <a:pos x="T58" y="T59"/>
                      </a:cxn>
                      <a:cxn ang="T122">
                        <a:pos x="T60" y="T61"/>
                      </a:cxn>
                      <a:cxn ang="T123">
                        <a:pos x="T62" y="T63"/>
                      </a:cxn>
                      <a:cxn ang="T124">
                        <a:pos x="T64" y="T65"/>
                      </a:cxn>
                      <a:cxn ang="T125">
                        <a:pos x="T66" y="T67"/>
                      </a:cxn>
                      <a:cxn ang="T126">
                        <a:pos x="T68" y="T69"/>
                      </a:cxn>
                      <a:cxn ang="T127">
                        <a:pos x="T70" y="T71"/>
                      </a:cxn>
                      <a:cxn ang="T128">
                        <a:pos x="T72" y="T73"/>
                      </a:cxn>
                      <a:cxn ang="T129">
                        <a:pos x="T74" y="T75"/>
                      </a:cxn>
                      <a:cxn ang="T130">
                        <a:pos x="T76" y="T77"/>
                      </a:cxn>
                      <a:cxn ang="T131">
                        <a:pos x="T78" y="T79"/>
                      </a:cxn>
                      <a:cxn ang="T132">
                        <a:pos x="T80" y="T81"/>
                      </a:cxn>
                      <a:cxn ang="T133">
                        <a:pos x="T82" y="T83"/>
                      </a:cxn>
                      <a:cxn ang="T134">
                        <a:pos x="T84" y="T85"/>
                      </a:cxn>
                      <a:cxn ang="T135">
                        <a:pos x="T86" y="T87"/>
                      </a:cxn>
                      <a:cxn ang="T136">
                        <a:pos x="T88" y="T89"/>
                      </a:cxn>
                      <a:cxn ang="T137">
                        <a:pos x="T90" y="T91"/>
                      </a:cxn>
                    </a:cxnLst>
                    <a:rect l="T138" t="T139" r="T140" b="T141"/>
                    <a:pathLst>
                      <a:path w="518" h="534">
                        <a:moveTo>
                          <a:pt x="0" y="409"/>
                        </a:moveTo>
                        <a:lnTo>
                          <a:pt x="0" y="356"/>
                        </a:lnTo>
                        <a:lnTo>
                          <a:pt x="0" y="298"/>
                        </a:lnTo>
                        <a:lnTo>
                          <a:pt x="0" y="244"/>
                        </a:lnTo>
                        <a:lnTo>
                          <a:pt x="56" y="244"/>
                        </a:lnTo>
                        <a:lnTo>
                          <a:pt x="56" y="206"/>
                        </a:lnTo>
                        <a:lnTo>
                          <a:pt x="56" y="149"/>
                        </a:lnTo>
                        <a:lnTo>
                          <a:pt x="56" y="93"/>
                        </a:lnTo>
                        <a:lnTo>
                          <a:pt x="56" y="40"/>
                        </a:lnTo>
                        <a:lnTo>
                          <a:pt x="61" y="35"/>
                        </a:lnTo>
                        <a:lnTo>
                          <a:pt x="141" y="20"/>
                        </a:lnTo>
                        <a:lnTo>
                          <a:pt x="158" y="17"/>
                        </a:lnTo>
                        <a:lnTo>
                          <a:pt x="164" y="17"/>
                        </a:lnTo>
                        <a:lnTo>
                          <a:pt x="181" y="18"/>
                        </a:lnTo>
                        <a:lnTo>
                          <a:pt x="192" y="22"/>
                        </a:lnTo>
                        <a:lnTo>
                          <a:pt x="199" y="34"/>
                        </a:lnTo>
                        <a:lnTo>
                          <a:pt x="202" y="49"/>
                        </a:lnTo>
                        <a:lnTo>
                          <a:pt x="208" y="41"/>
                        </a:lnTo>
                        <a:lnTo>
                          <a:pt x="217" y="30"/>
                        </a:lnTo>
                        <a:lnTo>
                          <a:pt x="233" y="18"/>
                        </a:lnTo>
                        <a:lnTo>
                          <a:pt x="260" y="12"/>
                        </a:lnTo>
                        <a:lnTo>
                          <a:pt x="265" y="6"/>
                        </a:lnTo>
                        <a:lnTo>
                          <a:pt x="272" y="1"/>
                        </a:lnTo>
                        <a:lnTo>
                          <a:pt x="283" y="0"/>
                        </a:lnTo>
                        <a:lnTo>
                          <a:pt x="291" y="2"/>
                        </a:lnTo>
                        <a:lnTo>
                          <a:pt x="291" y="11"/>
                        </a:lnTo>
                        <a:lnTo>
                          <a:pt x="294" y="17"/>
                        </a:lnTo>
                        <a:lnTo>
                          <a:pt x="307" y="39"/>
                        </a:lnTo>
                        <a:lnTo>
                          <a:pt x="317" y="49"/>
                        </a:lnTo>
                        <a:lnTo>
                          <a:pt x="319" y="60"/>
                        </a:lnTo>
                        <a:lnTo>
                          <a:pt x="325" y="74"/>
                        </a:lnTo>
                        <a:lnTo>
                          <a:pt x="339" y="93"/>
                        </a:lnTo>
                        <a:lnTo>
                          <a:pt x="368" y="124"/>
                        </a:lnTo>
                        <a:lnTo>
                          <a:pt x="385" y="127"/>
                        </a:lnTo>
                        <a:lnTo>
                          <a:pt x="398" y="137"/>
                        </a:lnTo>
                        <a:lnTo>
                          <a:pt x="407" y="151"/>
                        </a:lnTo>
                        <a:lnTo>
                          <a:pt x="420" y="154"/>
                        </a:lnTo>
                        <a:lnTo>
                          <a:pt x="431" y="164"/>
                        </a:lnTo>
                        <a:lnTo>
                          <a:pt x="431" y="185"/>
                        </a:lnTo>
                        <a:lnTo>
                          <a:pt x="434" y="205"/>
                        </a:lnTo>
                        <a:lnTo>
                          <a:pt x="441" y="218"/>
                        </a:lnTo>
                        <a:lnTo>
                          <a:pt x="449" y="227"/>
                        </a:lnTo>
                        <a:lnTo>
                          <a:pt x="458" y="232"/>
                        </a:lnTo>
                        <a:lnTo>
                          <a:pt x="470" y="234"/>
                        </a:lnTo>
                        <a:lnTo>
                          <a:pt x="484" y="234"/>
                        </a:lnTo>
                        <a:lnTo>
                          <a:pt x="497" y="240"/>
                        </a:lnTo>
                        <a:lnTo>
                          <a:pt x="507" y="244"/>
                        </a:lnTo>
                        <a:lnTo>
                          <a:pt x="518" y="253"/>
                        </a:lnTo>
                        <a:lnTo>
                          <a:pt x="517" y="256"/>
                        </a:lnTo>
                        <a:lnTo>
                          <a:pt x="506" y="261"/>
                        </a:lnTo>
                        <a:lnTo>
                          <a:pt x="492" y="270"/>
                        </a:lnTo>
                        <a:lnTo>
                          <a:pt x="454" y="288"/>
                        </a:lnTo>
                        <a:lnTo>
                          <a:pt x="438" y="305"/>
                        </a:lnTo>
                        <a:lnTo>
                          <a:pt x="418" y="318"/>
                        </a:lnTo>
                        <a:lnTo>
                          <a:pt x="399" y="336"/>
                        </a:lnTo>
                        <a:lnTo>
                          <a:pt x="388" y="352"/>
                        </a:lnTo>
                        <a:lnTo>
                          <a:pt x="371" y="377"/>
                        </a:lnTo>
                        <a:lnTo>
                          <a:pt x="344" y="396"/>
                        </a:lnTo>
                        <a:lnTo>
                          <a:pt x="329" y="415"/>
                        </a:lnTo>
                        <a:lnTo>
                          <a:pt x="314" y="449"/>
                        </a:lnTo>
                        <a:lnTo>
                          <a:pt x="309" y="455"/>
                        </a:lnTo>
                        <a:lnTo>
                          <a:pt x="301" y="459"/>
                        </a:lnTo>
                        <a:lnTo>
                          <a:pt x="290" y="460"/>
                        </a:lnTo>
                        <a:lnTo>
                          <a:pt x="265" y="466"/>
                        </a:lnTo>
                        <a:lnTo>
                          <a:pt x="250" y="465"/>
                        </a:lnTo>
                        <a:lnTo>
                          <a:pt x="227" y="452"/>
                        </a:lnTo>
                        <a:lnTo>
                          <a:pt x="215" y="447"/>
                        </a:lnTo>
                        <a:lnTo>
                          <a:pt x="201" y="445"/>
                        </a:lnTo>
                        <a:lnTo>
                          <a:pt x="189" y="449"/>
                        </a:lnTo>
                        <a:lnTo>
                          <a:pt x="170" y="469"/>
                        </a:lnTo>
                        <a:lnTo>
                          <a:pt x="163" y="477"/>
                        </a:lnTo>
                        <a:lnTo>
                          <a:pt x="161" y="485"/>
                        </a:lnTo>
                        <a:lnTo>
                          <a:pt x="152" y="496"/>
                        </a:lnTo>
                        <a:lnTo>
                          <a:pt x="140" y="503"/>
                        </a:lnTo>
                        <a:lnTo>
                          <a:pt x="135" y="508"/>
                        </a:lnTo>
                        <a:lnTo>
                          <a:pt x="125" y="525"/>
                        </a:lnTo>
                        <a:lnTo>
                          <a:pt x="90" y="534"/>
                        </a:lnTo>
                        <a:lnTo>
                          <a:pt x="72" y="533"/>
                        </a:lnTo>
                        <a:lnTo>
                          <a:pt x="56" y="530"/>
                        </a:lnTo>
                        <a:lnTo>
                          <a:pt x="46" y="528"/>
                        </a:lnTo>
                        <a:lnTo>
                          <a:pt x="43" y="519"/>
                        </a:lnTo>
                        <a:lnTo>
                          <a:pt x="50" y="498"/>
                        </a:lnTo>
                        <a:lnTo>
                          <a:pt x="52" y="485"/>
                        </a:lnTo>
                        <a:lnTo>
                          <a:pt x="52" y="479"/>
                        </a:lnTo>
                        <a:lnTo>
                          <a:pt x="51" y="461"/>
                        </a:lnTo>
                        <a:lnTo>
                          <a:pt x="44" y="449"/>
                        </a:lnTo>
                        <a:lnTo>
                          <a:pt x="30" y="438"/>
                        </a:lnTo>
                        <a:lnTo>
                          <a:pt x="25" y="429"/>
                        </a:lnTo>
                        <a:lnTo>
                          <a:pt x="13" y="418"/>
                        </a:lnTo>
                        <a:lnTo>
                          <a:pt x="11" y="415"/>
                        </a:lnTo>
                        <a:lnTo>
                          <a:pt x="5" y="409"/>
                        </a:lnTo>
                        <a:lnTo>
                          <a:pt x="0" y="409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86" name="Freeform 38"/>
                  <p:cNvSpPr>
                    <a:spLocks/>
                  </p:cNvSpPr>
                  <p:nvPr/>
                </p:nvSpPr>
                <p:spPr bwMode="gray">
                  <a:xfrm>
                    <a:off x="2351" y="2347"/>
                    <a:ext cx="81" cy="61"/>
                  </a:xfrm>
                  <a:custGeom>
                    <a:avLst/>
                    <a:gdLst>
                      <a:gd name="T0" fmla="*/ 7 w 404"/>
                      <a:gd name="T1" fmla="*/ 1 h 307"/>
                      <a:gd name="T2" fmla="*/ 6 w 404"/>
                      <a:gd name="T3" fmla="*/ 1 h 307"/>
                      <a:gd name="T4" fmla="*/ 5 w 404"/>
                      <a:gd name="T5" fmla="*/ 0 h 307"/>
                      <a:gd name="T6" fmla="*/ 4 w 404"/>
                      <a:gd name="T7" fmla="*/ 0 h 307"/>
                      <a:gd name="T8" fmla="*/ 3 w 404"/>
                      <a:gd name="T9" fmla="*/ 1 h 307"/>
                      <a:gd name="T10" fmla="*/ 3 w 404"/>
                      <a:gd name="T11" fmla="*/ 1 h 307"/>
                      <a:gd name="T12" fmla="*/ 3 w 404"/>
                      <a:gd name="T13" fmla="*/ 2 h 307"/>
                      <a:gd name="T14" fmla="*/ 1 w 404"/>
                      <a:gd name="T15" fmla="*/ 3 h 307"/>
                      <a:gd name="T16" fmla="*/ 0 w 404"/>
                      <a:gd name="T17" fmla="*/ 4 h 307"/>
                      <a:gd name="T18" fmla="*/ 1 w 404"/>
                      <a:gd name="T19" fmla="*/ 4 h 307"/>
                      <a:gd name="T20" fmla="*/ 1 w 404"/>
                      <a:gd name="T21" fmla="*/ 5 h 307"/>
                      <a:gd name="T22" fmla="*/ 3 w 404"/>
                      <a:gd name="T23" fmla="*/ 6 h 307"/>
                      <a:gd name="T24" fmla="*/ 4 w 404"/>
                      <a:gd name="T25" fmla="*/ 8 h 307"/>
                      <a:gd name="T26" fmla="*/ 4 w 404"/>
                      <a:gd name="T27" fmla="*/ 8 h 307"/>
                      <a:gd name="T28" fmla="*/ 5 w 404"/>
                      <a:gd name="T29" fmla="*/ 8 h 307"/>
                      <a:gd name="T30" fmla="*/ 6 w 404"/>
                      <a:gd name="T31" fmla="*/ 7 h 307"/>
                      <a:gd name="T32" fmla="*/ 6 w 404"/>
                      <a:gd name="T33" fmla="*/ 6 h 307"/>
                      <a:gd name="T34" fmla="*/ 8 w 404"/>
                      <a:gd name="T35" fmla="*/ 6 h 307"/>
                      <a:gd name="T36" fmla="*/ 9 w 404"/>
                      <a:gd name="T37" fmla="*/ 7 h 307"/>
                      <a:gd name="T38" fmla="*/ 10 w 404"/>
                      <a:gd name="T39" fmla="*/ 7 h 307"/>
                      <a:gd name="T40" fmla="*/ 10 w 404"/>
                      <a:gd name="T41" fmla="*/ 8 h 307"/>
                      <a:gd name="T42" fmla="*/ 10 w 404"/>
                      <a:gd name="T43" fmla="*/ 9 h 307"/>
                      <a:gd name="T44" fmla="*/ 10 w 404"/>
                      <a:gd name="T45" fmla="*/ 9 h 307"/>
                      <a:gd name="T46" fmla="*/ 11 w 404"/>
                      <a:gd name="T47" fmla="*/ 10 h 307"/>
                      <a:gd name="T48" fmla="*/ 11 w 404"/>
                      <a:gd name="T49" fmla="*/ 9 h 307"/>
                      <a:gd name="T50" fmla="*/ 12 w 404"/>
                      <a:gd name="T51" fmla="*/ 9 h 307"/>
                      <a:gd name="T52" fmla="*/ 13 w 404"/>
                      <a:gd name="T53" fmla="*/ 11 h 307"/>
                      <a:gd name="T54" fmla="*/ 12 w 404"/>
                      <a:gd name="T55" fmla="*/ 12 h 307"/>
                      <a:gd name="T56" fmla="*/ 13 w 404"/>
                      <a:gd name="T57" fmla="*/ 12 h 307"/>
                      <a:gd name="T58" fmla="*/ 14 w 404"/>
                      <a:gd name="T59" fmla="*/ 12 h 307"/>
                      <a:gd name="T60" fmla="*/ 15 w 404"/>
                      <a:gd name="T61" fmla="*/ 11 h 307"/>
                      <a:gd name="T62" fmla="*/ 15 w 404"/>
                      <a:gd name="T63" fmla="*/ 10 h 307"/>
                      <a:gd name="T64" fmla="*/ 15 w 404"/>
                      <a:gd name="T65" fmla="*/ 10 h 307"/>
                      <a:gd name="T66" fmla="*/ 15 w 404"/>
                      <a:gd name="T67" fmla="*/ 9 h 307"/>
                      <a:gd name="T68" fmla="*/ 16 w 404"/>
                      <a:gd name="T69" fmla="*/ 9 h 307"/>
                      <a:gd name="T70" fmla="*/ 16 w 404"/>
                      <a:gd name="T71" fmla="*/ 9 h 307"/>
                      <a:gd name="T72" fmla="*/ 16 w 404"/>
                      <a:gd name="T73" fmla="*/ 9 h 307"/>
                      <a:gd name="T74" fmla="*/ 16 w 404"/>
                      <a:gd name="T75" fmla="*/ 8 h 307"/>
                      <a:gd name="T76" fmla="*/ 15 w 404"/>
                      <a:gd name="T77" fmla="*/ 7 h 307"/>
                      <a:gd name="T78" fmla="*/ 15 w 404"/>
                      <a:gd name="T79" fmla="*/ 6 h 307"/>
                      <a:gd name="T80" fmla="*/ 15 w 404"/>
                      <a:gd name="T81" fmla="*/ 5 h 307"/>
                      <a:gd name="T82" fmla="*/ 15 w 404"/>
                      <a:gd name="T83" fmla="*/ 4 h 307"/>
                      <a:gd name="T84" fmla="*/ 14 w 404"/>
                      <a:gd name="T85" fmla="*/ 4 h 307"/>
                      <a:gd name="T86" fmla="*/ 15 w 404"/>
                      <a:gd name="T87" fmla="*/ 3 h 307"/>
                      <a:gd name="T88" fmla="*/ 14 w 404"/>
                      <a:gd name="T89" fmla="*/ 3 h 307"/>
                      <a:gd name="T90" fmla="*/ 14 w 404"/>
                      <a:gd name="T91" fmla="*/ 2 h 307"/>
                      <a:gd name="T92" fmla="*/ 13 w 404"/>
                      <a:gd name="T93" fmla="*/ 1 h 307"/>
                      <a:gd name="T94" fmla="*/ 13 w 404"/>
                      <a:gd name="T95" fmla="*/ 0 h 307"/>
                      <a:gd name="T96" fmla="*/ 13 w 404"/>
                      <a:gd name="T97" fmla="*/ 0 h 307"/>
                      <a:gd name="T98" fmla="*/ 12 w 404"/>
                      <a:gd name="T99" fmla="*/ 2 h 307"/>
                      <a:gd name="T100" fmla="*/ 10 w 404"/>
                      <a:gd name="T101" fmla="*/ 1 h 307"/>
                      <a:gd name="T102" fmla="*/ 9 w 404"/>
                      <a:gd name="T103" fmla="*/ 1 h 307"/>
                      <a:gd name="T104" fmla="*/ 8 w 404"/>
                      <a:gd name="T105" fmla="*/ 2 h 307"/>
                      <a:gd name="T106" fmla="*/ 8 w 404"/>
                      <a:gd name="T107" fmla="*/ 1 h 307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w 404"/>
                      <a:gd name="T163" fmla="*/ 0 h 307"/>
                      <a:gd name="T164" fmla="*/ 404 w 404"/>
                      <a:gd name="T165" fmla="*/ 307 h 307"/>
                    </a:gdLst>
                    <a:ahLst/>
                    <a:cxnLst>
                      <a:cxn ang="T108">
                        <a:pos x="T0" y="T1"/>
                      </a:cxn>
                      <a:cxn ang="T109">
                        <a:pos x="T2" y="T3"/>
                      </a:cxn>
                      <a:cxn ang="T110">
                        <a:pos x="T4" y="T5"/>
                      </a:cxn>
                      <a:cxn ang="T111">
                        <a:pos x="T6" y="T7"/>
                      </a:cxn>
                      <a:cxn ang="T112">
                        <a:pos x="T8" y="T9"/>
                      </a:cxn>
                      <a:cxn ang="T113">
                        <a:pos x="T10" y="T11"/>
                      </a:cxn>
                      <a:cxn ang="T114">
                        <a:pos x="T12" y="T13"/>
                      </a:cxn>
                      <a:cxn ang="T115">
                        <a:pos x="T14" y="T15"/>
                      </a:cxn>
                      <a:cxn ang="T116">
                        <a:pos x="T16" y="T17"/>
                      </a:cxn>
                      <a:cxn ang="T117">
                        <a:pos x="T18" y="T19"/>
                      </a:cxn>
                      <a:cxn ang="T118">
                        <a:pos x="T20" y="T21"/>
                      </a:cxn>
                      <a:cxn ang="T119">
                        <a:pos x="T22" y="T23"/>
                      </a:cxn>
                      <a:cxn ang="T120">
                        <a:pos x="T24" y="T25"/>
                      </a:cxn>
                      <a:cxn ang="T121">
                        <a:pos x="T26" y="T27"/>
                      </a:cxn>
                      <a:cxn ang="T122">
                        <a:pos x="T28" y="T29"/>
                      </a:cxn>
                      <a:cxn ang="T123">
                        <a:pos x="T30" y="T31"/>
                      </a:cxn>
                      <a:cxn ang="T124">
                        <a:pos x="T32" y="T33"/>
                      </a:cxn>
                      <a:cxn ang="T125">
                        <a:pos x="T34" y="T35"/>
                      </a:cxn>
                      <a:cxn ang="T126">
                        <a:pos x="T36" y="T37"/>
                      </a:cxn>
                      <a:cxn ang="T127">
                        <a:pos x="T38" y="T39"/>
                      </a:cxn>
                      <a:cxn ang="T128">
                        <a:pos x="T40" y="T41"/>
                      </a:cxn>
                      <a:cxn ang="T129">
                        <a:pos x="T42" y="T43"/>
                      </a:cxn>
                      <a:cxn ang="T130">
                        <a:pos x="T44" y="T45"/>
                      </a:cxn>
                      <a:cxn ang="T131">
                        <a:pos x="T46" y="T47"/>
                      </a:cxn>
                      <a:cxn ang="T132">
                        <a:pos x="T48" y="T49"/>
                      </a:cxn>
                      <a:cxn ang="T133">
                        <a:pos x="T50" y="T51"/>
                      </a:cxn>
                      <a:cxn ang="T134">
                        <a:pos x="T52" y="T53"/>
                      </a:cxn>
                      <a:cxn ang="T135">
                        <a:pos x="T54" y="T55"/>
                      </a:cxn>
                      <a:cxn ang="T136">
                        <a:pos x="T56" y="T57"/>
                      </a:cxn>
                      <a:cxn ang="T137">
                        <a:pos x="T58" y="T59"/>
                      </a:cxn>
                      <a:cxn ang="T138">
                        <a:pos x="T60" y="T61"/>
                      </a:cxn>
                      <a:cxn ang="T139">
                        <a:pos x="T62" y="T63"/>
                      </a:cxn>
                      <a:cxn ang="T140">
                        <a:pos x="T64" y="T65"/>
                      </a:cxn>
                      <a:cxn ang="T141">
                        <a:pos x="T66" y="T67"/>
                      </a:cxn>
                      <a:cxn ang="T142">
                        <a:pos x="T68" y="T69"/>
                      </a:cxn>
                      <a:cxn ang="T143">
                        <a:pos x="T70" y="T71"/>
                      </a:cxn>
                      <a:cxn ang="T144">
                        <a:pos x="T72" y="T73"/>
                      </a:cxn>
                      <a:cxn ang="T145">
                        <a:pos x="T74" y="T75"/>
                      </a:cxn>
                      <a:cxn ang="T146">
                        <a:pos x="T76" y="T77"/>
                      </a:cxn>
                      <a:cxn ang="T147">
                        <a:pos x="T78" y="T79"/>
                      </a:cxn>
                      <a:cxn ang="T148">
                        <a:pos x="T80" y="T81"/>
                      </a:cxn>
                      <a:cxn ang="T149">
                        <a:pos x="T82" y="T83"/>
                      </a:cxn>
                      <a:cxn ang="T150">
                        <a:pos x="T84" y="T85"/>
                      </a:cxn>
                      <a:cxn ang="T151">
                        <a:pos x="T86" y="T87"/>
                      </a:cxn>
                      <a:cxn ang="T152">
                        <a:pos x="T88" y="T89"/>
                      </a:cxn>
                      <a:cxn ang="T153">
                        <a:pos x="T90" y="T91"/>
                      </a:cxn>
                      <a:cxn ang="T154">
                        <a:pos x="T92" y="T93"/>
                      </a:cxn>
                      <a:cxn ang="T155">
                        <a:pos x="T94" y="T95"/>
                      </a:cxn>
                      <a:cxn ang="T156">
                        <a:pos x="T96" y="T97"/>
                      </a:cxn>
                      <a:cxn ang="T157">
                        <a:pos x="T98" y="T99"/>
                      </a:cxn>
                      <a:cxn ang="T158">
                        <a:pos x="T100" y="T101"/>
                      </a:cxn>
                      <a:cxn ang="T159">
                        <a:pos x="T102" y="T103"/>
                      </a:cxn>
                      <a:cxn ang="T160">
                        <a:pos x="T104" y="T105"/>
                      </a:cxn>
                      <a:cxn ang="T161">
                        <a:pos x="T106" y="T107"/>
                      </a:cxn>
                    </a:cxnLst>
                    <a:rect l="T162" t="T163" r="T164" b="T165"/>
                    <a:pathLst>
                      <a:path w="404" h="307">
                        <a:moveTo>
                          <a:pt x="205" y="15"/>
                        </a:moveTo>
                        <a:lnTo>
                          <a:pt x="195" y="15"/>
                        </a:lnTo>
                        <a:lnTo>
                          <a:pt x="189" y="18"/>
                        </a:lnTo>
                        <a:lnTo>
                          <a:pt x="185" y="18"/>
                        </a:lnTo>
                        <a:lnTo>
                          <a:pt x="174" y="17"/>
                        </a:lnTo>
                        <a:lnTo>
                          <a:pt x="172" y="18"/>
                        </a:lnTo>
                        <a:lnTo>
                          <a:pt x="165" y="18"/>
                        </a:lnTo>
                        <a:lnTo>
                          <a:pt x="157" y="20"/>
                        </a:lnTo>
                        <a:lnTo>
                          <a:pt x="151" y="20"/>
                        </a:lnTo>
                        <a:lnTo>
                          <a:pt x="146" y="18"/>
                        </a:lnTo>
                        <a:lnTo>
                          <a:pt x="142" y="18"/>
                        </a:lnTo>
                        <a:lnTo>
                          <a:pt x="135" y="15"/>
                        </a:lnTo>
                        <a:lnTo>
                          <a:pt x="128" y="15"/>
                        </a:lnTo>
                        <a:lnTo>
                          <a:pt x="122" y="9"/>
                        </a:lnTo>
                        <a:lnTo>
                          <a:pt x="119" y="11"/>
                        </a:lnTo>
                        <a:lnTo>
                          <a:pt x="119" y="14"/>
                        </a:lnTo>
                        <a:lnTo>
                          <a:pt x="112" y="13"/>
                        </a:lnTo>
                        <a:lnTo>
                          <a:pt x="112" y="7"/>
                        </a:lnTo>
                        <a:lnTo>
                          <a:pt x="109" y="4"/>
                        </a:lnTo>
                        <a:lnTo>
                          <a:pt x="101" y="3"/>
                        </a:lnTo>
                        <a:lnTo>
                          <a:pt x="95" y="4"/>
                        </a:lnTo>
                        <a:lnTo>
                          <a:pt x="90" y="1"/>
                        </a:lnTo>
                        <a:lnTo>
                          <a:pt x="76" y="0"/>
                        </a:lnTo>
                        <a:lnTo>
                          <a:pt x="76" y="7"/>
                        </a:lnTo>
                        <a:lnTo>
                          <a:pt x="80" y="14"/>
                        </a:lnTo>
                        <a:lnTo>
                          <a:pt x="80" y="18"/>
                        </a:lnTo>
                        <a:lnTo>
                          <a:pt x="77" y="24"/>
                        </a:lnTo>
                        <a:lnTo>
                          <a:pt x="75" y="25"/>
                        </a:lnTo>
                        <a:lnTo>
                          <a:pt x="69" y="25"/>
                        </a:lnTo>
                        <a:lnTo>
                          <a:pt x="67" y="27"/>
                        </a:lnTo>
                        <a:lnTo>
                          <a:pt x="65" y="30"/>
                        </a:lnTo>
                        <a:lnTo>
                          <a:pt x="71" y="34"/>
                        </a:lnTo>
                        <a:lnTo>
                          <a:pt x="74" y="39"/>
                        </a:lnTo>
                        <a:lnTo>
                          <a:pt x="75" y="57"/>
                        </a:lnTo>
                        <a:lnTo>
                          <a:pt x="69" y="57"/>
                        </a:lnTo>
                        <a:lnTo>
                          <a:pt x="65" y="60"/>
                        </a:lnTo>
                        <a:lnTo>
                          <a:pt x="45" y="60"/>
                        </a:lnTo>
                        <a:lnTo>
                          <a:pt x="28" y="67"/>
                        </a:lnTo>
                        <a:lnTo>
                          <a:pt x="21" y="73"/>
                        </a:lnTo>
                        <a:lnTo>
                          <a:pt x="17" y="81"/>
                        </a:lnTo>
                        <a:lnTo>
                          <a:pt x="13" y="89"/>
                        </a:lnTo>
                        <a:lnTo>
                          <a:pt x="11" y="93"/>
                        </a:lnTo>
                        <a:lnTo>
                          <a:pt x="6" y="97"/>
                        </a:lnTo>
                        <a:lnTo>
                          <a:pt x="0" y="99"/>
                        </a:lnTo>
                        <a:lnTo>
                          <a:pt x="1" y="109"/>
                        </a:lnTo>
                        <a:lnTo>
                          <a:pt x="5" y="110"/>
                        </a:lnTo>
                        <a:lnTo>
                          <a:pt x="7" y="110"/>
                        </a:lnTo>
                        <a:lnTo>
                          <a:pt x="10" y="109"/>
                        </a:lnTo>
                        <a:lnTo>
                          <a:pt x="13" y="101"/>
                        </a:lnTo>
                        <a:lnTo>
                          <a:pt x="17" y="100"/>
                        </a:lnTo>
                        <a:lnTo>
                          <a:pt x="21" y="114"/>
                        </a:lnTo>
                        <a:lnTo>
                          <a:pt x="29" y="115"/>
                        </a:lnTo>
                        <a:lnTo>
                          <a:pt x="31" y="116"/>
                        </a:lnTo>
                        <a:lnTo>
                          <a:pt x="31" y="128"/>
                        </a:lnTo>
                        <a:lnTo>
                          <a:pt x="36" y="141"/>
                        </a:lnTo>
                        <a:lnTo>
                          <a:pt x="39" y="146"/>
                        </a:lnTo>
                        <a:lnTo>
                          <a:pt x="47" y="148"/>
                        </a:lnTo>
                        <a:lnTo>
                          <a:pt x="55" y="154"/>
                        </a:lnTo>
                        <a:lnTo>
                          <a:pt x="66" y="159"/>
                        </a:lnTo>
                        <a:lnTo>
                          <a:pt x="74" y="168"/>
                        </a:lnTo>
                        <a:lnTo>
                          <a:pt x="75" y="179"/>
                        </a:lnTo>
                        <a:lnTo>
                          <a:pt x="83" y="183"/>
                        </a:lnTo>
                        <a:lnTo>
                          <a:pt x="86" y="187"/>
                        </a:lnTo>
                        <a:lnTo>
                          <a:pt x="88" y="190"/>
                        </a:lnTo>
                        <a:lnTo>
                          <a:pt x="88" y="192"/>
                        </a:lnTo>
                        <a:lnTo>
                          <a:pt x="93" y="195"/>
                        </a:lnTo>
                        <a:lnTo>
                          <a:pt x="97" y="200"/>
                        </a:lnTo>
                        <a:lnTo>
                          <a:pt x="98" y="201"/>
                        </a:lnTo>
                        <a:lnTo>
                          <a:pt x="104" y="203"/>
                        </a:lnTo>
                        <a:lnTo>
                          <a:pt x="110" y="203"/>
                        </a:lnTo>
                        <a:lnTo>
                          <a:pt x="113" y="202"/>
                        </a:lnTo>
                        <a:lnTo>
                          <a:pt x="115" y="201"/>
                        </a:lnTo>
                        <a:lnTo>
                          <a:pt x="119" y="191"/>
                        </a:lnTo>
                        <a:lnTo>
                          <a:pt x="124" y="191"/>
                        </a:lnTo>
                        <a:lnTo>
                          <a:pt x="128" y="189"/>
                        </a:lnTo>
                        <a:lnTo>
                          <a:pt x="128" y="184"/>
                        </a:lnTo>
                        <a:lnTo>
                          <a:pt x="133" y="183"/>
                        </a:lnTo>
                        <a:lnTo>
                          <a:pt x="139" y="175"/>
                        </a:lnTo>
                        <a:lnTo>
                          <a:pt x="142" y="168"/>
                        </a:lnTo>
                        <a:lnTo>
                          <a:pt x="141" y="159"/>
                        </a:lnTo>
                        <a:lnTo>
                          <a:pt x="145" y="158"/>
                        </a:lnTo>
                        <a:lnTo>
                          <a:pt x="153" y="157"/>
                        </a:lnTo>
                        <a:lnTo>
                          <a:pt x="157" y="159"/>
                        </a:lnTo>
                        <a:lnTo>
                          <a:pt x="161" y="159"/>
                        </a:lnTo>
                        <a:lnTo>
                          <a:pt x="166" y="157"/>
                        </a:lnTo>
                        <a:lnTo>
                          <a:pt x="172" y="157"/>
                        </a:lnTo>
                        <a:lnTo>
                          <a:pt x="172" y="152"/>
                        </a:lnTo>
                        <a:lnTo>
                          <a:pt x="198" y="152"/>
                        </a:lnTo>
                        <a:lnTo>
                          <a:pt x="211" y="153"/>
                        </a:lnTo>
                        <a:lnTo>
                          <a:pt x="215" y="160"/>
                        </a:lnTo>
                        <a:lnTo>
                          <a:pt x="221" y="164"/>
                        </a:lnTo>
                        <a:lnTo>
                          <a:pt x="225" y="169"/>
                        </a:lnTo>
                        <a:lnTo>
                          <a:pt x="230" y="173"/>
                        </a:lnTo>
                        <a:lnTo>
                          <a:pt x="230" y="175"/>
                        </a:lnTo>
                        <a:lnTo>
                          <a:pt x="232" y="179"/>
                        </a:lnTo>
                        <a:lnTo>
                          <a:pt x="231" y="181"/>
                        </a:lnTo>
                        <a:lnTo>
                          <a:pt x="231" y="184"/>
                        </a:lnTo>
                        <a:lnTo>
                          <a:pt x="238" y="186"/>
                        </a:lnTo>
                        <a:lnTo>
                          <a:pt x="241" y="187"/>
                        </a:lnTo>
                        <a:lnTo>
                          <a:pt x="241" y="190"/>
                        </a:lnTo>
                        <a:lnTo>
                          <a:pt x="239" y="192"/>
                        </a:lnTo>
                        <a:lnTo>
                          <a:pt x="241" y="197"/>
                        </a:lnTo>
                        <a:lnTo>
                          <a:pt x="239" y="197"/>
                        </a:lnTo>
                        <a:lnTo>
                          <a:pt x="241" y="202"/>
                        </a:lnTo>
                        <a:lnTo>
                          <a:pt x="242" y="205"/>
                        </a:lnTo>
                        <a:lnTo>
                          <a:pt x="247" y="208"/>
                        </a:lnTo>
                        <a:lnTo>
                          <a:pt x="248" y="212"/>
                        </a:lnTo>
                        <a:lnTo>
                          <a:pt x="251" y="222"/>
                        </a:lnTo>
                        <a:lnTo>
                          <a:pt x="249" y="223"/>
                        </a:lnTo>
                        <a:lnTo>
                          <a:pt x="244" y="226"/>
                        </a:lnTo>
                        <a:lnTo>
                          <a:pt x="242" y="237"/>
                        </a:lnTo>
                        <a:lnTo>
                          <a:pt x="239" y="242"/>
                        </a:lnTo>
                        <a:lnTo>
                          <a:pt x="239" y="244"/>
                        </a:lnTo>
                        <a:lnTo>
                          <a:pt x="252" y="239"/>
                        </a:lnTo>
                        <a:lnTo>
                          <a:pt x="258" y="234"/>
                        </a:lnTo>
                        <a:lnTo>
                          <a:pt x="259" y="234"/>
                        </a:lnTo>
                        <a:lnTo>
                          <a:pt x="260" y="237"/>
                        </a:lnTo>
                        <a:lnTo>
                          <a:pt x="260" y="240"/>
                        </a:lnTo>
                        <a:lnTo>
                          <a:pt x="264" y="240"/>
                        </a:lnTo>
                        <a:lnTo>
                          <a:pt x="266" y="234"/>
                        </a:lnTo>
                        <a:lnTo>
                          <a:pt x="270" y="232"/>
                        </a:lnTo>
                        <a:lnTo>
                          <a:pt x="274" y="233"/>
                        </a:lnTo>
                        <a:lnTo>
                          <a:pt x="280" y="238"/>
                        </a:lnTo>
                        <a:lnTo>
                          <a:pt x="281" y="238"/>
                        </a:lnTo>
                        <a:lnTo>
                          <a:pt x="284" y="235"/>
                        </a:lnTo>
                        <a:lnTo>
                          <a:pt x="292" y="233"/>
                        </a:lnTo>
                        <a:lnTo>
                          <a:pt x="295" y="234"/>
                        </a:lnTo>
                        <a:lnTo>
                          <a:pt x="295" y="235"/>
                        </a:lnTo>
                        <a:lnTo>
                          <a:pt x="297" y="239"/>
                        </a:lnTo>
                        <a:lnTo>
                          <a:pt x="305" y="244"/>
                        </a:lnTo>
                        <a:lnTo>
                          <a:pt x="305" y="251"/>
                        </a:lnTo>
                        <a:lnTo>
                          <a:pt x="309" y="257"/>
                        </a:lnTo>
                        <a:lnTo>
                          <a:pt x="311" y="271"/>
                        </a:lnTo>
                        <a:lnTo>
                          <a:pt x="313" y="273"/>
                        </a:lnTo>
                        <a:lnTo>
                          <a:pt x="312" y="288"/>
                        </a:lnTo>
                        <a:lnTo>
                          <a:pt x="309" y="292"/>
                        </a:lnTo>
                        <a:lnTo>
                          <a:pt x="306" y="294"/>
                        </a:lnTo>
                        <a:lnTo>
                          <a:pt x="305" y="297"/>
                        </a:lnTo>
                        <a:lnTo>
                          <a:pt x="306" y="298"/>
                        </a:lnTo>
                        <a:lnTo>
                          <a:pt x="311" y="298"/>
                        </a:lnTo>
                        <a:lnTo>
                          <a:pt x="314" y="294"/>
                        </a:lnTo>
                        <a:lnTo>
                          <a:pt x="317" y="296"/>
                        </a:lnTo>
                        <a:lnTo>
                          <a:pt x="322" y="299"/>
                        </a:lnTo>
                        <a:lnTo>
                          <a:pt x="327" y="307"/>
                        </a:lnTo>
                        <a:lnTo>
                          <a:pt x="332" y="305"/>
                        </a:lnTo>
                        <a:lnTo>
                          <a:pt x="334" y="303"/>
                        </a:lnTo>
                        <a:lnTo>
                          <a:pt x="341" y="302"/>
                        </a:lnTo>
                        <a:lnTo>
                          <a:pt x="343" y="298"/>
                        </a:lnTo>
                        <a:lnTo>
                          <a:pt x="348" y="292"/>
                        </a:lnTo>
                        <a:lnTo>
                          <a:pt x="348" y="283"/>
                        </a:lnTo>
                        <a:lnTo>
                          <a:pt x="351" y="281"/>
                        </a:lnTo>
                        <a:lnTo>
                          <a:pt x="357" y="282"/>
                        </a:lnTo>
                        <a:lnTo>
                          <a:pt x="361" y="288"/>
                        </a:lnTo>
                        <a:lnTo>
                          <a:pt x="365" y="286"/>
                        </a:lnTo>
                        <a:lnTo>
                          <a:pt x="378" y="287"/>
                        </a:lnTo>
                        <a:lnTo>
                          <a:pt x="378" y="282"/>
                        </a:lnTo>
                        <a:lnTo>
                          <a:pt x="383" y="276"/>
                        </a:lnTo>
                        <a:lnTo>
                          <a:pt x="383" y="267"/>
                        </a:lnTo>
                        <a:lnTo>
                          <a:pt x="384" y="262"/>
                        </a:lnTo>
                        <a:lnTo>
                          <a:pt x="389" y="260"/>
                        </a:lnTo>
                        <a:lnTo>
                          <a:pt x="388" y="257"/>
                        </a:lnTo>
                        <a:lnTo>
                          <a:pt x="386" y="257"/>
                        </a:lnTo>
                        <a:lnTo>
                          <a:pt x="387" y="255"/>
                        </a:lnTo>
                        <a:lnTo>
                          <a:pt x="386" y="251"/>
                        </a:lnTo>
                        <a:lnTo>
                          <a:pt x="382" y="251"/>
                        </a:lnTo>
                        <a:lnTo>
                          <a:pt x="376" y="251"/>
                        </a:lnTo>
                        <a:lnTo>
                          <a:pt x="373" y="249"/>
                        </a:lnTo>
                        <a:lnTo>
                          <a:pt x="376" y="244"/>
                        </a:lnTo>
                        <a:lnTo>
                          <a:pt x="375" y="239"/>
                        </a:lnTo>
                        <a:lnTo>
                          <a:pt x="373" y="239"/>
                        </a:lnTo>
                        <a:lnTo>
                          <a:pt x="373" y="238"/>
                        </a:lnTo>
                        <a:lnTo>
                          <a:pt x="382" y="234"/>
                        </a:lnTo>
                        <a:lnTo>
                          <a:pt x="391" y="235"/>
                        </a:lnTo>
                        <a:lnTo>
                          <a:pt x="394" y="239"/>
                        </a:lnTo>
                        <a:lnTo>
                          <a:pt x="397" y="239"/>
                        </a:lnTo>
                        <a:lnTo>
                          <a:pt x="400" y="238"/>
                        </a:lnTo>
                        <a:lnTo>
                          <a:pt x="403" y="244"/>
                        </a:lnTo>
                        <a:lnTo>
                          <a:pt x="404" y="244"/>
                        </a:lnTo>
                        <a:lnTo>
                          <a:pt x="403" y="235"/>
                        </a:lnTo>
                        <a:lnTo>
                          <a:pt x="403" y="230"/>
                        </a:lnTo>
                        <a:lnTo>
                          <a:pt x="400" y="227"/>
                        </a:lnTo>
                        <a:lnTo>
                          <a:pt x="400" y="221"/>
                        </a:lnTo>
                        <a:lnTo>
                          <a:pt x="397" y="221"/>
                        </a:lnTo>
                        <a:lnTo>
                          <a:pt x="393" y="219"/>
                        </a:lnTo>
                        <a:lnTo>
                          <a:pt x="391" y="219"/>
                        </a:lnTo>
                        <a:lnTo>
                          <a:pt x="394" y="211"/>
                        </a:lnTo>
                        <a:lnTo>
                          <a:pt x="398" y="207"/>
                        </a:lnTo>
                        <a:lnTo>
                          <a:pt x="400" y="206"/>
                        </a:lnTo>
                        <a:lnTo>
                          <a:pt x="400" y="203"/>
                        </a:lnTo>
                        <a:lnTo>
                          <a:pt x="397" y="199"/>
                        </a:lnTo>
                        <a:lnTo>
                          <a:pt x="393" y="200"/>
                        </a:lnTo>
                        <a:lnTo>
                          <a:pt x="394" y="186"/>
                        </a:lnTo>
                        <a:lnTo>
                          <a:pt x="387" y="186"/>
                        </a:lnTo>
                        <a:lnTo>
                          <a:pt x="380" y="183"/>
                        </a:lnTo>
                        <a:lnTo>
                          <a:pt x="380" y="180"/>
                        </a:lnTo>
                        <a:lnTo>
                          <a:pt x="380" y="163"/>
                        </a:lnTo>
                        <a:lnTo>
                          <a:pt x="378" y="154"/>
                        </a:lnTo>
                        <a:lnTo>
                          <a:pt x="381" y="152"/>
                        </a:lnTo>
                        <a:lnTo>
                          <a:pt x="382" y="149"/>
                        </a:lnTo>
                        <a:lnTo>
                          <a:pt x="388" y="142"/>
                        </a:lnTo>
                        <a:lnTo>
                          <a:pt x="389" y="140"/>
                        </a:lnTo>
                        <a:lnTo>
                          <a:pt x="389" y="137"/>
                        </a:lnTo>
                        <a:lnTo>
                          <a:pt x="387" y="133"/>
                        </a:lnTo>
                        <a:lnTo>
                          <a:pt x="382" y="131"/>
                        </a:lnTo>
                        <a:lnTo>
                          <a:pt x="380" y="126"/>
                        </a:lnTo>
                        <a:lnTo>
                          <a:pt x="375" y="126"/>
                        </a:lnTo>
                        <a:lnTo>
                          <a:pt x="371" y="120"/>
                        </a:lnTo>
                        <a:lnTo>
                          <a:pt x="370" y="97"/>
                        </a:lnTo>
                        <a:lnTo>
                          <a:pt x="370" y="93"/>
                        </a:lnTo>
                        <a:lnTo>
                          <a:pt x="365" y="92"/>
                        </a:lnTo>
                        <a:lnTo>
                          <a:pt x="360" y="92"/>
                        </a:lnTo>
                        <a:lnTo>
                          <a:pt x="354" y="99"/>
                        </a:lnTo>
                        <a:lnTo>
                          <a:pt x="351" y="99"/>
                        </a:lnTo>
                        <a:lnTo>
                          <a:pt x="351" y="92"/>
                        </a:lnTo>
                        <a:lnTo>
                          <a:pt x="352" y="89"/>
                        </a:lnTo>
                        <a:lnTo>
                          <a:pt x="357" y="88"/>
                        </a:lnTo>
                        <a:lnTo>
                          <a:pt x="357" y="83"/>
                        </a:lnTo>
                        <a:lnTo>
                          <a:pt x="361" y="83"/>
                        </a:lnTo>
                        <a:lnTo>
                          <a:pt x="364" y="79"/>
                        </a:lnTo>
                        <a:lnTo>
                          <a:pt x="367" y="79"/>
                        </a:lnTo>
                        <a:lnTo>
                          <a:pt x="367" y="73"/>
                        </a:lnTo>
                        <a:lnTo>
                          <a:pt x="366" y="72"/>
                        </a:lnTo>
                        <a:lnTo>
                          <a:pt x="361" y="72"/>
                        </a:lnTo>
                        <a:lnTo>
                          <a:pt x="357" y="70"/>
                        </a:lnTo>
                        <a:lnTo>
                          <a:pt x="354" y="67"/>
                        </a:lnTo>
                        <a:lnTo>
                          <a:pt x="349" y="57"/>
                        </a:lnTo>
                        <a:lnTo>
                          <a:pt x="344" y="60"/>
                        </a:lnTo>
                        <a:lnTo>
                          <a:pt x="343" y="58"/>
                        </a:lnTo>
                        <a:lnTo>
                          <a:pt x="343" y="41"/>
                        </a:lnTo>
                        <a:lnTo>
                          <a:pt x="341" y="36"/>
                        </a:lnTo>
                        <a:lnTo>
                          <a:pt x="339" y="36"/>
                        </a:lnTo>
                        <a:lnTo>
                          <a:pt x="339" y="30"/>
                        </a:lnTo>
                        <a:lnTo>
                          <a:pt x="338" y="28"/>
                        </a:lnTo>
                        <a:lnTo>
                          <a:pt x="334" y="28"/>
                        </a:lnTo>
                        <a:lnTo>
                          <a:pt x="333" y="28"/>
                        </a:lnTo>
                        <a:lnTo>
                          <a:pt x="334" y="15"/>
                        </a:lnTo>
                        <a:lnTo>
                          <a:pt x="334" y="14"/>
                        </a:lnTo>
                        <a:lnTo>
                          <a:pt x="330" y="12"/>
                        </a:lnTo>
                        <a:lnTo>
                          <a:pt x="328" y="12"/>
                        </a:lnTo>
                        <a:lnTo>
                          <a:pt x="324" y="15"/>
                        </a:lnTo>
                        <a:lnTo>
                          <a:pt x="323" y="15"/>
                        </a:lnTo>
                        <a:lnTo>
                          <a:pt x="316" y="11"/>
                        </a:lnTo>
                        <a:lnTo>
                          <a:pt x="313" y="11"/>
                        </a:lnTo>
                        <a:lnTo>
                          <a:pt x="312" y="12"/>
                        </a:lnTo>
                        <a:lnTo>
                          <a:pt x="312" y="20"/>
                        </a:lnTo>
                        <a:lnTo>
                          <a:pt x="309" y="24"/>
                        </a:lnTo>
                        <a:lnTo>
                          <a:pt x="296" y="28"/>
                        </a:lnTo>
                        <a:lnTo>
                          <a:pt x="296" y="34"/>
                        </a:lnTo>
                        <a:lnTo>
                          <a:pt x="294" y="38"/>
                        </a:lnTo>
                        <a:lnTo>
                          <a:pt x="280" y="34"/>
                        </a:lnTo>
                        <a:lnTo>
                          <a:pt x="270" y="28"/>
                        </a:lnTo>
                        <a:lnTo>
                          <a:pt x="262" y="27"/>
                        </a:lnTo>
                        <a:lnTo>
                          <a:pt x="259" y="27"/>
                        </a:lnTo>
                        <a:lnTo>
                          <a:pt x="255" y="33"/>
                        </a:lnTo>
                        <a:lnTo>
                          <a:pt x="249" y="34"/>
                        </a:lnTo>
                        <a:lnTo>
                          <a:pt x="247" y="40"/>
                        </a:lnTo>
                        <a:lnTo>
                          <a:pt x="243" y="44"/>
                        </a:lnTo>
                        <a:lnTo>
                          <a:pt x="238" y="41"/>
                        </a:lnTo>
                        <a:lnTo>
                          <a:pt x="230" y="30"/>
                        </a:lnTo>
                        <a:lnTo>
                          <a:pt x="227" y="28"/>
                        </a:lnTo>
                        <a:lnTo>
                          <a:pt x="222" y="28"/>
                        </a:lnTo>
                        <a:lnTo>
                          <a:pt x="216" y="34"/>
                        </a:lnTo>
                        <a:lnTo>
                          <a:pt x="212" y="38"/>
                        </a:lnTo>
                        <a:lnTo>
                          <a:pt x="208" y="39"/>
                        </a:lnTo>
                        <a:lnTo>
                          <a:pt x="203" y="35"/>
                        </a:lnTo>
                        <a:lnTo>
                          <a:pt x="198" y="31"/>
                        </a:lnTo>
                        <a:lnTo>
                          <a:pt x="199" y="28"/>
                        </a:lnTo>
                        <a:lnTo>
                          <a:pt x="203" y="23"/>
                        </a:lnTo>
                        <a:lnTo>
                          <a:pt x="203" y="19"/>
                        </a:lnTo>
                        <a:lnTo>
                          <a:pt x="205" y="15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87" name="Freeform 39"/>
                  <p:cNvSpPr>
                    <a:spLocks/>
                  </p:cNvSpPr>
                  <p:nvPr/>
                </p:nvSpPr>
                <p:spPr bwMode="gray">
                  <a:xfrm>
                    <a:off x="2674" y="2365"/>
                    <a:ext cx="144" cy="91"/>
                  </a:xfrm>
                  <a:custGeom>
                    <a:avLst/>
                    <a:gdLst>
                      <a:gd name="T0" fmla="*/ 17 w 718"/>
                      <a:gd name="T1" fmla="*/ 0 h 451"/>
                      <a:gd name="T2" fmla="*/ 16 w 718"/>
                      <a:gd name="T3" fmla="*/ 1 h 451"/>
                      <a:gd name="T4" fmla="*/ 16 w 718"/>
                      <a:gd name="T5" fmla="*/ 2 h 451"/>
                      <a:gd name="T6" fmla="*/ 15 w 718"/>
                      <a:gd name="T7" fmla="*/ 2 h 451"/>
                      <a:gd name="T8" fmla="*/ 14 w 718"/>
                      <a:gd name="T9" fmla="*/ 4 h 451"/>
                      <a:gd name="T10" fmla="*/ 13 w 718"/>
                      <a:gd name="T11" fmla="*/ 4 h 451"/>
                      <a:gd name="T12" fmla="*/ 13 w 718"/>
                      <a:gd name="T13" fmla="*/ 4 h 451"/>
                      <a:gd name="T14" fmla="*/ 12 w 718"/>
                      <a:gd name="T15" fmla="*/ 4 h 451"/>
                      <a:gd name="T16" fmla="*/ 10 w 718"/>
                      <a:gd name="T17" fmla="*/ 5 h 451"/>
                      <a:gd name="T18" fmla="*/ 10 w 718"/>
                      <a:gd name="T19" fmla="*/ 5 h 451"/>
                      <a:gd name="T20" fmla="*/ 10 w 718"/>
                      <a:gd name="T21" fmla="*/ 5 h 451"/>
                      <a:gd name="T22" fmla="*/ 10 w 718"/>
                      <a:gd name="T23" fmla="*/ 6 h 451"/>
                      <a:gd name="T24" fmla="*/ 9 w 718"/>
                      <a:gd name="T25" fmla="*/ 6 h 451"/>
                      <a:gd name="T26" fmla="*/ 8 w 718"/>
                      <a:gd name="T27" fmla="*/ 7 h 451"/>
                      <a:gd name="T28" fmla="*/ 7 w 718"/>
                      <a:gd name="T29" fmla="*/ 7 h 451"/>
                      <a:gd name="T30" fmla="*/ 6 w 718"/>
                      <a:gd name="T31" fmla="*/ 7 h 451"/>
                      <a:gd name="T32" fmla="*/ 5 w 718"/>
                      <a:gd name="T33" fmla="*/ 8 h 451"/>
                      <a:gd name="T34" fmla="*/ 5 w 718"/>
                      <a:gd name="T35" fmla="*/ 7 h 451"/>
                      <a:gd name="T36" fmla="*/ 5 w 718"/>
                      <a:gd name="T37" fmla="*/ 7 h 451"/>
                      <a:gd name="T38" fmla="*/ 4 w 718"/>
                      <a:gd name="T39" fmla="*/ 8 h 451"/>
                      <a:gd name="T40" fmla="*/ 3 w 718"/>
                      <a:gd name="T41" fmla="*/ 8 h 451"/>
                      <a:gd name="T42" fmla="*/ 2 w 718"/>
                      <a:gd name="T43" fmla="*/ 8 h 451"/>
                      <a:gd name="T44" fmla="*/ 2 w 718"/>
                      <a:gd name="T45" fmla="*/ 9 h 451"/>
                      <a:gd name="T46" fmla="*/ 0 w 718"/>
                      <a:gd name="T47" fmla="*/ 11 h 451"/>
                      <a:gd name="T48" fmla="*/ 0 w 718"/>
                      <a:gd name="T49" fmla="*/ 13 h 451"/>
                      <a:gd name="T50" fmla="*/ 1 w 718"/>
                      <a:gd name="T51" fmla="*/ 15 h 451"/>
                      <a:gd name="T52" fmla="*/ 2 w 718"/>
                      <a:gd name="T53" fmla="*/ 18 h 451"/>
                      <a:gd name="T54" fmla="*/ 4 w 718"/>
                      <a:gd name="T55" fmla="*/ 18 h 451"/>
                      <a:gd name="T56" fmla="*/ 6 w 718"/>
                      <a:gd name="T57" fmla="*/ 17 h 451"/>
                      <a:gd name="T58" fmla="*/ 8 w 718"/>
                      <a:gd name="T59" fmla="*/ 17 h 451"/>
                      <a:gd name="T60" fmla="*/ 10 w 718"/>
                      <a:gd name="T61" fmla="*/ 16 h 451"/>
                      <a:gd name="T62" fmla="*/ 10 w 718"/>
                      <a:gd name="T63" fmla="*/ 15 h 451"/>
                      <a:gd name="T64" fmla="*/ 11 w 718"/>
                      <a:gd name="T65" fmla="*/ 14 h 451"/>
                      <a:gd name="T66" fmla="*/ 12 w 718"/>
                      <a:gd name="T67" fmla="*/ 13 h 451"/>
                      <a:gd name="T68" fmla="*/ 13 w 718"/>
                      <a:gd name="T69" fmla="*/ 15 h 451"/>
                      <a:gd name="T70" fmla="*/ 15 w 718"/>
                      <a:gd name="T71" fmla="*/ 15 h 451"/>
                      <a:gd name="T72" fmla="*/ 18 w 718"/>
                      <a:gd name="T73" fmla="*/ 15 h 451"/>
                      <a:gd name="T74" fmla="*/ 19 w 718"/>
                      <a:gd name="T75" fmla="*/ 14 h 451"/>
                      <a:gd name="T76" fmla="*/ 21 w 718"/>
                      <a:gd name="T77" fmla="*/ 14 h 451"/>
                      <a:gd name="T78" fmla="*/ 23 w 718"/>
                      <a:gd name="T79" fmla="*/ 13 h 451"/>
                      <a:gd name="T80" fmla="*/ 23 w 718"/>
                      <a:gd name="T81" fmla="*/ 14 h 451"/>
                      <a:gd name="T82" fmla="*/ 24 w 718"/>
                      <a:gd name="T83" fmla="*/ 13 h 451"/>
                      <a:gd name="T84" fmla="*/ 26 w 718"/>
                      <a:gd name="T85" fmla="*/ 13 h 451"/>
                      <a:gd name="T86" fmla="*/ 27 w 718"/>
                      <a:gd name="T87" fmla="*/ 14 h 451"/>
                      <a:gd name="T88" fmla="*/ 29 w 718"/>
                      <a:gd name="T89" fmla="*/ 13 h 451"/>
                      <a:gd name="T90" fmla="*/ 27 w 718"/>
                      <a:gd name="T91" fmla="*/ 11 h 451"/>
                      <a:gd name="T92" fmla="*/ 26 w 718"/>
                      <a:gd name="T93" fmla="*/ 10 h 451"/>
                      <a:gd name="T94" fmla="*/ 26 w 718"/>
                      <a:gd name="T95" fmla="*/ 9 h 451"/>
                      <a:gd name="T96" fmla="*/ 24 w 718"/>
                      <a:gd name="T97" fmla="*/ 8 h 451"/>
                      <a:gd name="T98" fmla="*/ 24 w 718"/>
                      <a:gd name="T99" fmla="*/ 7 h 451"/>
                      <a:gd name="T100" fmla="*/ 22 w 718"/>
                      <a:gd name="T101" fmla="*/ 6 h 451"/>
                      <a:gd name="T102" fmla="*/ 21 w 718"/>
                      <a:gd name="T103" fmla="*/ 5 h 451"/>
                      <a:gd name="T104" fmla="*/ 20 w 718"/>
                      <a:gd name="T105" fmla="*/ 4 h 451"/>
                      <a:gd name="T106" fmla="*/ 20 w 718"/>
                      <a:gd name="T107" fmla="*/ 2 h 451"/>
                      <a:gd name="T108" fmla="*/ 18 w 718"/>
                      <a:gd name="T109" fmla="*/ 0 h 451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w 718"/>
                      <a:gd name="T166" fmla="*/ 0 h 451"/>
                      <a:gd name="T167" fmla="*/ 718 w 718"/>
                      <a:gd name="T168" fmla="*/ 451 h 451"/>
                    </a:gdLst>
                    <a:ahLst/>
                    <a:cxnLst>
                      <a:cxn ang="T110">
                        <a:pos x="T0" y="T1"/>
                      </a:cxn>
                      <a:cxn ang="T111">
                        <a:pos x="T2" y="T3"/>
                      </a:cxn>
                      <a:cxn ang="T112">
                        <a:pos x="T4" y="T5"/>
                      </a:cxn>
                      <a:cxn ang="T113">
                        <a:pos x="T6" y="T7"/>
                      </a:cxn>
                      <a:cxn ang="T114">
                        <a:pos x="T8" y="T9"/>
                      </a:cxn>
                      <a:cxn ang="T115">
                        <a:pos x="T10" y="T11"/>
                      </a:cxn>
                      <a:cxn ang="T116">
                        <a:pos x="T12" y="T13"/>
                      </a:cxn>
                      <a:cxn ang="T117">
                        <a:pos x="T14" y="T15"/>
                      </a:cxn>
                      <a:cxn ang="T118">
                        <a:pos x="T16" y="T17"/>
                      </a:cxn>
                      <a:cxn ang="T119">
                        <a:pos x="T18" y="T19"/>
                      </a:cxn>
                      <a:cxn ang="T120">
                        <a:pos x="T20" y="T21"/>
                      </a:cxn>
                      <a:cxn ang="T121">
                        <a:pos x="T22" y="T23"/>
                      </a:cxn>
                      <a:cxn ang="T122">
                        <a:pos x="T24" y="T25"/>
                      </a:cxn>
                      <a:cxn ang="T123">
                        <a:pos x="T26" y="T27"/>
                      </a:cxn>
                      <a:cxn ang="T124">
                        <a:pos x="T28" y="T29"/>
                      </a:cxn>
                      <a:cxn ang="T125">
                        <a:pos x="T30" y="T31"/>
                      </a:cxn>
                      <a:cxn ang="T126">
                        <a:pos x="T32" y="T33"/>
                      </a:cxn>
                      <a:cxn ang="T127">
                        <a:pos x="T34" y="T35"/>
                      </a:cxn>
                      <a:cxn ang="T128">
                        <a:pos x="T36" y="T37"/>
                      </a:cxn>
                      <a:cxn ang="T129">
                        <a:pos x="T38" y="T39"/>
                      </a:cxn>
                      <a:cxn ang="T130">
                        <a:pos x="T40" y="T41"/>
                      </a:cxn>
                      <a:cxn ang="T131">
                        <a:pos x="T42" y="T43"/>
                      </a:cxn>
                      <a:cxn ang="T132">
                        <a:pos x="T44" y="T45"/>
                      </a:cxn>
                      <a:cxn ang="T133">
                        <a:pos x="T46" y="T47"/>
                      </a:cxn>
                      <a:cxn ang="T134">
                        <a:pos x="T48" y="T49"/>
                      </a:cxn>
                      <a:cxn ang="T135">
                        <a:pos x="T50" y="T51"/>
                      </a:cxn>
                      <a:cxn ang="T136">
                        <a:pos x="T52" y="T53"/>
                      </a:cxn>
                      <a:cxn ang="T137">
                        <a:pos x="T54" y="T55"/>
                      </a:cxn>
                      <a:cxn ang="T138">
                        <a:pos x="T56" y="T57"/>
                      </a:cxn>
                      <a:cxn ang="T139">
                        <a:pos x="T58" y="T59"/>
                      </a:cxn>
                      <a:cxn ang="T140">
                        <a:pos x="T60" y="T61"/>
                      </a:cxn>
                      <a:cxn ang="T141">
                        <a:pos x="T62" y="T63"/>
                      </a:cxn>
                      <a:cxn ang="T142">
                        <a:pos x="T64" y="T65"/>
                      </a:cxn>
                      <a:cxn ang="T143">
                        <a:pos x="T66" y="T67"/>
                      </a:cxn>
                      <a:cxn ang="T144">
                        <a:pos x="T68" y="T69"/>
                      </a:cxn>
                      <a:cxn ang="T145">
                        <a:pos x="T70" y="T71"/>
                      </a:cxn>
                      <a:cxn ang="T146">
                        <a:pos x="T72" y="T73"/>
                      </a:cxn>
                      <a:cxn ang="T147">
                        <a:pos x="T74" y="T75"/>
                      </a:cxn>
                      <a:cxn ang="T148">
                        <a:pos x="T76" y="T77"/>
                      </a:cxn>
                      <a:cxn ang="T149">
                        <a:pos x="T78" y="T79"/>
                      </a:cxn>
                      <a:cxn ang="T150">
                        <a:pos x="T80" y="T81"/>
                      </a:cxn>
                      <a:cxn ang="T151">
                        <a:pos x="T82" y="T83"/>
                      </a:cxn>
                      <a:cxn ang="T152">
                        <a:pos x="T84" y="T85"/>
                      </a:cxn>
                      <a:cxn ang="T153">
                        <a:pos x="T86" y="T87"/>
                      </a:cxn>
                      <a:cxn ang="T154">
                        <a:pos x="T88" y="T89"/>
                      </a:cxn>
                      <a:cxn ang="T155">
                        <a:pos x="T90" y="T91"/>
                      </a:cxn>
                      <a:cxn ang="T156">
                        <a:pos x="T92" y="T93"/>
                      </a:cxn>
                      <a:cxn ang="T157">
                        <a:pos x="T94" y="T95"/>
                      </a:cxn>
                      <a:cxn ang="T158">
                        <a:pos x="T96" y="T97"/>
                      </a:cxn>
                      <a:cxn ang="T159">
                        <a:pos x="T98" y="T99"/>
                      </a:cxn>
                      <a:cxn ang="T160">
                        <a:pos x="T100" y="T101"/>
                      </a:cxn>
                      <a:cxn ang="T161">
                        <a:pos x="T102" y="T103"/>
                      </a:cxn>
                      <a:cxn ang="T162">
                        <a:pos x="T104" y="T105"/>
                      </a:cxn>
                      <a:cxn ang="T163">
                        <a:pos x="T106" y="T107"/>
                      </a:cxn>
                      <a:cxn ang="T164">
                        <a:pos x="T108" y="T109"/>
                      </a:cxn>
                    </a:cxnLst>
                    <a:rect l="T165" t="T166" r="T167" b="T168"/>
                    <a:pathLst>
                      <a:path w="718" h="451">
                        <a:moveTo>
                          <a:pt x="453" y="0"/>
                        </a:moveTo>
                        <a:lnTo>
                          <a:pt x="442" y="3"/>
                        </a:lnTo>
                        <a:lnTo>
                          <a:pt x="433" y="6"/>
                        </a:lnTo>
                        <a:lnTo>
                          <a:pt x="417" y="7"/>
                        </a:lnTo>
                        <a:lnTo>
                          <a:pt x="411" y="10"/>
                        </a:lnTo>
                        <a:lnTo>
                          <a:pt x="405" y="15"/>
                        </a:lnTo>
                        <a:lnTo>
                          <a:pt x="400" y="26"/>
                        </a:lnTo>
                        <a:lnTo>
                          <a:pt x="400" y="42"/>
                        </a:lnTo>
                        <a:lnTo>
                          <a:pt x="393" y="44"/>
                        </a:lnTo>
                        <a:lnTo>
                          <a:pt x="387" y="54"/>
                        </a:lnTo>
                        <a:lnTo>
                          <a:pt x="383" y="57"/>
                        </a:lnTo>
                        <a:lnTo>
                          <a:pt x="378" y="58"/>
                        </a:lnTo>
                        <a:lnTo>
                          <a:pt x="362" y="74"/>
                        </a:lnTo>
                        <a:lnTo>
                          <a:pt x="358" y="84"/>
                        </a:lnTo>
                        <a:lnTo>
                          <a:pt x="355" y="87"/>
                        </a:lnTo>
                        <a:lnTo>
                          <a:pt x="342" y="93"/>
                        </a:lnTo>
                        <a:lnTo>
                          <a:pt x="336" y="95"/>
                        </a:lnTo>
                        <a:lnTo>
                          <a:pt x="331" y="102"/>
                        </a:lnTo>
                        <a:lnTo>
                          <a:pt x="329" y="105"/>
                        </a:lnTo>
                        <a:lnTo>
                          <a:pt x="322" y="108"/>
                        </a:lnTo>
                        <a:lnTo>
                          <a:pt x="317" y="106"/>
                        </a:lnTo>
                        <a:lnTo>
                          <a:pt x="309" y="106"/>
                        </a:lnTo>
                        <a:lnTo>
                          <a:pt x="302" y="108"/>
                        </a:lnTo>
                        <a:lnTo>
                          <a:pt x="292" y="109"/>
                        </a:lnTo>
                        <a:lnTo>
                          <a:pt x="290" y="112"/>
                        </a:lnTo>
                        <a:lnTo>
                          <a:pt x="270" y="112"/>
                        </a:lnTo>
                        <a:lnTo>
                          <a:pt x="259" y="113"/>
                        </a:lnTo>
                        <a:lnTo>
                          <a:pt x="249" y="117"/>
                        </a:lnTo>
                        <a:lnTo>
                          <a:pt x="247" y="118"/>
                        </a:lnTo>
                        <a:lnTo>
                          <a:pt x="245" y="122"/>
                        </a:lnTo>
                        <a:lnTo>
                          <a:pt x="245" y="124"/>
                        </a:lnTo>
                        <a:lnTo>
                          <a:pt x="252" y="129"/>
                        </a:lnTo>
                        <a:lnTo>
                          <a:pt x="254" y="136"/>
                        </a:lnTo>
                        <a:lnTo>
                          <a:pt x="252" y="140"/>
                        </a:lnTo>
                        <a:lnTo>
                          <a:pt x="247" y="144"/>
                        </a:lnTo>
                        <a:lnTo>
                          <a:pt x="244" y="152"/>
                        </a:lnTo>
                        <a:lnTo>
                          <a:pt x="239" y="155"/>
                        </a:lnTo>
                        <a:lnTo>
                          <a:pt x="234" y="156"/>
                        </a:lnTo>
                        <a:lnTo>
                          <a:pt x="232" y="159"/>
                        </a:lnTo>
                        <a:lnTo>
                          <a:pt x="231" y="165"/>
                        </a:lnTo>
                        <a:lnTo>
                          <a:pt x="229" y="166"/>
                        </a:lnTo>
                        <a:lnTo>
                          <a:pt x="205" y="166"/>
                        </a:lnTo>
                        <a:lnTo>
                          <a:pt x="198" y="170"/>
                        </a:lnTo>
                        <a:lnTo>
                          <a:pt x="189" y="170"/>
                        </a:lnTo>
                        <a:lnTo>
                          <a:pt x="183" y="170"/>
                        </a:lnTo>
                        <a:lnTo>
                          <a:pt x="161" y="177"/>
                        </a:lnTo>
                        <a:lnTo>
                          <a:pt x="157" y="181"/>
                        </a:lnTo>
                        <a:lnTo>
                          <a:pt x="153" y="183"/>
                        </a:lnTo>
                        <a:lnTo>
                          <a:pt x="147" y="187"/>
                        </a:lnTo>
                        <a:lnTo>
                          <a:pt x="139" y="188"/>
                        </a:lnTo>
                        <a:lnTo>
                          <a:pt x="136" y="192"/>
                        </a:lnTo>
                        <a:lnTo>
                          <a:pt x="132" y="193"/>
                        </a:lnTo>
                        <a:lnTo>
                          <a:pt x="125" y="187"/>
                        </a:lnTo>
                        <a:lnTo>
                          <a:pt x="123" y="184"/>
                        </a:lnTo>
                        <a:lnTo>
                          <a:pt x="119" y="178"/>
                        </a:lnTo>
                        <a:lnTo>
                          <a:pt x="116" y="177"/>
                        </a:lnTo>
                        <a:lnTo>
                          <a:pt x="113" y="177"/>
                        </a:lnTo>
                        <a:lnTo>
                          <a:pt x="112" y="179"/>
                        </a:lnTo>
                        <a:lnTo>
                          <a:pt x="108" y="179"/>
                        </a:lnTo>
                        <a:lnTo>
                          <a:pt x="105" y="187"/>
                        </a:lnTo>
                        <a:lnTo>
                          <a:pt x="92" y="189"/>
                        </a:lnTo>
                        <a:lnTo>
                          <a:pt x="82" y="197"/>
                        </a:lnTo>
                        <a:lnTo>
                          <a:pt x="77" y="198"/>
                        </a:lnTo>
                        <a:lnTo>
                          <a:pt x="71" y="195"/>
                        </a:lnTo>
                        <a:lnTo>
                          <a:pt x="66" y="195"/>
                        </a:lnTo>
                        <a:lnTo>
                          <a:pt x="60" y="197"/>
                        </a:lnTo>
                        <a:lnTo>
                          <a:pt x="51" y="198"/>
                        </a:lnTo>
                        <a:lnTo>
                          <a:pt x="48" y="200"/>
                        </a:lnTo>
                        <a:lnTo>
                          <a:pt x="38" y="226"/>
                        </a:lnTo>
                        <a:lnTo>
                          <a:pt x="28" y="241"/>
                        </a:lnTo>
                        <a:lnTo>
                          <a:pt x="21" y="257"/>
                        </a:lnTo>
                        <a:lnTo>
                          <a:pt x="11" y="272"/>
                        </a:lnTo>
                        <a:lnTo>
                          <a:pt x="0" y="283"/>
                        </a:lnTo>
                        <a:lnTo>
                          <a:pt x="0" y="296"/>
                        </a:lnTo>
                        <a:lnTo>
                          <a:pt x="3" y="310"/>
                        </a:lnTo>
                        <a:lnTo>
                          <a:pt x="2" y="327"/>
                        </a:lnTo>
                        <a:lnTo>
                          <a:pt x="3" y="343"/>
                        </a:lnTo>
                        <a:lnTo>
                          <a:pt x="13" y="361"/>
                        </a:lnTo>
                        <a:lnTo>
                          <a:pt x="22" y="372"/>
                        </a:lnTo>
                        <a:lnTo>
                          <a:pt x="46" y="419"/>
                        </a:lnTo>
                        <a:lnTo>
                          <a:pt x="58" y="431"/>
                        </a:lnTo>
                        <a:lnTo>
                          <a:pt x="81" y="451"/>
                        </a:lnTo>
                        <a:lnTo>
                          <a:pt x="88" y="451"/>
                        </a:lnTo>
                        <a:lnTo>
                          <a:pt x="97" y="437"/>
                        </a:lnTo>
                        <a:lnTo>
                          <a:pt x="114" y="421"/>
                        </a:lnTo>
                        <a:lnTo>
                          <a:pt x="137" y="407"/>
                        </a:lnTo>
                        <a:lnTo>
                          <a:pt x="157" y="404"/>
                        </a:lnTo>
                        <a:lnTo>
                          <a:pt x="174" y="414"/>
                        </a:lnTo>
                        <a:lnTo>
                          <a:pt x="191" y="420"/>
                        </a:lnTo>
                        <a:lnTo>
                          <a:pt x="207" y="416"/>
                        </a:lnTo>
                        <a:lnTo>
                          <a:pt x="222" y="409"/>
                        </a:lnTo>
                        <a:lnTo>
                          <a:pt x="228" y="404"/>
                        </a:lnTo>
                        <a:lnTo>
                          <a:pt x="241" y="402"/>
                        </a:lnTo>
                        <a:lnTo>
                          <a:pt x="238" y="393"/>
                        </a:lnTo>
                        <a:lnTo>
                          <a:pt x="239" y="374"/>
                        </a:lnTo>
                        <a:lnTo>
                          <a:pt x="242" y="360"/>
                        </a:lnTo>
                        <a:lnTo>
                          <a:pt x="250" y="355"/>
                        </a:lnTo>
                        <a:lnTo>
                          <a:pt x="257" y="340"/>
                        </a:lnTo>
                        <a:lnTo>
                          <a:pt x="263" y="334"/>
                        </a:lnTo>
                        <a:lnTo>
                          <a:pt x="276" y="323"/>
                        </a:lnTo>
                        <a:lnTo>
                          <a:pt x="290" y="323"/>
                        </a:lnTo>
                        <a:lnTo>
                          <a:pt x="306" y="324"/>
                        </a:lnTo>
                        <a:lnTo>
                          <a:pt x="313" y="334"/>
                        </a:lnTo>
                        <a:lnTo>
                          <a:pt x="315" y="343"/>
                        </a:lnTo>
                        <a:lnTo>
                          <a:pt x="336" y="361"/>
                        </a:lnTo>
                        <a:lnTo>
                          <a:pt x="344" y="364"/>
                        </a:lnTo>
                        <a:lnTo>
                          <a:pt x="351" y="355"/>
                        </a:lnTo>
                        <a:lnTo>
                          <a:pt x="365" y="365"/>
                        </a:lnTo>
                        <a:lnTo>
                          <a:pt x="388" y="371"/>
                        </a:lnTo>
                        <a:lnTo>
                          <a:pt x="438" y="371"/>
                        </a:lnTo>
                        <a:lnTo>
                          <a:pt x="446" y="367"/>
                        </a:lnTo>
                        <a:lnTo>
                          <a:pt x="448" y="350"/>
                        </a:lnTo>
                        <a:lnTo>
                          <a:pt x="462" y="342"/>
                        </a:lnTo>
                        <a:lnTo>
                          <a:pt x="480" y="345"/>
                        </a:lnTo>
                        <a:lnTo>
                          <a:pt x="489" y="350"/>
                        </a:lnTo>
                        <a:lnTo>
                          <a:pt x="507" y="345"/>
                        </a:lnTo>
                        <a:lnTo>
                          <a:pt x="518" y="339"/>
                        </a:lnTo>
                        <a:lnTo>
                          <a:pt x="544" y="334"/>
                        </a:lnTo>
                        <a:lnTo>
                          <a:pt x="555" y="328"/>
                        </a:lnTo>
                        <a:lnTo>
                          <a:pt x="561" y="328"/>
                        </a:lnTo>
                        <a:lnTo>
                          <a:pt x="562" y="334"/>
                        </a:lnTo>
                        <a:lnTo>
                          <a:pt x="561" y="334"/>
                        </a:lnTo>
                        <a:lnTo>
                          <a:pt x="569" y="337"/>
                        </a:lnTo>
                        <a:lnTo>
                          <a:pt x="576" y="334"/>
                        </a:lnTo>
                        <a:lnTo>
                          <a:pt x="588" y="334"/>
                        </a:lnTo>
                        <a:lnTo>
                          <a:pt x="592" y="322"/>
                        </a:lnTo>
                        <a:lnTo>
                          <a:pt x="612" y="327"/>
                        </a:lnTo>
                        <a:lnTo>
                          <a:pt x="635" y="323"/>
                        </a:lnTo>
                        <a:lnTo>
                          <a:pt x="650" y="318"/>
                        </a:lnTo>
                        <a:lnTo>
                          <a:pt x="663" y="334"/>
                        </a:lnTo>
                        <a:lnTo>
                          <a:pt x="670" y="327"/>
                        </a:lnTo>
                        <a:lnTo>
                          <a:pt x="682" y="334"/>
                        </a:lnTo>
                        <a:lnTo>
                          <a:pt x="690" y="323"/>
                        </a:lnTo>
                        <a:lnTo>
                          <a:pt x="718" y="323"/>
                        </a:lnTo>
                        <a:lnTo>
                          <a:pt x="712" y="316"/>
                        </a:lnTo>
                        <a:lnTo>
                          <a:pt x="711" y="305"/>
                        </a:lnTo>
                        <a:lnTo>
                          <a:pt x="705" y="296"/>
                        </a:lnTo>
                        <a:lnTo>
                          <a:pt x="675" y="276"/>
                        </a:lnTo>
                        <a:lnTo>
                          <a:pt x="666" y="273"/>
                        </a:lnTo>
                        <a:lnTo>
                          <a:pt x="664" y="262"/>
                        </a:lnTo>
                        <a:lnTo>
                          <a:pt x="657" y="253"/>
                        </a:lnTo>
                        <a:lnTo>
                          <a:pt x="653" y="242"/>
                        </a:lnTo>
                        <a:lnTo>
                          <a:pt x="648" y="232"/>
                        </a:lnTo>
                        <a:lnTo>
                          <a:pt x="637" y="226"/>
                        </a:lnTo>
                        <a:lnTo>
                          <a:pt x="630" y="216"/>
                        </a:lnTo>
                        <a:lnTo>
                          <a:pt x="612" y="204"/>
                        </a:lnTo>
                        <a:lnTo>
                          <a:pt x="593" y="192"/>
                        </a:lnTo>
                        <a:lnTo>
                          <a:pt x="587" y="181"/>
                        </a:lnTo>
                        <a:lnTo>
                          <a:pt x="588" y="171"/>
                        </a:lnTo>
                        <a:lnTo>
                          <a:pt x="587" y="166"/>
                        </a:lnTo>
                        <a:lnTo>
                          <a:pt x="577" y="159"/>
                        </a:lnTo>
                        <a:lnTo>
                          <a:pt x="569" y="152"/>
                        </a:lnTo>
                        <a:lnTo>
                          <a:pt x="546" y="152"/>
                        </a:lnTo>
                        <a:lnTo>
                          <a:pt x="535" y="148"/>
                        </a:lnTo>
                        <a:lnTo>
                          <a:pt x="530" y="133"/>
                        </a:lnTo>
                        <a:lnTo>
                          <a:pt x="517" y="129"/>
                        </a:lnTo>
                        <a:lnTo>
                          <a:pt x="506" y="128"/>
                        </a:lnTo>
                        <a:lnTo>
                          <a:pt x="496" y="118"/>
                        </a:lnTo>
                        <a:lnTo>
                          <a:pt x="494" y="105"/>
                        </a:lnTo>
                        <a:lnTo>
                          <a:pt x="496" y="89"/>
                        </a:lnTo>
                        <a:lnTo>
                          <a:pt x="501" y="71"/>
                        </a:lnTo>
                        <a:lnTo>
                          <a:pt x="496" y="55"/>
                        </a:lnTo>
                        <a:lnTo>
                          <a:pt x="480" y="34"/>
                        </a:lnTo>
                        <a:lnTo>
                          <a:pt x="463" y="15"/>
                        </a:lnTo>
                        <a:lnTo>
                          <a:pt x="453" y="0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88" name="Freeform 40"/>
                  <p:cNvSpPr>
                    <a:spLocks/>
                  </p:cNvSpPr>
                  <p:nvPr/>
                </p:nvSpPr>
                <p:spPr bwMode="gray">
                  <a:xfrm>
                    <a:off x="2612" y="2461"/>
                    <a:ext cx="61" cy="69"/>
                  </a:xfrm>
                  <a:custGeom>
                    <a:avLst/>
                    <a:gdLst>
                      <a:gd name="T0" fmla="*/ 5 w 304"/>
                      <a:gd name="T1" fmla="*/ 13 h 343"/>
                      <a:gd name="T2" fmla="*/ 4 w 304"/>
                      <a:gd name="T3" fmla="*/ 12 h 343"/>
                      <a:gd name="T4" fmla="*/ 2 w 304"/>
                      <a:gd name="T5" fmla="*/ 11 h 343"/>
                      <a:gd name="T6" fmla="*/ 1 w 304"/>
                      <a:gd name="T7" fmla="*/ 10 h 343"/>
                      <a:gd name="T8" fmla="*/ 1 w 304"/>
                      <a:gd name="T9" fmla="*/ 8 h 343"/>
                      <a:gd name="T10" fmla="*/ 0 w 304"/>
                      <a:gd name="T11" fmla="*/ 7 h 343"/>
                      <a:gd name="T12" fmla="*/ 0 w 304"/>
                      <a:gd name="T13" fmla="*/ 7 h 343"/>
                      <a:gd name="T14" fmla="*/ 1 w 304"/>
                      <a:gd name="T15" fmla="*/ 6 h 343"/>
                      <a:gd name="T16" fmla="*/ 1 w 304"/>
                      <a:gd name="T17" fmla="*/ 6 h 343"/>
                      <a:gd name="T18" fmla="*/ 1 w 304"/>
                      <a:gd name="T19" fmla="*/ 5 h 343"/>
                      <a:gd name="T20" fmla="*/ 2 w 304"/>
                      <a:gd name="T21" fmla="*/ 5 h 343"/>
                      <a:gd name="T22" fmla="*/ 2 w 304"/>
                      <a:gd name="T23" fmla="*/ 5 h 343"/>
                      <a:gd name="T24" fmla="*/ 2 w 304"/>
                      <a:gd name="T25" fmla="*/ 5 h 343"/>
                      <a:gd name="T26" fmla="*/ 1 w 304"/>
                      <a:gd name="T27" fmla="*/ 4 h 343"/>
                      <a:gd name="T28" fmla="*/ 1 w 304"/>
                      <a:gd name="T29" fmla="*/ 4 h 343"/>
                      <a:gd name="T30" fmla="*/ 2 w 304"/>
                      <a:gd name="T31" fmla="*/ 4 h 343"/>
                      <a:gd name="T32" fmla="*/ 3 w 304"/>
                      <a:gd name="T33" fmla="*/ 3 h 343"/>
                      <a:gd name="T34" fmla="*/ 5 w 304"/>
                      <a:gd name="T35" fmla="*/ 3 h 343"/>
                      <a:gd name="T36" fmla="*/ 5 w 304"/>
                      <a:gd name="T37" fmla="*/ 1 h 343"/>
                      <a:gd name="T38" fmla="*/ 6 w 304"/>
                      <a:gd name="T39" fmla="*/ 0 h 343"/>
                      <a:gd name="T40" fmla="*/ 7 w 304"/>
                      <a:gd name="T41" fmla="*/ 0 h 343"/>
                      <a:gd name="T42" fmla="*/ 10 w 304"/>
                      <a:gd name="T43" fmla="*/ 0 h 343"/>
                      <a:gd name="T44" fmla="*/ 10 w 304"/>
                      <a:gd name="T45" fmla="*/ 1 h 343"/>
                      <a:gd name="T46" fmla="*/ 10 w 304"/>
                      <a:gd name="T47" fmla="*/ 2 h 343"/>
                      <a:gd name="T48" fmla="*/ 11 w 304"/>
                      <a:gd name="T49" fmla="*/ 2 h 343"/>
                      <a:gd name="T50" fmla="*/ 12 w 304"/>
                      <a:gd name="T51" fmla="*/ 2 h 343"/>
                      <a:gd name="T52" fmla="*/ 11 w 304"/>
                      <a:gd name="T53" fmla="*/ 4 h 343"/>
                      <a:gd name="T54" fmla="*/ 12 w 304"/>
                      <a:gd name="T55" fmla="*/ 6 h 343"/>
                      <a:gd name="T56" fmla="*/ 12 w 304"/>
                      <a:gd name="T57" fmla="*/ 7 h 343"/>
                      <a:gd name="T58" fmla="*/ 12 w 304"/>
                      <a:gd name="T59" fmla="*/ 9 h 343"/>
                      <a:gd name="T60" fmla="*/ 11 w 304"/>
                      <a:gd name="T61" fmla="*/ 10 h 343"/>
                      <a:gd name="T62" fmla="*/ 9 w 304"/>
                      <a:gd name="T63" fmla="*/ 10 h 343"/>
                      <a:gd name="T64" fmla="*/ 9 w 304"/>
                      <a:gd name="T65" fmla="*/ 9 h 343"/>
                      <a:gd name="T66" fmla="*/ 8 w 304"/>
                      <a:gd name="T67" fmla="*/ 10 h 343"/>
                      <a:gd name="T68" fmla="*/ 6 w 304"/>
                      <a:gd name="T69" fmla="*/ 11 h 343"/>
                      <a:gd name="T70" fmla="*/ 6 w 304"/>
                      <a:gd name="T71" fmla="*/ 12 h 343"/>
                      <a:gd name="T72" fmla="*/ 6 w 304"/>
                      <a:gd name="T73" fmla="*/ 13 h 343"/>
                      <a:gd name="T74" fmla="*/ 6 w 304"/>
                      <a:gd name="T75" fmla="*/ 13 h 343"/>
                      <a:gd name="T76" fmla="*/ 5 w 304"/>
                      <a:gd name="T77" fmla="*/ 13 h 343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w 304"/>
                      <a:gd name="T118" fmla="*/ 0 h 343"/>
                      <a:gd name="T119" fmla="*/ 304 w 304"/>
                      <a:gd name="T120" fmla="*/ 343 h 343"/>
                    </a:gdLst>
                    <a:ahLst/>
                    <a:cxnLst>
                      <a:cxn ang="T78">
                        <a:pos x="T0" y="T1"/>
                      </a:cxn>
                      <a:cxn ang="T79">
                        <a:pos x="T2" y="T3"/>
                      </a:cxn>
                      <a:cxn ang="T80">
                        <a:pos x="T4" y="T5"/>
                      </a:cxn>
                      <a:cxn ang="T81">
                        <a:pos x="T6" y="T7"/>
                      </a:cxn>
                      <a:cxn ang="T82">
                        <a:pos x="T8" y="T9"/>
                      </a:cxn>
                      <a:cxn ang="T83">
                        <a:pos x="T10" y="T11"/>
                      </a:cxn>
                      <a:cxn ang="T84">
                        <a:pos x="T12" y="T13"/>
                      </a:cxn>
                      <a:cxn ang="T85">
                        <a:pos x="T14" y="T15"/>
                      </a:cxn>
                      <a:cxn ang="T86">
                        <a:pos x="T16" y="T17"/>
                      </a:cxn>
                      <a:cxn ang="T87">
                        <a:pos x="T18" y="T19"/>
                      </a:cxn>
                      <a:cxn ang="T88">
                        <a:pos x="T20" y="T21"/>
                      </a:cxn>
                      <a:cxn ang="T89">
                        <a:pos x="T22" y="T23"/>
                      </a:cxn>
                      <a:cxn ang="T90">
                        <a:pos x="T24" y="T25"/>
                      </a:cxn>
                      <a:cxn ang="T91">
                        <a:pos x="T26" y="T27"/>
                      </a:cxn>
                      <a:cxn ang="T92">
                        <a:pos x="T28" y="T29"/>
                      </a:cxn>
                      <a:cxn ang="T93">
                        <a:pos x="T30" y="T31"/>
                      </a:cxn>
                      <a:cxn ang="T94">
                        <a:pos x="T32" y="T33"/>
                      </a:cxn>
                      <a:cxn ang="T95">
                        <a:pos x="T34" y="T35"/>
                      </a:cxn>
                      <a:cxn ang="T96">
                        <a:pos x="T36" y="T37"/>
                      </a:cxn>
                      <a:cxn ang="T97">
                        <a:pos x="T38" y="T39"/>
                      </a:cxn>
                      <a:cxn ang="T98">
                        <a:pos x="T40" y="T41"/>
                      </a:cxn>
                      <a:cxn ang="T99">
                        <a:pos x="T42" y="T43"/>
                      </a:cxn>
                      <a:cxn ang="T100">
                        <a:pos x="T44" y="T45"/>
                      </a:cxn>
                      <a:cxn ang="T101">
                        <a:pos x="T46" y="T47"/>
                      </a:cxn>
                      <a:cxn ang="T102">
                        <a:pos x="T48" y="T49"/>
                      </a:cxn>
                      <a:cxn ang="T103">
                        <a:pos x="T50" y="T51"/>
                      </a:cxn>
                      <a:cxn ang="T104">
                        <a:pos x="T52" y="T53"/>
                      </a:cxn>
                      <a:cxn ang="T105">
                        <a:pos x="T54" y="T55"/>
                      </a:cxn>
                      <a:cxn ang="T106">
                        <a:pos x="T56" y="T57"/>
                      </a:cxn>
                      <a:cxn ang="T107">
                        <a:pos x="T58" y="T59"/>
                      </a:cxn>
                      <a:cxn ang="T108">
                        <a:pos x="T60" y="T61"/>
                      </a:cxn>
                      <a:cxn ang="T109">
                        <a:pos x="T62" y="T63"/>
                      </a:cxn>
                      <a:cxn ang="T110">
                        <a:pos x="T64" y="T65"/>
                      </a:cxn>
                      <a:cxn ang="T111">
                        <a:pos x="T66" y="T67"/>
                      </a:cxn>
                      <a:cxn ang="T112">
                        <a:pos x="T68" y="T69"/>
                      </a:cxn>
                      <a:cxn ang="T113">
                        <a:pos x="T70" y="T71"/>
                      </a:cxn>
                      <a:cxn ang="T114">
                        <a:pos x="T72" y="T73"/>
                      </a:cxn>
                      <a:cxn ang="T115">
                        <a:pos x="T74" y="T75"/>
                      </a:cxn>
                      <a:cxn ang="T116">
                        <a:pos x="T76" y="T77"/>
                      </a:cxn>
                    </a:cxnLst>
                    <a:rect l="T117" t="T118" r="T119" b="T120"/>
                    <a:pathLst>
                      <a:path w="304" h="343">
                        <a:moveTo>
                          <a:pt x="127" y="343"/>
                        </a:moveTo>
                        <a:lnTo>
                          <a:pt x="120" y="330"/>
                        </a:lnTo>
                        <a:lnTo>
                          <a:pt x="110" y="320"/>
                        </a:lnTo>
                        <a:lnTo>
                          <a:pt x="97" y="305"/>
                        </a:lnTo>
                        <a:lnTo>
                          <a:pt x="61" y="274"/>
                        </a:lnTo>
                        <a:lnTo>
                          <a:pt x="54" y="262"/>
                        </a:lnTo>
                        <a:lnTo>
                          <a:pt x="45" y="251"/>
                        </a:lnTo>
                        <a:lnTo>
                          <a:pt x="34" y="237"/>
                        </a:lnTo>
                        <a:lnTo>
                          <a:pt x="27" y="231"/>
                        </a:lnTo>
                        <a:lnTo>
                          <a:pt x="17" y="208"/>
                        </a:lnTo>
                        <a:lnTo>
                          <a:pt x="13" y="194"/>
                        </a:lnTo>
                        <a:lnTo>
                          <a:pt x="4" y="177"/>
                        </a:lnTo>
                        <a:lnTo>
                          <a:pt x="0" y="169"/>
                        </a:lnTo>
                        <a:lnTo>
                          <a:pt x="4" y="167"/>
                        </a:lnTo>
                        <a:lnTo>
                          <a:pt x="12" y="165"/>
                        </a:lnTo>
                        <a:lnTo>
                          <a:pt x="17" y="156"/>
                        </a:lnTo>
                        <a:lnTo>
                          <a:pt x="24" y="150"/>
                        </a:lnTo>
                        <a:lnTo>
                          <a:pt x="27" y="138"/>
                        </a:lnTo>
                        <a:lnTo>
                          <a:pt x="28" y="113"/>
                        </a:lnTo>
                        <a:lnTo>
                          <a:pt x="31" y="113"/>
                        </a:lnTo>
                        <a:lnTo>
                          <a:pt x="36" y="118"/>
                        </a:lnTo>
                        <a:lnTo>
                          <a:pt x="45" y="122"/>
                        </a:lnTo>
                        <a:lnTo>
                          <a:pt x="57" y="122"/>
                        </a:lnTo>
                        <a:lnTo>
                          <a:pt x="60" y="120"/>
                        </a:lnTo>
                        <a:lnTo>
                          <a:pt x="56" y="117"/>
                        </a:lnTo>
                        <a:lnTo>
                          <a:pt x="47" y="115"/>
                        </a:lnTo>
                        <a:lnTo>
                          <a:pt x="40" y="110"/>
                        </a:lnTo>
                        <a:lnTo>
                          <a:pt x="34" y="105"/>
                        </a:lnTo>
                        <a:lnTo>
                          <a:pt x="30" y="99"/>
                        </a:lnTo>
                        <a:lnTo>
                          <a:pt x="33" y="94"/>
                        </a:lnTo>
                        <a:lnTo>
                          <a:pt x="40" y="94"/>
                        </a:lnTo>
                        <a:lnTo>
                          <a:pt x="43" y="89"/>
                        </a:lnTo>
                        <a:lnTo>
                          <a:pt x="43" y="73"/>
                        </a:lnTo>
                        <a:lnTo>
                          <a:pt x="66" y="68"/>
                        </a:lnTo>
                        <a:lnTo>
                          <a:pt x="137" y="65"/>
                        </a:lnTo>
                        <a:lnTo>
                          <a:pt x="135" y="63"/>
                        </a:lnTo>
                        <a:lnTo>
                          <a:pt x="132" y="43"/>
                        </a:lnTo>
                        <a:lnTo>
                          <a:pt x="131" y="20"/>
                        </a:lnTo>
                        <a:lnTo>
                          <a:pt x="137" y="5"/>
                        </a:lnTo>
                        <a:lnTo>
                          <a:pt x="151" y="2"/>
                        </a:lnTo>
                        <a:lnTo>
                          <a:pt x="165" y="4"/>
                        </a:lnTo>
                        <a:lnTo>
                          <a:pt x="185" y="0"/>
                        </a:lnTo>
                        <a:lnTo>
                          <a:pt x="201" y="4"/>
                        </a:lnTo>
                        <a:lnTo>
                          <a:pt x="237" y="5"/>
                        </a:lnTo>
                        <a:lnTo>
                          <a:pt x="245" y="8"/>
                        </a:lnTo>
                        <a:lnTo>
                          <a:pt x="239" y="22"/>
                        </a:lnTo>
                        <a:lnTo>
                          <a:pt x="238" y="41"/>
                        </a:lnTo>
                        <a:lnTo>
                          <a:pt x="239" y="59"/>
                        </a:lnTo>
                        <a:lnTo>
                          <a:pt x="248" y="64"/>
                        </a:lnTo>
                        <a:lnTo>
                          <a:pt x="264" y="41"/>
                        </a:lnTo>
                        <a:lnTo>
                          <a:pt x="293" y="48"/>
                        </a:lnTo>
                        <a:lnTo>
                          <a:pt x="303" y="61"/>
                        </a:lnTo>
                        <a:lnTo>
                          <a:pt x="304" y="81"/>
                        </a:lnTo>
                        <a:lnTo>
                          <a:pt x="286" y="111"/>
                        </a:lnTo>
                        <a:lnTo>
                          <a:pt x="285" y="128"/>
                        </a:lnTo>
                        <a:lnTo>
                          <a:pt x="289" y="142"/>
                        </a:lnTo>
                        <a:lnTo>
                          <a:pt x="300" y="170"/>
                        </a:lnTo>
                        <a:lnTo>
                          <a:pt x="299" y="186"/>
                        </a:lnTo>
                        <a:lnTo>
                          <a:pt x="296" y="199"/>
                        </a:lnTo>
                        <a:lnTo>
                          <a:pt x="293" y="236"/>
                        </a:lnTo>
                        <a:lnTo>
                          <a:pt x="288" y="253"/>
                        </a:lnTo>
                        <a:lnTo>
                          <a:pt x="272" y="258"/>
                        </a:lnTo>
                        <a:lnTo>
                          <a:pt x="254" y="242"/>
                        </a:lnTo>
                        <a:lnTo>
                          <a:pt x="229" y="245"/>
                        </a:lnTo>
                        <a:lnTo>
                          <a:pt x="219" y="234"/>
                        </a:lnTo>
                        <a:lnTo>
                          <a:pt x="212" y="229"/>
                        </a:lnTo>
                        <a:lnTo>
                          <a:pt x="201" y="237"/>
                        </a:lnTo>
                        <a:lnTo>
                          <a:pt x="192" y="248"/>
                        </a:lnTo>
                        <a:lnTo>
                          <a:pt x="169" y="257"/>
                        </a:lnTo>
                        <a:lnTo>
                          <a:pt x="159" y="266"/>
                        </a:lnTo>
                        <a:lnTo>
                          <a:pt x="154" y="274"/>
                        </a:lnTo>
                        <a:lnTo>
                          <a:pt x="153" y="287"/>
                        </a:lnTo>
                        <a:lnTo>
                          <a:pt x="158" y="299"/>
                        </a:lnTo>
                        <a:lnTo>
                          <a:pt x="160" y="314"/>
                        </a:lnTo>
                        <a:lnTo>
                          <a:pt x="158" y="318"/>
                        </a:lnTo>
                        <a:lnTo>
                          <a:pt x="146" y="318"/>
                        </a:lnTo>
                        <a:lnTo>
                          <a:pt x="135" y="321"/>
                        </a:lnTo>
                        <a:lnTo>
                          <a:pt x="129" y="328"/>
                        </a:lnTo>
                        <a:lnTo>
                          <a:pt x="127" y="343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89" name="Freeform 41"/>
                  <p:cNvSpPr>
                    <a:spLocks/>
                  </p:cNvSpPr>
                  <p:nvPr/>
                </p:nvSpPr>
                <p:spPr bwMode="gray">
                  <a:xfrm>
                    <a:off x="2331" y="2334"/>
                    <a:ext cx="34" cy="9"/>
                  </a:xfrm>
                  <a:custGeom>
                    <a:avLst/>
                    <a:gdLst>
                      <a:gd name="T0" fmla="*/ 0 w 168"/>
                      <a:gd name="T1" fmla="*/ 2 h 45"/>
                      <a:gd name="T2" fmla="*/ 0 w 168"/>
                      <a:gd name="T3" fmla="*/ 2 h 45"/>
                      <a:gd name="T4" fmla="*/ 2 w 168"/>
                      <a:gd name="T5" fmla="*/ 1 h 45"/>
                      <a:gd name="T6" fmla="*/ 2 w 168"/>
                      <a:gd name="T7" fmla="*/ 1 h 45"/>
                      <a:gd name="T8" fmla="*/ 2 w 168"/>
                      <a:gd name="T9" fmla="*/ 1 h 45"/>
                      <a:gd name="T10" fmla="*/ 2 w 168"/>
                      <a:gd name="T11" fmla="*/ 1 h 45"/>
                      <a:gd name="T12" fmla="*/ 3 w 168"/>
                      <a:gd name="T13" fmla="*/ 1 h 45"/>
                      <a:gd name="T14" fmla="*/ 3 w 168"/>
                      <a:gd name="T15" fmla="*/ 1 h 45"/>
                      <a:gd name="T16" fmla="*/ 3 w 168"/>
                      <a:gd name="T17" fmla="*/ 1 h 45"/>
                      <a:gd name="T18" fmla="*/ 4 w 168"/>
                      <a:gd name="T19" fmla="*/ 1 h 45"/>
                      <a:gd name="T20" fmla="*/ 4 w 168"/>
                      <a:gd name="T21" fmla="*/ 1 h 45"/>
                      <a:gd name="T22" fmla="*/ 4 w 168"/>
                      <a:gd name="T23" fmla="*/ 1 h 45"/>
                      <a:gd name="T24" fmla="*/ 4 w 168"/>
                      <a:gd name="T25" fmla="*/ 1 h 45"/>
                      <a:gd name="T26" fmla="*/ 4 w 168"/>
                      <a:gd name="T27" fmla="*/ 1 h 45"/>
                      <a:gd name="T28" fmla="*/ 5 w 168"/>
                      <a:gd name="T29" fmla="*/ 1 h 45"/>
                      <a:gd name="T30" fmla="*/ 5 w 168"/>
                      <a:gd name="T31" fmla="*/ 1 h 45"/>
                      <a:gd name="T32" fmla="*/ 5 w 168"/>
                      <a:gd name="T33" fmla="*/ 1 h 45"/>
                      <a:gd name="T34" fmla="*/ 6 w 168"/>
                      <a:gd name="T35" fmla="*/ 1 h 45"/>
                      <a:gd name="T36" fmla="*/ 6 w 168"/>
                      <a:gd name="T37" fmla="*/ 1 h 45"/>
                      <a:gd name="T38" fmla="*/ 6 w 168"/>
                      <a:gd name="T39" fmla="*/ 1 h 45"/>
                      <a:gd name="T40" fmla="*/ 6 w 168"/>
                      <a:gd name="T41" fmla="*/ 1 h 45"/>
                      <a:gd name="T42" fmla="*/ 7 w 168"/>
                      <a:gd name="T43" fmla="*/ 1 h 45"/>
                      <a:gd name="T44" fmla="*/ 7 w 168"/>
                      <a:gd name="T45" fmla="*/ 1 h 45"/>
                      <a:gd name="T46" fmla="*/ 7 w 168"/>
                      <a:gd name="T47" fmla="*/ 1 h 45"/>
                      <a:gd name="T48" fmla="*/ 7 w 168"/>
                      <a:gd name="T49" fmla="*/ 1 h 45"/>
                      <a:gd name="T50" fmla="*/ 7 w 168"/>
                      <a:gd name="T51" fmla="*/ 1 h 45"/>
                      <a:gd name="T52" fmla="*/ 7 w 168"/>
                      <a:gd name="T53" fmla="*/ 1 h 45"/>
                      <a:gd name="T54" fmla="*/ 7 w 168"/>
                      <a:gd name="T55" fmla="*/ 1 h 45"/>
                      <a:gd name="T56" fmla="*/ 6 w 168"/>
                      <a:gd name="T57" fmla="*/ 1 h 45"/>
                      <a:gd name="T58" fmla="*/ 6 w 168"/>
                      <a:gd name="T59" fmla="*/ 1 h 45"/>
                      <a:gd name="T60" fmla="*/ 6 w 168"/>
                      <a:gd name="T61" fmla="*/ 1 h 45"/>
                      <a:gd name="T62" fmla="*/ 6 w 168"/>
                      <a:gd name="T63" fmla="*/ 1 h 45"/>
                      <a:gd name="T64" fmla="*/ 5 w 168"/>
                      <a:gd name="T65" fmla="*/ 1 h 45"/>
                      <a:gd name="T66" fmla="*/ 5 w 168"/>
                      <a:gd name="T67" fmla="*/ 0 h 45"/>
                      <a:gd name="T68" fmla="*/ 5 w 168"/>
                      <a:gd name="T69" fmla="*/ 0 h 45"/>
                      <a:gd name="T70" fmla="*/ 5 w 168"/>
                      <a:gd name="T71" fmla="*/ 0 h 45"/>
                      <a:gd name="T72" fmla="*/ 4 w 168"/>
                      <a:gd name="T73" fmla="*/ 0 h 45"/>
                      <a:gd name="T74" fmla="*/ 4 w 168"/>
                      <a:gd name="T75" fmla="*/ 0 h 45"/>
                      <a:gd name="T76" fmla="*/ 4 w 168"/>
                      <a:gd name="T77" fmla="*/ 0 h 45"/>
                      <a:gd name="T78" fmla="*/ 4 w 168"/>
                      <a:gd name="T79" fmla="*/ 0 h 45"/>
                      <a:gd name="T80" fmla="*/ 4 w 168"/>
                      <a:gd name="T81" fmla="*/ 0 h 45"/>
                      <a:gd name="T82" fmla="*/ 3 w 168"/>
                      <a:gd name="T83" fmla="*/ 0 h 45"/>
                      <a:gd name="T84" fmla="*/ 3 w 168"/>
                      <a:gd name="T85" fmla="*/ 0 h 45"/>
                      <a:gd name="T86" fmla="*/ 3 w 168"/>
                      <a:gd name="T87" fmla="*/ 1 h 45"/>
                      <a:gd name="T88" fmla="*/ 1 w 168"/>
                      <a:gd name="T89" fmla="*/ 1 h 45"/>
                      <a:gd name="T90" fmla="*/ 1 w 168"/>
                      <a:gd name="T91" fmla="*/ 1 h 45"/>
                      <a:gd name="T92" fmla="*/ 1 w 168"/>
                      <a:gd name="T93" fmla="*/ 1 h 45"/>
                      <a:gd name="T94" fmla="*/ 1 w 168"/>
                      <a:gd name="T95" fmla="*/ 1 h 45"/>
                      <a:gd name="T96" fmla="*/ 0 w 168"/>
                      <a:gd name="T97" fmla="*/ 1 h 45"/>
                      <a:gd name="T98" fmla="*/ 0 w 168"/>
                      <a:gd name="T99" fmla="*/ 1 h 45"/>
                      <a:gd name="T100" fmla="*/ 0 w 168"/>
                      <a:gd name="T101" fmla="*/ 1 h 45"/>
                      <a:gd name="T102" fmla="*/ 0 w 168"/>
                      <a:gd name="T103" fmla="*/ 1 h 45"/>
                      <a:gd name="T104" fmla="*/ 0 w 168"/>
                      <a:gd name="T105" fmla="*/ 1 h 45"/>
                      <a:gd name="T106" fmla="*/ 0 w 168"/>
                      <a:gd name="T107" fmla="*/ 2 h 45"/>
                      <a:gd name="T108" fmla="*/ 0 w 168"/>
                      <a:gd name="T109" fmla="*/ 2 h 45"/>
                      <a:gd name="T110" fmla="*/ 0 w 168"/>
                      <a:gd name="T111" fmla="*/ 2 h 45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w 168"/>
                      <a:gd name="T169" fmla="*/ 0 h 45"/>
                      <a:gd name="T170" fmla="*/ 168 w 168"/>
                      <a:gd name="T171" fmla="*/ 45 h 45"/>
                    </a:gdLst>
                    <a:ahLst/>
                    <a:cxnLst>
                      <a:cxn ang="T112">
                        <a:pos x="T0" y="T1"/>
                      </a:cxn>
                      <a:cxn ang="T113">
                        <a:pos x="T2" y="T3"/>
                      </a:cxn>
                      <a:cxn ang="T114">
                        <a:pos x="T4" y="T5"/>
                      </a:cxn>
                      <a:cxn ang="T115">
                        <a:pos x="T6" y="T7"/>
                      </a:cxn>
                      <a:cxn ang="T116">
                        <a:pos x="T8" y="T9"/>
                      </a:cxn>
                      <a:cxn ang="T117">
                        <a:pos x="T10" y="T11"/>
                      </a:cxn>
                      <a:cxn ang="T118">
                        <a:pos x="T12" y="T13"/>
                      </a:cxn>
                      <a:cxn ang="T119">
                        <a:pos x="T14" y="T15"/>
                      </a:cxn>
                      <a:cxn ang="T120">
                        <a:pos x="T16" y="T17"/>
                      </a:cxn>
                      <a:cxn ang="T121">
                        <a:pos x="T18" y="T19"/>
                      </a:cxn>
                      <a:cxn ang="T122">
                        <a:pos x="T20" y="T21"/>
                      </a:cxn>
                      <a:cxn ang="T123">
                        <a:pos x="T22" y="T23"/>
                      </a:cxn>
                      <a:cxn ang="T124">
                        <a:pos x="T24" y="T25"/>
                      </a:cxn>
                      <a:cxn ang="T125">
                        <a:pos x="T26" y="T27"/>
                      </a:cxn>
                      <a:cxn ang="T126">
                        <a:pos x="T28" y="T29"/>
                      </a:cxn>
                      <a:cxn ang="T127">
                        <a:pos x="T30" y="T31"/>
                      </a:cxn>
                      <a:cxn ang="T128">
                        <a:pos x="T32" y="T33"/>
                      </a:cxn>
                      <a:cxn ang="T129">
                        <a:pos x="T34" y="T35"/>
                      </a:cxn>
                      <a:cxn ang="T130">
                        <a:pos x="T36" y="T37"/>
                      </a:cxn>
                      <a:cxn ang="T131">
                        <a:pos x="T38" y="T39"/>
                      </a:cxn>
                      <a:cxn ang="T132">
                        <a:pos x="T40" y="T41"/>
                      </a:cxn>
                      <a:cxn ang="T133">
                        <a:pos x="T42" y="T43"/>
                      </a:cxn>
                      <a:cxn ang="T134">
                        <a:pos x="T44" y="T45"/>
                      </a:cxn>
                      <a:cxn ang="T135">
                        <a:pos x="T46" y="T47"/>
                      </a:cxn>
                      <a:cxn ang="T136">
                        <a:pos x="T48" y="T49"/>
                      </a:cxn>
                      <a:cxn ang="T137">
                        <a:pos x="T50" y="T51"/>
                      </a:cxn>
                      <a:cxn ang="T138">
                        <a:pos x="T52" y="T53"/>
                      </a:cxn>
                      <a:cxn ang="T139">
                        <a:pos x="T54" y="T55"/>
                      </a:cxn>
                      <a:cxn ang="T140">
                        <a:pos x="T56" y="T57"/>
                      </a:cxn>
                      <a:cxn ang="T141">
                        <a:pos x="T58" y="T59"/>
                      </a:cxn>
                      <a:cxn ang="T142">
                        <a:pos x="T60" y="T61"/>
                      </a:cxn>
                      <a:cxn ang="T143">
                        <a:pos x="T62" y="T63"/>
                      </a:cxn>
                      <a:cxn ang="T144">
                        <a:pos x="T64" y="T65"/>
                      </a:cxn>
                      <a:cxn ang="T145">
                        <a:pos x="T66" y="T67"/>
                      </a:cxn>
                      <a:cxn ang="T146">
                        <a:pos x="T68" y="T69"/>
                      </a:cxn>
                      <a:cxn ang="T147">
                        <a:pos x="T70" y="T71"/>
                      </a:cxn>
                      <a:cxn ang="T148">
                        <a:pos x="T72" y="T73"/>
                      </a:cxn>
                      <a:cxn ang="T149">
                        <a:pos x="T74" y="T75"/>
                      </a:cxn>
                      <a:cxn ang="T150">
                        <a:pos x="T76" y="T77"/>
                      </a:cxn>
                      <a:cxn ang="T151">
                        <a:pos x="T78" y="T79"/>
                      </a:cxn>
                      <a:cxn ang="T152">
                        <a:pos x="T80" y="T81"/>
                      </a:cxn>
                      <a:cxn ang="T153">
                        <a:pos x="T82" y="T83"/>
                      </a:cxn>
                      <a:cxn ang="T154">
                        <a:pos x="T84" y="T85"/>
                      </a:cxn>
                      <a:cxn ang="T155">
                        <a:pos x="T86" y="T87"/>
                      </a:cxn>
                      <a:cxn ang="T156">
                        <a:pos x="T88" y="T89"/>
                      </a:cxn>
                      <a:cxn ang="T157">
                        <a:pos x="T90" y="T91"/>
                      </a:cxn>
                      <a:cxn ang="T158">
                        <a:pos x="T92" y="T93"/>
                      </a:cxn>
                      <a:cxn ang="T159">
                        <a:pos x="T94" y="T95"/>
                      </a:cxn>
                      <a:cxn ang="T160">
                        <a:pos x="T96" y="T97"/>
                      </a:cxn>
                      <a:cxn ang="T161">
                        <a:pos x="T98" y="T99"/>
                      </a:cxn>
                      <a:cxn ang="T162">
                        <a:pos x="T100" y="T101"/>
                      </a:cxn>
                      <a:cxn ang="T163">
                        <a:pos x="T102" y="T103"/>
                      </a:cxn>
                      <a:cxn ang="T164">
                        <a:pos x="T104" y="T105"/>
                      </a:cxn>
                      <a:cxn ang="T165">
                        <a:pos x="T106" y="T107"/>
                      </a:cxn>
                      <a:cxn ang="T166">
                        <a:pos x="T108" y="T109"/>
                      </a:cxn>
                      <a:cxn ang="T167">
                        <a:pos x="T110" y="T111"/>
                      </a:cxn>
                    </a:cxnLst>
                    <a:rect l="T168" t="T169" r="T170" b="T171"/>
                    <a:pathLst>
                      <a:path w="168" h="45">
                        <a:moveTo>
                          <a:pt x="4" y="44"/>
                        </a:moveTo>
                        <a:lnTo>
                          <a:pt x="8" y="38"/>
                        </a:lnTo>
                        <a:lnTo>
                          <a:pt x="47" y="34"/>
                        </a:lnTo>
                        <a:lnTo>
                          <a:pt x="55" y="34"/>
                        </a:lnTo>
                        <a:lnTo>
                          <a:pt x="56" y="34"/>
                        </a:lnTo>
                        <a:lnTo>
                          <a:pt x="59" y="27"/>
                        </a:lnTo>
                        <a:lnTo>
                          <a:pt x="64" y="26"/>
                        </a:lnTo>
                        <a:lnTo>
                          <a:pt x="67" y="27"/>
                        </a:lnTo>
                        <a:lnTo>
                          <a:pt x="80" y="26"/>
                        </a:lnTo>
                        <a:lnTo>
                          <a:pt x="88" y="22"/>
                        </a:lnTo>
                        <a:lnTo>
                          <a:pt x="92" y="17"/>
                        </a:lnTo>
                        <a:lnTo>
                          <a:pt x="94" y="16"/>
                        </a:lnTo>
                        <a:lnTo>
                          <a:pt x="101" y="17"/>
                        </a:lnTo>
                        <a:lnTo>
                          <a:pt x="104" y="21"/>
                        </a:lnTo>
                        <a:lnTo>
                          <a:pt x="112" y="23"/>
                        </a:lnTo>
                        <a:lnTo>
                          <a:pt x="120" y="28"/>
                        </a:lnTo>
                        <a:lnTo>
                          <a:pt x="128" y="29"/>
                        </a:lnTo>
                        <a:lnTo>
                          <a:pt x="136" y="33"/>
                        </a:lnTo>
                        <a:lnTo>
                          <a:pt x="144" y="33"/>
                        </a:lnTo>
                        <a:lnTo>
                          <a:pt x="146" y="34"/>
                        </a:lnTo>
                        <a:lnTo>
                          <a:pt x="152" y="31"/>
                        </a:lnTo>
                        <a:lnTo>
                          <a:pt x="164" y="28"/>
                        </a:lnTo>
                        <a:lnTo>
                          <a:pt x="168" y="24"/>
                        </a:lnTo>
                        <a:lnTo>
                          <a:pt x="168" y="21"/>
                        </a:lnTo>
                        <a:lnTo>
                          <a:pt x="168" y="16"/>
                        </a:lnTo>
                        <a:lnTo>
                          <a:pt x="167" y="16"/>
                        </a:lnTo>
                        <a:lnTo>
                          <a:pt x="164" y="16"/>
                        </a:lnTo>
                        <a:lnTo>
                          <a:pt x="161" y="15"/>
                        </a:lnTo>
                        <a:lnTo>
                          <a:pt x="156" y="15"/>
                        </a:lnTo>
                        <a:lnTo>
                          <a:pt x="152" y="16"/>
                        </a:lnTo>
                        <a:lnTo>
                          <a:pt x="141" y="21"/>
                        </a:lnTo>
                        <a:lnTo>
                          <a:pt x="136" y="20"/>
                        </a:lnTo>
                        <a:lnTo>
                          <a:pt x="130" y="17"/>
                        </a:lnTo>
                        <a:lnTo>
                          <a:pt x="126" y="11"/>
                        </a:lnTo>
                        <a:lnTo>
                          <a:pt x="125" y="10"/>
                        </a:lnTo>
                        <a:lnTo>
                          <a:pt x="113" y="10"/>
                        </a:lnTo>
                        <a:lnTo>
                          <a:pt x="107" y="2"/>
                        </a:lnTo>
                        <a:lnTo>
                          <a:pt x="101" y="1"/>
                        </a:lnTo>
                        <a:lnTo>
                          <a:pt x="98" y="0"/>
                        </a:lnTo>
                        <a:lnTo>
                          <a:pt x="92" y="1"/>
                        </a:lnTo>
                        <a:lnTo>
                          <a:pt x="87" y="4"/>
                        </a:lnTo>
                        <a:lnTo>
                          <a:pt x="81" y="2"/>
                        </a:lnTo>
                        <a:lnTo>
                          <a:pt x="76" y="7"/>
                        </a:lnTo>
                        <a:lnTo>
                          <a:pt x="72" y="13"/>
                        </a:lnTo>
                        <a:lnTo>
                          <a:pt x="16" y="13"/>
                        </a:lnTo>
                        <a:lnTo>
                          <a:pt x="15" y="13"/>
                        </a:lnTo>
                        <a:lnTo>
                          <a:pt x="13" y="17"/>
                        </a:lnTo>
                        <a:lnTo>
                          <a:pt x="15" y="21"/>
                        </a:lnTo>
                        <a:lnTo>
                          <a:pt x="8" y="20"/>
                        </a:lnTo>
                        <a:lnTo>
                          <a:pt x="6" y="21"/>
                        </a:lnTo>
                        <a:lnTo>
                          <a:pt x="4" y="26"/>
                        </a:lnTo>
                        <a:lnTo>
                          <a:pt x="1" y="28"/>
                        </a:lnTo>
                        <a:lnTo>
                          <a:pt x="0" y="34"/>
                        </a:lnTo>
                        <a:lnTo>
                          <a:pt x="1" y="44"/>
                        </a:lnTo>
                        <a:lnTo>
                          <a:pt x="2" y="45"/>
                        </a:lnTo>
                        <a:lnTo>
                          <a:pt x="4" y="44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90" name="Freeform 42"/>
                  <p:cNvSpPr>
                    <a:spLocks/>
                  </p:cNvSpPr>
                  <p:nvPr/>
                </p:nvSpPr>
                <p:spPr bwMode="gray">
                  <a:xfrm>
                    <a:off x="2332" y="2347"/>
                    <a:ext cx="35" cy="19"/>
                  </a:xfrm>
                  <a:custGeom>
                    <a:avLst/>
                    <a:gdLst>
                      <a:gd name="T0" fmla="*/ 7 w 173"/>
                      <a:gd name="T1" fmla="*/ 0 h 99"/>
                      <a:gd name="T2" fmla="*/ 7 w 173"/>
                      <a:gd name="T3" fmla="*/ 0 h 99"/>
                      <a:gd name="T4" fmla="*/ 7 w 173"/>
                      <a:gd name="T5" fmla="*/ 1 h 99"/>
                      <a:gd name="T6" fmla="*/ 7 w 173"/>
                      <a:gd name="T7" fmla="*/ 1 h 99"/>
                      <a:gd name="T8" fmla="*/ 7 w 173"/>
                      <a:gd name="T9" fmla="*/ 1 h 99"/>
                      <a:gd name="T10" fmla="*/ 7 w 173"/>
                      <a:gd name="T11" fmla="*/ 1 h 99"/>
                      <a:gd name="T12" fmla="*/ 7 w 173"/>
                      <a:gd name="T13" fmla="*/ 1 h 99"/>
                      <a:gd name="T14" fmla="*/ 6 w 173"/>
                      <a:gd name="T15" fmla="*/ 1 h 99"/>
                      <a:gd name="T16" fmla="*/ 6 w 173"/>
                      <a:gd name="T17" fmla="*/ 1 h 99"/>
                      <a:gd name="T18" fmla="*/ 7 w 173"/>
                      <a:gd name="T19" fmla="*/ 1 h 99"/>
                      <a:gd name="T20" fmla="*/ 7 w 173"/>
                      <a:gd name="T21" fmla="*/ 1 h 99"/>
                      <a:gd name="T22" fmla="*/ 7 w 173"/>
                      <a:gd name="T23" fmla="*/ 2 h 99"/>
                      <a:gd name="T24" fmla="*/ 7 w 173"/>
                      <a:gd name="T25" fmla="*/ 2 h 99"/>
                      <a:gd name="T26" fmla="*/ 6 w 173"/>
                      <a:gd name="T27" fmla="*/ 2 h 99"/>
                      <a:gd name="T28" fmla="*/ 6 w 173"/>
                      <a:gd name="T29" fmla="*/ 2 h 99"/>
                      <a:gd name="T30" fmla="*/ 5 w 173"/>
                      <a:gd name="T31" fmla="*/ 2 h 99"/>
                      <a:gd name="T32" fmla="*/ 5 w 173"/>
                      <a:gd name="T33" fmla="*/ 3 h 99"/>
                      <a:gd name="T34" fmla="*/ 4 w 173"/>
                      <a:gd name="T35" fmla="*/ 3 h 99"/>
                      <a:gd name="T36" fmla="*/ 4 w 173"/>
                      <a:gd name="T37" fmla="*/ 3 h 99"/>
                      <a:gd name="T38" fmla="*/ 4 w 173"/>
                      <a:gd name="T39" fmla="*/ 3 h 99"/>
                      <a:gd name="T40" fmla="*/ 4 w 173"/>
                      <a:gd name="T41" fmla="*/ 4 h 99"/>
                      <a:gd name="T42" fmla="*/ 4 w 173"/>
                      <a:gd name="T43" fmla="*/ 4 h 99"/>
                      <a:gd name="T44" fmla="*/ 4 w 173"/>
                      <a:gd name="T45" fmla="*/ 3 h 99"/>
                      <a:gd name="T46" fmla="*/ 4 w 173"/>
                      <a:gd name="T47" fmla="*/ 3 h 99"/>
                      <a:gd name="T48" fmla="*/ 3 w 173"/>
                      <a:gd name="T49" fmla="*/ 3 h 99"/>
                      <a:gd name="T50" fmla="*/ 3 w 173"/>
                      <a:gd name="T51" fmla="*/ 3 h 99"/>
                      <a:gd name="T52" fmla="*/ 3 w 173"/>
                      <a:gd name="T53" fmla="*/ 3 h 99"/>
                      <a:gd name="T54" fmla="*/ 3 w 173"/>
                      <a:gd name="T55" fmla="*/ 3 h 99"/>
                      <a:gd name="T56" fmla="*/ 3 w 173"/>
                      <a:gd name="T57" fmla="*/ 2 h 99"/>
                      <a:gd name="T58" fmla="*/ 3 w 173"/>
                      <a:gd name="T59" fmla="*/ 2 h 99"/>
                      <a:gd name="T60" fmla="*/ 3 w 173"/>
                      <a:gd name="T61" fmla="*/ 2 h 99"/>
                      <a:gd name="T62" fmla="*/ 3 w 173"/>
                      <a:gd name="T63" fmla="*/ 2 h 99"/>
                      <a:gd name="T64" fmla="*/ 4 w 173"/>
                      <a:gd name="T65" fmla="*/ 2 h 99"/>
                      <a:gd name="T66" fmla="*/ 4 w 173"/>
                      <a:gd name="T67" fmla="*/ 2 h 99"/>
                      <a:gd name="T68" fmla="*/ 3 w 173"/>
                      <a:gd name="T69" fmla="*/ 2 h 99"/>
                      <a:gd name="T70" fmla="*/ 3 w 173"/>
                      <a:gd name="T71" fmla="*/ 2 h 99"/>
                      <a:gd name="T72" fmla="*/ 2 w 173"/>
                      <a:gd name="T73" fmla="*/ 2 h 99"/>
                      <a:gd name="T74" fmla="*/ 2 w 173"/>
                      <a:gd name="T75" fmla="*/ 2 h 99"/>
                      <a:gd name="T76" fmla="*/ 2 w 173"/>
                      <a:gd name="T77" fmla="*/ 2 h 99"/>
                      <a:gd name="T78" fmla="*/ 2 w 173"/>
                      <a:gd name="T79" fmla="*/ 2 h 99"/>
                      <a:gd name="T80" fmla="*/ 2 w 173"/>
                      <a:gd name="T81" fmla="*/ 2 h 99"/>
                      <a:gd name="T82" fmla="*/ 1 w 173"/>
                      <a:gd name="T83" fmla="*/ 2 h 99"/>
                      <a:gd name="T84" fmla="*/ 1 w 173"/>
                      <a:gd name="T85" fmla="*/ 2 h 99"/>
                      <a:gd name="T86" fmla="*/ 1 w 173"/>
                      <a:gd name="T87" fmla="*/ 1 h 99"/>
                      <a:gd name="T88" fmla="*/ 0 w 173"/>
                      <a:gd name="T89" fmla="*/ 1 h 99"/>
                      <a:gd name="T90" fmla="*/ 0 w 173"/>
                      <a:gd name="T91" fmla="*/ 1 h 99"/>
                      <a:gd name="T92" fmla="*/ 0 w 173"/>
                      <a:gd name="T93" fmla="*/ 1 h 99"/>
                      <a:gd name="T94" fmla="*/ 0 w 173"/>
                      <a:gd name="T95" fmla="*/ 1 h 99"/>
                      <a:gd name="T96" fmla="*/ 0 w 173"/>
                      <a:gd name="T97" fmla="*/ 1 h 99"/>
                      <a:gd name="T98" fmla="*/ 1 w 173"/>
                      <a:gd name="T99" fmla="*/ 1 h 99"/>
                      <a:gd name="T100" fmla="*/ 1 w 173"/>
                      <a:gd name="T101" fmla="*/ 1 h 99"/>
                      <a:gd name="T102" fmla="*/ 1 w 173"/>
                      <a:gd name="T103" fmla="*/ 0 h 99"/>
                      <a:gd name="T104" fmla="*/ 2 w 173"/>
                      <a:gd name="T105" fmla="*/ 1 h 99"/>
                      <a:gd name="T106" fmla="*/ 3 w 173"/>
                      <a:gd name="T107" fmla="*/ 0 h 99"/>
                      <a:gd name="T108" fmla="*/ 3 w 173"/>
                      <a:gd name="T109" fmla="*/ 0 h 99"/>
                      <a:gd name="T110" fmla="*/ 4 w 173"/>
                      <a:gd name="T111" fmla="*/ 0 h 99"/>
                      <a:gd name="T112" fmla="*/ 5 w 173"/>
                      <a:gd name="T113" fmla="*/ 0 h 99"/>
                      <a:gd name="T114" fmla="*/ 5 w 173"/>
                      <a:gd name="T115" fmla="*/ 0 h 99"/>
                      <a:gd name="T116" fmla="*/ 7 w 173"/>
                      <a:gd name="T117" fmla="*/ 0 h 99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w 173"/>
                      <a:gd name="T178" fmla="*/ 0 h 99"/>
                      <a:gd name="T179" fmla="*/ 173 w 173"/>
                      <a:gd name="T180" fmla="*/ 99 h 99"/>
                    </a:gdLst>
                    <a:ahLst/>
                    <a:cxnLst>
                      <a:cxn ang="T118">
                        <a:pos x="T0" y="T1"/>
                      </a:cxn>
                      <a:cxn ang="T119">
                        <a:pos x="T2" y="T3"/>
                      </a:cxn>
                      <a:cxn ang="T120">
                        <a:pos x="T4" y="T5"/>
                      </a:cxn>
                      <a:cxn ang="T121">
                        <a:pos x="T6" y="T7"/>
                      </a:cxn>
                      <a:cxn ang="T122">
                        <a:pos x="T8" y="T9"/>
                      </a:cxn>
                      <a:cxn ang="T123">
                        <a:pos x="T10" y="T11"/>
                      </a:cxn>
                      <a:cxn ang="T124">
                        <a:pos x="T12" y="T13"/>
                      </a:cxn>
                      <a:cxn ang="T125">
                        <a:pos x="T14" y="T15"/>
                      </a:cxn>
                      <a:cxn ang="T126">
                        <a:pos x="T16" y="T17"/>
                      </a:cxn>
                      <a:cxn ang="T127">
                        <a:pos x="T18" y="T19"/>
                      </a:cxn>
                      <a:cxn ang="T128">
                        <a:pos x="T20" y="T21"/>
                      </a:cxn>
                      <a:cxn ang="T129">
                        <a:pos x="T22" y="T23"/>
                      </a:cxn>
                      <a:cxn ang="T130">
                        <a:pos x="T24" y="T25"/>
                      </a:cxn>
                      <a:cxn ang="T131">
                        <a:pos x="T26" y="T27"/>
                      </a:cxn>
                      <a:cxn ang="T132">
                        <a:pos x="T28" y="T29"/>
                      </a:cxn>
                      <a:cxn ang="T133">
                        <a:pos x="T30" y="T31"/>
                      </a:cxn>
                      <a:cxn ang="T134">
                        <a:pos x="T32" y="T33"/>
                      </a:cxn>
                      <a:cxn ang="T135">
                        <a:pos x="T34" y="T35"/>
                      </a:cxn>
                      <a:cxn ang="T136">
                        <a:pos x="T36" y="T37"/>
                      </a:cxn>
                      <a:cxn ang="T137">
                        <a:pos x="T38" y="T39"/>
                      </a:cxn>
                      <a:cxn ang="T138">
                        <a:pos x="T40" y="T41"/>
                      </a:cxn>
                      <a:cxn ang="T139">
                        <a:pos x="T42" y="T43"/>
                      </a:cxn>
                      <a:cxn ang="T140">
                        <a:pos x="T44" y="T45"/>
                      </a:cxn>
                      <a:cxn ang="T141">
                        <a:pos x="T46" y="T47"/>
                      </a:cxn>
                      <a:cxn ang="T142">
                        <a:pos x="T48" y="T49"/>
                      </a:cxn>
                      <a:cxn ang="T143">
                        <a:pos x="T50" y="T51"/>
                      </a:cxn>
                      <a:cxn ang="T144">
                        <a:pos x="T52" y="T53"/>
                      </a:cxn>
                      <a:cxn ang="T145">
                        <a:pos x="T54" y="T55"/>
                      </a:cxn>
                      <a:cxn ang="T146">
                        <a:pos x="T56" y="T57"/>
                      </a:cxn>
                      <a:cxn ang="T147">
                        <a:pos x="T58" y="T59"/>
                      </a:cxn>
                      <a:cxn ang="T148">
                        <a:pos x="T60" y="T61"/>
                      </a:cxn>
                      <a:cxn ang="T149">
                        <a:pos x="T62" y="T63"/>
                      </a:cxn>
                      <a:cxn ang="T150">
                        <a:pos x="T64" y="T65"/>
                      </a:cxn>
                      <a:cxn ang="T151">
                        <a:pos x="T66" y="T67"/>
                      </a:cxn>
                      <a:cxn ang="T152">
                        <a:pos x="T68" y="T69"/>
                      </a:cxn>
                      <a:cxn ang="T153">
                        <a:pos x="T70" y="T71"/>
                      </a:cxn>
                      <a:cxn ang="T154">
                        <a:pos x="T72" y="T73"/>
                      </a:cxn>
                      <a:cxn ang="T155">
                        <a:pos x="T74" y="T75"/>
                      </a:cxn>
                      <a:cxn ang="T156">
                        <a:pos x="T76" y="T77"/>
                      </a:cxn>
                      <a:cxn ang="T157">
                        <a:pos x="T78" y="T79"/>
                      </a:cxn>
                      <a:cxn ang="T158">
                        <a:pos x="T80" y="T81"/>
                      </a:cxn>
                      <a:cxn ang="T159">
                        <a:pos x="T82" y="T83"/>
                      </a:cxn>
                      <a:cxn ang="T160">
                        <a:pos x="T84" y="T85"/>
                      </a:cxn>
                      <a:cxn ang="T161">
                        <a:pos x="T86" y="T87"/>
                      </a:cxn>
                      <a:cxn ang="T162">
                        <a:pos x="T88" y="T89"/>
                      </a:cxn>
                      <a:cxn ang="T163">
                        <a:pos x="T90" y="T91"/>
                      </a:cxn>
                      <a:cxn ang="T164">
                        <a:pos x="T92" y="T93"/>
                      </a:cxn>
                      <a:cxn ang="T165">
                        <a:pos x="T94" y="T95"/>
                      </a:cxn>
                      <a:cxn ang="T166">
                        <a:pos x="T96" y="T97"/>
                      </a:cxn>
                      <a:cxn ang="T167">
                        <a:pos x="T98" y="T99"/>
                      </a:cxn>
                      <a:cxn ang="T168">
                        <a:pos x="T100" y="T101"/>
                      </a:cxn>
                      <a:cxn ang="T169">
                        <a:pos x="T102" y="T103"/>
                      </a:cxn>
                      <a:cxn ang="T170">
                        <a:pos x="T104" y="T105"/>
                      </a:cxn>
                      <a:cxn ang="T171">
                        <a:pos x="T106" y="T107"/>
                      </a:cxn>
                      <a:cxn ang="T172">
                        <a:pos x="T108" y="T109"/>
                      </a:cxn>
                      <a:cxn ang="T173">
                        <a:pos x="T110" y="T111"/>
                      </a:cxn>
                      <a:cxn ang="T174">
                        <a:pos x="T112" y="T113"/>
                      </a:cxn>
                      <a:cxn ang="T175">
                        <a:pos x="T114" y="T115"/>
                      </a:cxn>
                      <a:cxn ang="T176">
                        <a:pos x="T116" y="T117"/>
                      </a:cxn>
                    </a:cxnLst>
                    <a:rect l="T177" t="T178" r="T179" b="T180"/>
                    <a:pathLst>
                      <a:path w="173" h="99">
                        <a:moveTo>
                          <a:pt x="169" y="0"/>
                        </a:moveTo>
                        <a:lnTo>
                          <a:pt x="169" y="7"/>
                        </a:lnTo>
                        <a:lnTo>
                          <a:pt x="173" y="14"/>
                        </a:lnTo>
                        <a:lnTo>
                          <a:pt x="173" y="18"/>
                        </a:lnTo>
                        <a:lnTo>
                          <a:pt x="170" y="24"/>
                        </a:lnTo>
                        <a:lnTo>
                          <a:pt x="168" y="25"/>
                        </a:lnTo>
                        <a:lnTo>
                          <a:pt x="162" y="25"/>
                        </a:lnTo>
                        <a:lnTo>
                          <a:pt x="160" y="27"/>
                        </a:lnTo>
                        <a:lnTo>
                          <a:pt x="158" y="30"/>
                        </a:lnTo>
                        <a:lnTo>
                          <a:pt x="164" y="34"/>
                        </a:lnTo>
                        <a:lnTo>
                          <a:pt x="167" y="39"/>
                        </a:lnTo>
                        <a:lnTo>
                          <a:pt x="168" y="57"/>
                        </a:lnTo>
                        <a:lnTo>
                          <a:pt x="162" y="57"/>
                        </a:lnTo>
                        <a:lnTo>
                          <a:pt x="158" y="60"/>
                        </a:lnTo>
                        <a:lnTo>
                          <a:pt x="138" y="60"/>
                        </a:lnTo>
                        <a:lnTo>
                          <a:pt x="121" y="67"/>
                        </a:lnTo>
                        <a:lnTo>
                          <a:pt x="114" y="73"/>
                        </a:lnTo>
                        <a:lnTo>
                          <a:pt x="110" y="81"/>
                        </a:lnTo>
                        <a:lnTo>
                          <a:pt x="106" y="89"/>
                        </a:lnTo>
                        <a:lnTo>
                          <a:pt x="104" y="93"/>
                        </a:lnTo>
                        <a:lnTo>
                          <a:pt x="99" y="97"/>
                        </a:lnTo>
                        <a:lnTo>
                          <a:pt x="93" y="99"/>
                        </a:lnTo>
                        <a:lnTo>
                          <a:pt x="93" y="95"/>
                        </a:lnTo>
                        <a:lnTo>
                          <a:pt x="94" y="93"/>
                        </a:lnTo>
                        <a:lnTo>
                          <a:pt x="86" y="94"/>
                        </a:lnTo>
                        <a:lnTo>
                          <a:pt x="81" y="93"/>
                        </a:lnTo>
                        <a:lnTo>
                          <a:pt x="76" y="87"/>
                        </a:lnTo>
                        <a:lnTo>
                          <a:pt x="74" y="79"/>
                        </a:lnTo>
                        <a:lnTo>
                          <a:pt x="77" y="70"/>
                        </a:lnTo>
                        <a:lnTo>
                          <a:pt x="72" y="58"/>
                        </a:lnTo>
                        <a:lnTo>
                          <a:pt x="79" y="54"/>
                        </a:lnTo>
                        <a:lnTo>
                          <a:pt x="84" y="51"/>
                        </a:lnTo>
                        <a:lnTo>
                          <a:pt x="103" y="50"/>
                        </a:lnTo>
                        <a:lnTo>
                          <a:pt x="104" y="45"/>
                        </a:lnTo>
                        <a:lnTo>
                          <a:pt x="81" y="47"/>
                        </a:lnTo>
                        <a:lnTo>
                          <a:pt x="72" y="50"/>
                        </a:lnTo>
                        <a:lnTo>
                          <a:pt x="59" y="57"/>
                        </a:lnTo>
                        <a:lnTo>
                          <a:pt x="51" y="58"/>
                        </a:lnTo>
                        <a:lnTo>
                          <a:pt x="47" y="57"/>
                        </a:lnTo>
                        <a:lnTo>
                          <a:pt x="46" y="49"/>
                        </a:lnTo>
                        <a:lnTo>
                          <a:pt x="40" y="50"/>
                        </a:lnTo>
                        <a:lnTo>
                          <a:pt x="30" y="47"/>
                        </a:lnTo>
                        <a:lnTo>
                          <a:pt x="27" y="43"/>
                        </a:lnTo>
                        <a:lnTo>
                          <a:pt x="25" y="34"/>
                        </a:lnTo>
                        <a:lnTo>
                          <a:pt x="4" y="28"/>
                        </a:lnTo>
                        <a:lnTo>
                          <a:pt x="0" y="20"/>
                        </a:lnTo>
                        <a:lnTo>
                          <a:pt x="2" y="17"/>
                        </a:lnTo>
                        <a:lnTo>
                          <a:pt x="3" y="19"/>
                        </a:lnTo>
                        <a:lnTo>
                          <a:pt x="7" y="20"/>
                        </a:lnTo>
                        <a:lnTo>
                          <a:pt x="14" y="20"/>
                        </a:lnTo>
                        <a:lnTo>
                          <a:pt x="25" y="15"/>
                        </a:lnTo>
                        <a:lnTo>
                          <a:pt x="29" y="13"/>
                        </a:lnTo>
                        <a:lnTo>
                          <a:pt x="59" y="14"/>
                        </a:lnTo>
                        <a:lnTo>
                          <a:pt x="68" y="12"/>
                        </a:lnTo>
                        <a:lnTo>
                          <a:pt x="79" y="7"/>
                        </a:lnTo>
                        <a:lnTo>
                          <a:pt x="92" y="1"/>
                        </a:lnTo>
                        <a:lnTo>
                          <a:pt x="116" y="1"/>
                        </a:lnTo>
                        <a:lnTo>
                          <a:pt x="119" y="0"/>
                        </a:lnTo>
                        <a:lnTo>
                          <a:pt x="169" y="0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91" name="Freeform 43"/>
                  <p:cNvSpPr>
                    <a:spLocks/>
                  </p:cNvSpPr>
                  <p:nvPr/>
                </p:nvSpPr>
                <p:spPr bwMode="gray">
                  <a:xfrm>
                    <a:off x="2390" y="2393"/>
                    <a:ext cx="45" cy="46"/>
                  </a:xfrm>
                  <a:custGeom>
                    <a:avLst/>
                    <a:gdLst>
                      <a:gd name="T0" fmla="*/ 0 w 227"/>
                      <a:gd name="T1" fmla="*/ 3 h 228"/>
                      <a:gd name="T2" fmla="*/ 0 w 227"/>
                      <a:gd name="T3" fmla="*/ 3 h 228"/>
                      <a:gd name="T4" fmla="*/ 1 w 227"/>
                      <a:gd name="T5" fmla="*/ 3 h 228"/>
                      <a:gd name="T6" fmla="*/ 1 w 227"/>
                      <a:gd name="T7" fmla="*/ 3 h 228"/>
                      <a:gd name="T8" fmla="*/ 1 w 227"/>
                      <a:gd name="T9" fmla="*/ 2 h 228"/>
                      <a:gd name="T10" fmla="*/ 2 w 227"/>
                      <a:gd name="T11" fmla="*/ 2 h 228"/>
                      <a:gd name="T12" fmla="*/ 2 w 227"/>
                      <a:gd name="T13" fmla="*/ 2 h 228"/>
                      <a:gd name="T14" fmla="*/ 2 w 227"/>
                      <a:gd name="T15" fmla="*/ 1 h 228"/>
                      <a:gd name="T16" fmla="*/ 2 w 227"/>
                      <a:gd name="T17" fmla="*/ 1 h 228"/>
                      <a:gd name="T18" fmla="*/ 3 w 227"/>
                      <a:gd name="T19" fmla="*/ 1 h 228"/>
                      <a:gd name="T20" fmla="*/ 3 w 227"/>
                      <a:gd name="T21" fmla="*/ 0 h 228"/>
                      <a:gd name="T22" fmla="*/ 3 w 227"/>
                      <a:gd name="T23" fmla="*/ 0 h 228"/>
                      <a:gd name="T24" fmla="*/ 3 w 227"/>
                      <a:gd name="T25" fmla="*/ 0 h 228"/>
                      <a:gd name="T26" fmla="*/ 3 w 227"/>
                      <a:gd name="T27" fmla="*/ 0 h 228"/>
                      <a:gd name="T28" fmla="*/ 4 w 227"/>
                      <a:gd name="T29" fmla="*/ 0 h 228"/>
                      <a:gd name="T30" fmla="*/ 4 w 227"/>
                      <a:gd name="T31" fmla="*/ 0 h 228"/>
                      <a:gd name="T32" fmla="*/ 4 w 227"/>
                      <a:gd name="T33" fmla="*/ 0 h 228"/>
                      <a:gd name="T34" fmla="*/ 5 w 227"/>
                      <a:gd name="T35" fmla="*/ 1 h 228"/>
                      <a:gd name="T36" fmla="*/ 5 w 227"/>
                      <a:gd name="T37" fmla="*/ 2 h 228"/>
                      <a:gd name="T38" fmla="*/ 5 w 227"/>
                      <a:gd name="T39" fmla="*/ 2 h 228"/>
                      <a:gd name="T40" fmla="*/ 4 w 227"/>
                      <a:gd name="T41" fmla="*/ 3 h 228"/>
                      <a:gd name="T42" fmla="*/ 5 w 227"/>
                      <a:gd name="T43" fmla="*/ 3 h 228"/>
                      <a:gd name="T44" fmla="*/ 5 w 227"/>
                      <a:gd name="T45" fmla="*/ 3 h 228"/>
                      <a:gd name="T46" fmla="*/ 5 w 227"/>
                      <a:gd name="T47" fmla="*/ 3 h 228"/>
                      <a:gd name="T48" fmla="*/ 6 w 227"/>
                      <a:gd name="T49" fmla="*/ 3 h 228"/>
                      <a:gd name="T50" fmla="*/ 6 w 227"/>
                      <a:gd name="T51" fmla="*/ 3 h 228"/>
                      <a:gd name="T52" fmla="*/ 6 w 227"/>
                      <a:gd name="T53" fmla="*/ 2 h 228"/>
                      <a:gd name="T54" fmla="*/ 6 w 227"/>
                      <a:gd name="T55" fmla="*/ 2 h 228"/>
                      <a:gd name="T56" fmla="*/ 7 w 227"/>
                      <a:gd name="T57" fmla="*/ 2 h 228"/>
                      <a:gd name="T58" fmla="*/ 7 w 227"/>
                      <a:gd name="T59" fmla="*/ 3 h 228"/>
                      <a:gd name="T60" fmla="*/ 7 w 227"/>
                      <a:gd name="T61" fmla="*/ 3 h 228"/>
                      <a:gd name="T62" fmla="*/ 7 w 227"/>
                      <a:gd name="T63" fmla="*/ 4 h 228"/>
                      <a:gd name="T64" fmla="*/ 7 w 227"/>
                      <a:gd name="T65" fmla="*/ 4 h 228"/>
                      <a:gd name="T66" fmla="*/ 6 w 227"/>
                      <a:gd name="T67" fmla="*/ 5 h 228"/>
                      <a:gd name="T68" fmla="*/ 7 w 227"/>
                      <a:gd name="T69" fmla="*/ 5 h 228"/>
                      <a:gd name="T70" fmla="*/ 7 w 227"/>
                      <a:gd name="T71" fmla="*/ 5 h 228"/>
                      <a:gd name="T72" fmla="*/ 7 w 227"/>
                      <a:gd name="T73" fmla="*/ 5 h 228"/>
                      <a:gd name="T74" fmla="*/ 8 w 227"/>
                      <a:gd name="T75" fmla="*/ 5 h 228"/>
                      <a:gd name="T76" fmla="*/ 8 w 227"/>
                      <a:gd name="T77" fmla="*/ 5 h 228"/>
                      <a:gd name="T78" fmla="*/ 8 w 227"/>
                      <a:gd name="T79" fmla="*/ 5 h 228"/>
                      <a:gd name="T80" fmla="*/ 8 w 227"/>
                      <a:gd name="T81" fmla="*/ 6 h 228"/>
                      <a:gd name="T82" fmla="*/ 9 w 227"/>
                      <a:gd name="T83" fmla="*/ 6 h 228"/>
                      <a:gd name="T84" fmla="*/ 9 w 227"/>
                      <a:gd name="T85" fmla="*/ 6 h 228"/>
                      <a:gd name="T86" fmla="*/ 9 w 227"/>
                      <a:gd name="T87" fmla="*/ 7 h 228"/>
                      <a:gd name="T88" fmla="*/ 9 w 227"/>
                      <a:gd name="T89" fmla="*/ 7 h 228"/>
                      <a:gd name="T90" fmla="*/ 9 w 227"/>
                      <a:gd name="T91" fmla="*/ 7 h 228"/>
                      <a:gd name="T92" fmla="*/ 9 w 227"/>
                      <a:gd name="T93" fmla="*/ 8 h 228"/>
                      <a:gd name="T94" fmla="*/ 9 w 227"/>
                      <a:gd name="T95" fmla="*/ 8 h 228"/>
                      <a:gd name="T96" fmla="*/ 9 w 227"/>
                      <a:gd name="T97" fmla="*/ 8 h 228"/>
                      <a:gd name="T98" fmla="*/ 8 w 227"/>
                      <a:gd name="T99" fmla="*/ 9 h 228"/>
                      <a:gd name="T100" fmla="*/ 7 w 227"/>
                      <a:gd name="T101" fmla="*/ 9 h 228"/>
                      <a:gd name="T102" fmla="*/ 7 w 227"/>
                      <a:gd name="T103" fmla="*/ 9 h 228"/>
                      <a:gd name="T104" fmla="*/ 6 w 227"/>
                      <a:gd name="T105" fmla="*/ 8 h 228"/>
                      <a:gd name="T106" fmla="*/ 5 w 227"/>
                      <a:gd name="T107" fmla="*/ 8 h 228"/>
                      <a:gd name="T108" fmla="*/ 4 w 227"/>
                      <a:gd name="T109" fmla="*/ 7 h 228"/>
                      <a:gd name="T110" fmla="*/ 3 w 227"/>
                      <a:gd name="T111" fmla="*/ 5 h 228"/>
                      <a:gd name="T112" fmla="*/ 2 w 227"/>
                      <a:gd name="T113" fmla="*/ 5 h 228"/>
                      <a:gd name="T114" fmla="*/ 1 w 227"/>
                      <a:gd name="T115" fmla="*/ 4 h 228"/>
                      <a:gd name="T116" fmla="*/ 1 w 227"/>
                      <a:gd name="T117" fmla="*/ 4 h 228"/>
                      <a:gd name="T118" fmla="*/ 1 w 227"/>
                      <a:gd name="T119" fmla="*/ 4 h 228"/>
                      <a:gd name="T120" fmla="*/ 0 w 227"/>
                      <a:gd name="T121" fmla="*/ 4 h 228"/>
                      <a:gd name="T122" fmla="*/ 0 w 227"/>
                      <a:gd name="T123" fmla="*/ 4 h 228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60000 65536"/>
                      <a:gd name="T184" fmla="*/ 0 60000 65536"/>
                      <a:gd name="T185" fmla="*/ 0 60000 65536"/>
                      <a:gd name="T186" fmla="*/ 0 w 227"/>
                      <a:gd name="T187" fmla="*/ 0 h 228"/>
                      <a:gd name="T188" fmla="*/ 227 w 227"/>
                      <a:gd name="T189" fmla="*/ 228 h 228"/>
                    </a:gdLst>
                    <a:ahLst/>
                    <a:cxnLst>
                      <a:cxn ang="T124">
                        <a:pos x="T0" y="T1"/>
                      </a:cxn>
                      <a:cxn ang="T125">
                        <a:pos x="T2" y="T3"/>
                      </a:cxn>
                      <a:cxn ang="T126">
                        <a:pos x="T4" y="T5"/>
                      </a:cxn>
                      <a:cxn ang="T127">
                        <a:pos x="T6" y="T7"/>
                      </a:cxn>
                      <a:cxn ang="T128">
                        <a:pos x="T8" y="T9"/>
                      </a:cxn>
                      <a:cxn ang="T129">
                        <a:pos x="T10" y="T11"/>
                      </a:cxn>
                      <a:cxn ang="T130">
                        <a:pos x="T12" y="T13"/>
                      </a:cxn>
                      <a:cxn ang="T131">
                        <a:pos x="T14" y="T15"/>
                      </a:cxn>
                      <a:cxn ang="T132">
                        <a:pos x="T16" y="T17"/>
                      </a:cxn>
                      <a:cxn ang="T133">
                        <a:pos x="T18" y="T19"/>
                      </a:cxn>
                      <a:cxn ang="T134">
                        <a:pos x="T20" y="T21"/>
                      </a:cxn>
                      <a:cxn ang="T135">
                        <a:pos x="T22" y="T23"/>
                      </a:cxn>
                      <a:cxn ang="T136">
                        <a:pos x="T24" y="T25"/>
                      </a:cxn>
                      <a:cxn ang="T137">
                        <a:pos x="T26" y="T27"/>
                      </a:cxn>
                      <a:cxn ang="T138">
                        <a:pos x="T28" y="T29"/>
                      </a:cxn>
                      <a:cxn ang="T139">
                        <a:pos x="T30" y="T31"/>
                      </a:cxn>
                      <a:cxn ang="T140">
                        <a:pos x="T32" y="T33"/>
                      </a:cxn>
                      <a:cxn ang="T141">
                        <a:pos x="T34" y="T35"/>
                      </a:cxn>
                      <a:cxn ang="T142">
                        <a:pos x="T36" y="T37"/>
                      </a:cxn>
                      <a:cxn ang="T143">
                        <a:pos x="T38" y="T39"/>
                      </a:cxn>
                      <a:cxn ang="T144">
                        <a:pos x="T40" y="T41"/>
                      </a:cxn>
                      <a:cxn ang="T145">
                        <a:pos x="T42" y="T43"/>
                      </a:cxn>
                      <a:cxn ang="T146">
                        <a:pos x="T44" y="T45"/>
                      </a:cxn>
                      <a:cxn ang="T147">
                        <a:pos x="T46" y="T47"/>
                      </a:cxn>
                      <a:cxn ang="T148">
                        <a:pos x="T48" y="T49"/>
                      </a:cxn>
                      <a:cxn ang="T149">
                        <a:pos x="T50" y="T51"/>
                      </a:cxn>
                      <a:cxn ang="T150">
                        <a:pos x="T52" y="T53"/>
                      </a:cxn>
                      <a:cxn ang="T151">
                        <a:pos x="T54" y="T55"/>
                      </a:cxn>
                      <a:cxn ang="T152">
                        <a:pos x="T56" y="T57"/>
                      </a:cxn>
                      <a:cxn ang="T153">
                        <a:pos x="T58" y="T59"/>
                      </a:cxn>
                      <a:cxn ang="T154">
                        <a:pos x="T60" y="T61"/>
                      </a:cxn>
                      <a:cxn ang="T155">
                        <a:pos x="T62" y="T63"/>
                      </a:cxn>
                      <a:cxn ang="T156">
                        <a:pos x="T64" y="T65"/>
                      </a:cxn>
                      <a:cxn ang="T157">
                        <a:pos x="T66" y="T67"/>
                      </a:cxn>
                      <a:cxn ang="T158">
                        <a:pos x="T68" y="T69"/>
                      </a:cxn>
                      <a:cxn ang="T159">
                        <a:pos x="T70" y="T71"/>
                      </a:cxn>
                      <a:cxn ang="T160">
                        <a:pos x="T72" y="T73"/>
                      </a:cxn>
                      <a:cxn ang="T161">
                        <a:pos x="T74" y="T75"/>
                      </a:cxn>
                      <a:cxn ang="T162">
                        <a:pos x="T76" y="T77"/>
                      </a:cxn>
                      <a:cxn ang="T163">
                        <a:pos x="T78" y="T79"/>
                      </a:cxn>
                      <a:cxn ang="T164">
                        <a:pos x="T80" y="T81"/>
                      </a:cxn>
                      <a:cxn ang="T165">
                        <a:pos x="T82" y="T83"/>
                      </a:cxn>
                      <a:cxn ang="T166">
                        <a:pos x="T84" y="T85"/>
                      </a:cxn>
                      <a:cxn ang="T167">
                        <a:pos x="T86" y="T87"/>
                      </a:cxn>
                      <a:cxn ang="T168">
                        <a:pos x="T88" y="T89"/>
                      </a:cxn>
                      <a:cxn ang="T169">
                        <a:pos x="T90" y="T91"/>
                      </a:cxn>
                      <a:cxn ang="T170">
                        <a:pos x="T92" y="T93"/>
                      </a:cxn>
                      <a:cxn ang="T171">
                        <a:pos x="T94" y="T95"/>
                      </a:cxn>
                      <a:cxn ang="T172">
                        <a:pos x="T96" y="T97"/>
                      </a:cxn>
                      <a:cxn ang="T173">
                        <a:pos x="T98" y="T99"/>
                      </a:cxn>
                      <a:cxn ang="T174">
                        <a:pos x="T100" y="T101"/>
                      </a:cxn>
                      <a:cxn ang="T175">
                        <a:pos x="T102" y="T103"/>
                      </a:cxn>
                      <a:cxn ang="T176">
                        <a:pos x="T104" y="T105"/>
                      </a:cxn>
                      <a:cxn ang="T177">
                        <a:pos x="T106" y="T107"/>
                      </a:cxn>
                      <a:cxn ang="T178">
                        <a:pos x="T108" y="T109"/>
                      </a:cxn>
                      <a:cxn ang="T179">
                        <a:pos x="T110" y="T111"/>
                      </a:cxn>
                      <a:cxn ang="T180">
                        <a:pos x="T112" y="T113"/>
                      </a:cxn>
                      <a:cxn ang="T181">
                        <a:pos x="T114" y="T115"/>
                      </a:cxn>
                      <a:cxn ang="T182">
                        <a:pos x="T116" y="T117"/>
                      </a:cxn>
                      <a:cxn ang="T183">
                        <a:pos x="T118" y="T119"/>
                      </a:cxn>
                      <a:cxn ang="T184">
                        <a:pos x="T120" y="T121"/>
                      </a:cxn>
                      <a:cxn ang="T185">
                        <a:pos x="T122" y="T123"/>
                      </a:cxn>
                    </a:cxnLst>
                    <a:rect l="T186" t="T187" r="T188" b="T189"/>
                    <a:pathLst>
                      <a:path w="227" h="228">
                        <a:moveTo>
                          <a:pt x="3" y="86"/>
                        </a:moveTo>
                        <a:lnTo>
                          <a:pt x="4" y="86"/>
                        </a:lnTo>
                        <a:lnTo>
                          <a:pt x="9" y="83"/>
                        </a:lnTo>
                        <a:lnTo>
                          <a:pt x="10" y="77"/>
                        </a:lnTo>
                        <a:lnTo>
                          <a:pt x="13" y="76"/>
                        </a:lnTo>
                        <a:lnTo>
                          <a:pt x="13" y="71"/>
                        </a:lnTo>
                        <a:lnTo>
                          <a:pt x="14" y="68"/>
                        </a:lnTo>
                        <a:lnTo>
                          <a:pt x="19" y="68"/>
                        </a:lnTo>
                        <a:lnTo>
                          <a:pt x="22" y="66"/>
                        </a:lnTo>
                        <a:lnTo>
                          <a:pt x="31" y="57"/>
                        </a:lnTo>
                        <a:lnTo>
                          <a:pt x="37" y="56"/>
                        </a:lnTo>
                        <a:lnTo>
                          <a:pt x="41" y="49"/>
                        </a:lnTo>
                        <a:lnTo>
                          <a:pt x="44" y="49"/>
                        </a:lnTo>
                        <a:lnTo>
                          <a:pt x="47" y="44"/>
                        </a:lnTo>
                        <a:lnTo>
                          <a:pt x="51" y="43"/>
                        </a:lnTo>
                        <a:lnTo>
                          <a:pt x="51" y="27"/>
                        </a:lnTo>
                        <a:lnTo>
                          <a:pt x="53" y="25"/>
                        </a:lnTo>
                        <a:lnTo>
                          <a:pt x="58" y="19"/>
                        </a:lnTo>
                        <a:lnTo>
                          <a:pt x="68" y="18"/>
                        </a:lnTo>
                        <a:lnTo>
                          <a:pt x="68" y="17"/>
                        </a:lnTo>
                        <a:lnTo>
                          <a:pt x="64" y="13"/>
                        </a:lnTo>
                        <a:lnTo>
                          <a:pt x="65" y="8"/>
                        </a:lnTo>
                        <a:lnTo>
                          <a:pt x="69" y="8"/>
                        </a:lnTo>
                        <a:lnTo>
                          <a:pt x="71" y="2"/>
                        </a:lnTo>
                        <a:lnTo>
                          <a:pt x="75" y="0"/>
                        </a:lnTo>
                        <a:lnTo>
                          <a:pt x="79" y="1"/>
                        </a:lnTo>
                        <a:lnTo>
                          <a:pt x="85" y="6"/>
                        </a:lnTo>
                        <a:lnTo>
                          <a:pt x="86" y="6"/>
                        </a:lnTo>
                        <a:lnTo>
                          <a:pt x="89" y="3"/>
                        </a:lnTo>
                        <a:lnTo>
                          <a:pt x="97" y="1"/>
                        </a:lnTo>
                        <a:lnTo>
                          <a:pt x="100" y="2"/>
                        </a:lnTo>
                        <a:lnTo>
                          <a:pt x="100" y="3"/>
                        </a:lnTo>
                        <a:lnTo>
                          <a:pt x="102" y="7"/>
                        </a:lnTo>
                        <a:lnTo>
                          <a:pt x="110" y="12"/>
                        </a:lnTo>
                        <a:lnTo>
                          <a:pt x="110" y="19"/>
                        </a:lnTo>
                        <a:lnTo>
                          <a:pt x="114" y="25"/>
                        </a:lnTo>
                        <a:lnTo>
                          <a:pt x="116" y="39"/>
                        </a:lnTo>
                        <a:lnTo>
                          <a:pt x="118" y="41"/>
                        </a:lnTo>
                        <a:lnTo>
                          <a:pt x="117" y="56"/>
                        </a:lnTo>
                        <a:lnTo>
                          <a:pt x="114" y="60"/>
                        </a:lnTo>
                        <a:lnTo>
                          <a:pt x="111" y="62"/>
                        </a:lnTo>
                        <a:lnTo>
                          <a:pt x="110" y="65"/>
                        </a:lnTo>
                        <a:lnTo>
                          <a:pt x="111" y="66"/>
                        </a:lnTo>
                        <a:lnTo>
                          <a:pt x="116" y="66"/>
                        </a:lnTo>
                        <a:lnTo>
                          <a:pt x="119" y="62"/>
                        </a:lnTo>
                        <a:lnTo>
                          <a:pt x="122" y="64"/>
                        </a:lnTo>
                        <a:lnTo>
                          <a:pt x="127" y="67"/>
                        </a:lnTo>
                        <a:lnTo>
                          <a:pt x="132" y="75"/>
                        </a:lnTo>
                        <a:lnTo>
                          <a:pt x="137" y="73"/>
                        </a:lnTo>
                        <a:lnTo>
                          <a:pt x="139" y="71"/>
                        </a:lnTo>
                        <a:lnTo>
                          <a:pt x="146" y="70"/>
                        </a:lnTo>
                        <a:lnTo>
                          <a:pt x="148" y="66"/>
                        </a:lnTo>
                        <a:lnTo>
                          <a:pt x="153" y="60"/>
                        </a:lnTo>
                        <a:lnTo>
                          <a:pt x="153" y="51"/>
                        </a:lnTo>
                        <a:lnTo>
                          <a:pt x="156" y="49"/>
                        </a:lnTo>
                        <a:lnTo>
                          <a:pt x="162" y="50"/>
                        </a:lnTo>
                        <a:lnTo>
                          <a:pt x="166" y="56"/>
                        </a:lnTo>
                        <a:lnTo>
                          <a:pt x="167" y="61"/>
                        </a:lnTo>
                        <a:lnTo>
                          <a:pt x="169" y="70"/>
                        </a:lnTo>
                        <a:lnTo>
                          <a:pt x="171" y="71"/>
                        </a:lnTo>
                        <a:lnTo>
                          <a:pt x="173" y="75"/>
                        </a:lnTo>
                        <a:lnTo>
                          <a:pt x="173" y="76"/>
                        </a:lnTo>
                        <a:lnTo>
                          <a:pt x="178" y="80"/>
                        </a:lnTo>
                        <a:lnTo>
                          <a:pt x="175" y="95"/>
                        </a:lnTo>
                        <a:lnTo>
                          <a:pt x="173" y="98"/>
                        </a:lnTo>
                        <a:lnTo>
                          <a:pt x="165" y="105"/>
                        </a:lnTo>
                        <a:lnTo>
                          <a:pt x="161" y="111"/>
                        </a:lnTo>
                        <a:lnTo>
                          <a:pt x="161" y="113"/>
                        </a:lnTo>
                        <a:lnTo>
                          <a:pt x="164" y="113"/>
                        </a:lnTo>
                        <a:lnTo>
                          <a:pt x="165" y="115"/>
                        </a:lnTo>
                        <a:lnTo>
                          <a:pt x="169" y="114"/>
                        </a:lnTo>
                        <a:lnTo>
                          <a:pt x="170" y="116"/>
                        </a:lnTo>
                        <a:lnTo>
                          <a:pt x="172" y="118"/>
                        </a:lnTo>
                        <a:lnTo>
                          <a:pt x="176" y="118"/>
                        </a:lnTo>
                        <a:lnTo>
                          <a:pt x="183" y="123"/>
                        </a:lnTo>
                        <a:lnTo>
                          <a:pt x="193" y="123"/>
                        </a:lnTo>
                        <a:lnTo>
                          <a:pt x="196" y="123"/>
                        </a:lnTo>
                        <a:lnTo>
                          <a:pt x="199" y="130"/>
                        </a:lnTo>
                        <a:lnTo>
                          <a:pt x="199" y="134"/>
                        </a:lnTo>
                        <a:lnTo>
                          <a:pt x="202" y="135"/>
                        </a:lnTo>
                        <a:lnTo>
                          <a:pt x="205" y="140"/>
                        </a:lnTo>
                        <a:lnTo>
                          <a:pt x="207" y="143"/>
                        </a:lnTo>
                        <a:lnTo>
                          <a:pt x="213" y="145"/>
                        </a:lnTo>
                        <a:lnTo>
                          <a:pt x="218" y="150"/>
                        </a:lnTo>
                        <a:lnTo>
                          <a:pt x="224" y="148"/>
                        </a:lnTo>
                        <a:lnTo>
                          <a:pt x="224" y="153"/>
                        </a:lnTo>
                        <a:lnTo>
                          <a:pt x="226" y="158"/>
                        </a:lnTo>
                        <a:lnTo>
                          <a:pt x="227" y="164"/>
                        </a:lnTo>
                        <a:lnTo>
                          <a:pt x="225" y="172"/>
                        </a:lnTo>
                        <a:lnTo>
                          <a:pt x="227" y="177"/>
                        </a:lnTo>
                        <a:lnTo>
                          <a:pt x="227" y="178"/>
                        </a:lnTo>
                        <a:lnTo>
                          <a:pt x="223" y="178"/>
                        </a:lnTo>
                        <a:lnTo>
                          <a:pt x="221" y="181"/>
                        </a:lnTo>
                        <a:lnTo>
                          <a:pt x="221" y="189"/>
                        </a:lnTo>
                        <a:lnTo>
                          <a:pt x="218" y="189"/>
                        </a:lnTo>
                        <a:lnTo>
                          <a:pt x="218" y="191"/>
                        </a:lnTo>
                        <a:lnTo>
                          <a:pt x="218" y="196"/>
                        </a:lnTo>
                        <a:lnTo>
                          <a:pt x="216" y="201"/>
                        </a:lnTo>
                        <a:lnTo>
                          <a:pt x="218" y="228"/>
                        </a:lnTo>
                        <a:lnTo>
                          <a:pt x="196" y="224"/>
                        </a:lnTo>
                        <a:lnTo>
                          <a:pt x="189" y="220"/>
                        </a:lnTo>
                        <a:lnTo>
                          <a:pt x="186" y="217"/>
                        </a:lnTo>
                        <a:lnTo>
                          <a:pt x="180" y="217"/>
                        </a:lnTo>
                        <a:lnTo>
                          <a:pt x="169" y="215"/>
                        </a:lnTo>
                        <a:lnTo>
                          <a:pt x="160" y="210"/>
                        </a:lnTo>
                        <a:lnTo>
                          <a:pt x="154" y="206"/>
                        </a:lnTo>
                        <a:lnTo>
                          <a:pt x="144" y="201"/>
                        </a:lnTo>
                        <a:lnTo>
                          <a:pt x="133" y="193"/>
                        </a:lnTo>
                        <a:lnTo>
                          <a:pt x="119" y="188"/>
                        </a:lnTo>
                        <a:lnTo>
                          <a:pt x="105" y="169"/>
                        </a:lnTo>
                        <a:lnTo>
                          <a:pt x="69" y="141"/>
                        </a:lnTo>
                        <a:lnTo>
                          <a:pt x="64" y="135"/>
                        </a:lnTo>
                        <a:lnTo>
                          <a:pt x="59" y="131"/>
                        </a:lnTo>
                        <a:lnTo>
                          <a:pt x="49" y="129"/>
                        </a:lnTo>
                        <a:lnTo>
                          <a:pt x="36" y="123"/>
                        </a:lnTo>
                        <a:lnTo>
                          <a:pt x="28" y="109"/>
                        </a:lnTo>
                        <a:lnTo>
                          <a:pt x="19" y="105"/>
                        </a:lnTo>
                        <a:lnTo>
                          <a:pt x="16" y="103"/>
                        </a:lnTo>
                        <a:lnTo>
                          <a:pt x="16" y="98"/>
                        </a:lnTo>
                        <a:lnTo>
                          <a:pt x="15" y="95"/>
                        </a:lnTo>
                        <a:lnTo>
                          <a:pt x="4" y="92"/>
                        </a:lnTo>
                        <a:lnTo>
                          <a:pt x="3" y="88"/>
                        </a:lnTo>
                        <a:lnTo>
                          <a:pt x="0" y="88"/>
                        </a:lnTo>
                        <a:lnTo>
                          <a:pt x="3" y="87"/>
                        </a:lnTo>
                        <a:lnTo>
                          <a:pt x="3" y="86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92" name="Freeform 44"/>
                  <p:cNvSpPr>
                    <a:spLocks/>
                  </p:cNvSpPr>
                  <p:nvPr/>
                </p:nvSpPr>
                <p:spPr bwMode="gray">
                  <a:xfrm>
                    <a:off x="2545" y="2334"/>
                    <a:ext cx="129" cy="107"/>
                  </a:xfrm>
                  <a:custGeom>
                    <a:avLst/>
                    <a:gdLst>
                      <a:gd name="T0" fmla="*/ 2 w 642"/>
                      <a:gd name="T1" fmla="*/ 3 h 532"/>
                      <a:gd name="T2" fmla="*/ 2 w 642"/>
                      <a:gd name="T3" fmla="*/ 3 h 532"/>
                      <a:gd name="T4" fmla="*/ 3 w 642"/>
                      <a:gd name="T5" fmla="*/ 2 h 532"/>
                      <a:gd name="T6" fmla="*/ 4 w 642"/>
                      <a:gd name="T7" fmla="*/ 0 h 532"/>
                      <a:gd name="T8" fmla="*/ 6 w 642"/>
                      <a:gd name="T9" fmla="*/ 0 h 532"/>
                      <a:gd name="T10" fmla="*/ 8 w 642"/>
                      <a:gd name="T11" fmla="*/ 1 h 532"/>
                      <a:gd name="T12" fmla="*/ 9 w 642"/>
                      <a:gd name="T13" fmla="*/ 2 h 532"/>
                      <a:gd name="T14" fmla="*/ 11 w 642"/>
                      <a:gd name="T15" fmla="*/ 1 h 532"/>
                      <a:gd name="T16" fmla="*/ 12 w 642"/>
                      <a:gd name="T17" fmla="*/ 1 h 532"/>
                      <a:gd name="T18" fmla="*/ 15 w 642"/>
                      <a:gd name="T19" fmla="*/ 2 h 532"/>
                      <a:gd name="T20" fmla="*/ 16 w 642"/>
                      <a:gd name="T21" fmla="*/ 1 h 532"/>
                      <a:gd name="T22" fmla="*/ 18 w 642"/>
                      <a:gd name="T23" fmla="*/ 1 h 532"/>
                      <a:gd name="T24" fmla="*/ 20 w 642"/>
                      <a:gd name="T25" fmla="*/ 1 h 532"/>
                      <a:gd name="T26" fmla="*/ 21 w 642"/>
                      <a:gd name="T27" fmla="*/ 1 h 532"/>
                      <a:gd name="T28" fmla="*/ 22 w 642"/>
                      <a:gd name="T29" fmla="*/ 1 h 532"/>
                      <a:gd name="T30" fmla="*/ 23 w 642"/>
                      <a:gd name="T31" fmla="*/ 1 h 532"/>
                      <a:gd name="T32" fmla="*/ 23 w 642"/>
                      <a:gd name="T33" fmla="*/ 0 h 532"/>
                      <a:gd name="T34" fmla="*/ 24 w 642"/>
                      <a:gd name="T35" fmla="*/ 1 h 532"/>
                      <a:gd name="T36" fmla="*/ 24 w 642"/>
                      <a:gd name="T37" fmla="*/ 2 h 532"/>
                      <a:gd name="T38" fmla="*/ 25 w 642"/>
                      <a:gd name="T39" fmla="*/ 3 h 532"/>
                      <a:gd name="T40" fmla="*/ 26 w 642"/>
                      <a:gd name="T41" fmla="*/ 3 h 532"/>
                      <a:gd name="T42" fmla="*/ 26 w 642"/>
                      <a:gd name="T43" fmla="*/ 5 h 532"/>
                      <a:gd name="T44" fmla="*/ 24 w 642"/>
                      <a:gd name="T45" fmla="*/ 6 h 532"/>
                      <a:gd name="T46" fmla="*/ 24 w 642"/>
                      <a:gd name="T47" fmla="*/ 6 h 532"/>
                      <a:gd name="T48" fmla="*/ 23 w 642"/>
                      <a:gd name="T49" fmla="*/ 8 h 532"/>
                      <a:gd name="T50" fmla="*/ 22 w 642"/>
                      <a:gd name="T51" fmla="*/ 10 h 532"/>
                      <a:gd name="T52" fmla="*/ 22 w 642"/>
                      <a:gd name="T53" fmla="*/ 11 h 532"/>
                      <a:gd name="T54" fmla="*/ 21 w 642"/>
                      <a:gd name="T55" fmla="*/ 13 h 532"/>
                      <a:gd name="T56" fmla="*/ 20 w 642"/>
                      <a:gd name="T57" fmla="*/ 14 h 532"/>
                      <a:gd name="T58" fmla="*/ 19 w 642"/>
                      <a:gd name="T59" fmla="*/ 16 h 532"/>
                      <a:gd name="T60" fmla="*/ 18 w 642"/>
                      <a:gd name="T61" fmla="*/ 16 h 532"/>
                      <a:gd name="T62" fmla="*/ 18 w 642"/>
                      <a:gd name="T63" fmla="*/ 16 h 532"/>
                      <a:gd name="T64" fmla="*/ 16 w 642"/>
                      <a:gd name="T65" fmla="*/ 16 h 532"/>
                      <a:gd name="T66" fmla="*/ 15 w 642"/>
                      <a:gd name="T67" fmla="*/ 16 h 532"/>
                      <a:gd name="T68" fmla="*/ 14 w 642"/>
                      <a:gd name="T69" fmla="*/ 17 h 532"/>
                      <a:gd name="T70" fmla="*/ 13 w 642"/>
                      <a:gd name="T71" fmla="*/ 19 h 532"/>
                      <a:gd name="T72" fmla="*/ 13 w 642"/>
                      <a:gd name="T73" fmla="*/ 20 h 532"/>
                      <a:gd name="T74" fmla="*/ 12 w 642"/>
                      <a:gd name="T75" fmla="*/ 20 h 532"/>
                      <a:gd name="T76" fmla="*/ 11 w 642"/>
                      <a:gd name="T77" fmla="*/ 21 h 532"/>
                      <a:gd name="T78" fmla="*/ 10 w 642"/>
                      <a:gd name="T79" fmla="*/ 21 h 532"/>
                      <a:gd name="T80" fmla="*/ 9 w 642"/>
                      <a:gd name="T81" fmla="*/ 21 h 532"/>
                      <a:gd name="T82" fmla="*/ 9 w 642"/>
                      <a:gd name="T83" fmla="*/ 21 h 532"/>
                      <a:gd name="T84" fmla="*/ 8 w 642"/>
                      <a:gd name="T85" fmla="*/ 22 h 532"/>
                      <a:gd name="T86" fmla="*/ 7 w 642"/>
                      <a:gd name="T87" fmla="*/ 21 h 532"/>
                      <a:gd name="T88" fmla="*/ 6 w 642"/>
                      <a:gd name="T89" fmla="*/ 20 h 532"/>
                      <a:gd name="T90" fmla="*/ 6 w 642"/>
                      <a:gd name="T91" fmla="*/ 19 h 532"/>
                      <a:gd name="T92" fmla="*/ 5 w 642"/>
                      <a:gd name="T93" fmla="*/ 18 h 532"/>
                      <a:gd name="T94" fmla="*/ 5 w 642"/>
                      <a:gd name="T95" fmla="*/ 18 h 532"/>
                      <a:gd name="T96" fmla="*/ 4 w 642"/>
                      <a:gd name="T97" fmla="*/ 17 h 532"/>
                      <a:gd name="T98" fmla="*/ 0 w 642"/>
                      <a:gd name="T99" fmla="*/ 17 h 532"/>
                      <a:gd name="T100" fmla="*/ 0 w 642"/>
                      <a:gd name="T101" fmla="*/ 15 h 532"/>
                      <a:gd name="T102" fmla="*/ 0 w 642"/>
                      <a:gd name="T103" fmla="*/ 12 h 532"/>
                      <a:gd name="T104" fmla="*/ 1 w 642"/>
                      <a:gd name="T105" fmla="*/ 10 h 532"/>
                      <a:gd name="T106" fmla="*/ 2 w 642"/>
                      <a:gd name="T107" fmla="*/ 9 h 532"/>
                      <a:gd name="T108" fmla="*/ 2 w 642"/>
                      <a:gd name="T109" fmla="*/ 8 h 532"/>
                      <a:gd name="T110" fmla="*/ 2 w 642"/>
                      <a:gd name="T111" fmla="*/ 8 h 532"/>
                      <a:gd name="T112" fmla="*/ 2 w 642"/>
                      <a:gd name="T113" fmla="*/ 8 h 532"/>
                      <a:gd name="T114" fmla="*/ 2 w 642"/>
                      <a:gd name="T115" fmla="*/ 6 h 532"/>
                      <a:gd name="T116" fmla="*/ 2 w 642"/>
                      <a:gd name="T117" fmla="*/ 5 h 532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w 642"/>
                      <a:gd name="T178" fmla="*/ 0 h 532"/>
                      <a:gd name="T179" fmla="*/ 642 w 642"/>
                      <a:gd name="T180" fmla="*/ 532 h 532"/>
                    </a:gdLst>
                    <a:ahLst/>
                    <a:cxnLst>
                      <a:cxn ang="T118">
                        <a:pos x="T0" y="T1"/>
                      </a:cxn>
                      <a:cxn ang="T119">
                        <a:pos x="T2" y="T3"/>
                      </a:cxn>
                      <a:cxn ang="T120">
                        <a:pos x="T4" y="T5"/>
                      </a:cxn>
                      <a:cxn ang="T121">
                        <a:pos x="T6" y="T7"/>
                      </a:cxn>
                      <a:cxn ang="T122">
                        <a:pos x="T8" y="T9"/>
                      </a:cxn>
                      <a:cxn ang="T123">
                        <a:pos x="T10" y="T11"/>
                      </a:cxn>
                      <a:cxn ang="T124">
                        <a:pos x="T12" y="T13"/>
                      </a:cxn>
                      <a:cxn ang="T125">
                        <a:pos x="T14" y="T15"/>
                      </a:cxn>
                      <a:cxn ang="T126">
                        <a:pos x="T16" y="T17"/>
                      </a:cxn>
                      <a:cxn ang="T127">
                        <a:pos x="T18" y="T19"/>
                      </a:cxn>
                      <a:cxn ang="T128">
                        <a:pos x="T20" y="T21"/>
                      </a:cxn>
                      <a:cxn ang="T129">
                        <a:pos x="T22" y="T23"/>
                      </a:cxn>
                      <a:cxn ang="T130">
                        <a:pos x="T24" y="T25"/>
                      </a:cxn>
                      <a:cxn ang="T131">
                        <a:pos x="T26" y="T27"/>
                      </a:cxn>
                      <a:cxn ang="T132">
                        <a:pos x="T28" y="T29"/>
                      </a:cxn>
                      <a:cxn ang="T133">
                        <a:pos x="T30" y="T31"/>
                      </a:cxn>
                      <a:cxn ang="T134">
                        <a:pos x="T32" y="T33"/>
                      </a:cxn>
                      <a:cxn ang="T135">
                        <a:pos x="T34" y="T35"/>
                      </a:cxn>
                      <a:cxn ang="T136">
                        <a:pos x="T36" y="T37"/>
                      </a:cxn>
                      <a:cxn ang="T137">
                        <a:pos x="T38" y="T39"/>
                      </a:cxn>
                      <a:cxn ang="T138">
                        <a:pos x="T40" y="T41"/>
                      </a:cxn>
                      <a:cxn ang="T139">
                        <a:pos x="T42" y="T43"/>
                      </a:cxn>
                      <a:cxn ang="T140">
                        <a:pos x="T44" y="T45"/>
                      </a:cxn>
                      <a:cxn ang="T141">
                        <a:pos x="T46" y="T47"/>
                      </a:cxn>
                      <a:cxn ang="T142">
                        <a:pos x="T48" y="T49"/>
                      </a:cxn>
                      <a:cxn ang="T143">
                        <a:pos x="T50" y="T51"/>
                      </a:cxn>
                      <a:cxn ang="T144">
                        <a:pos x="T52" y="T53"/>
                      </a:cxn>
                      <a:cxn ang="T145">
                        <a:pos x="T54" y="T55"/>
                      </a:cxn>
                      <a:cxn ang="T146">
                        <a:pos x="T56" y="T57"/>
                      </a:cxn>
                      <a:cxn ang="T147">
                        <a:pos x="T58" y="T59"/>
                      </a:cxn>
                      <a:cxn ang="T148">
                        <a:pos x="T60" y="T61"/>
                      </a:cxn>
                      <a:cxn ang="T149">
                        <a:pos x="T62" y="T63"/>
                      </a:cxn>
                      <a:cxn ang="T150">
                        <a:pos x="T64" y="T65"/>
                      </a:cxn>
                      <a:cxn ang="T151">
                        <a:pos x="T66" y="T67"/>
                      </a:cxn>
                      <a:cxn ang="T152">
                        <a:pos x="T68" y="T69"/>
                      </a:cxn>
                      <a:cxn ang="T153">
                        <a:pos x="T70" y="T71"/>
                      </a:cxn>
                      <a:cxn ang="T154">
                        <a:pos x="T72" y="T73"/>
                      </a:cxn>
                      <a:cxn ang="T155">
                        <a:pos x="T74" y="T75"/>
                      </a:cxn>
                      <a:cxn ang="T156">
                        <a:pos x="T76" y="T77"/>
                      </a:cxn>
                      <a:cxn ang="T157">
                        <a:pos x="T78" y="T79"/>
                      </a:cxn>
                      <a:cxn ang="T158">
                        <a:pos x="T80" y="T81"/>
                      </a:cxn>
                      <a:cxn ang="T159">
                        <a:pos x="T82" y="T83"/>
                      </a:cxn>
                      <a:cxn ang="T160">
                        <a:pos x="T84" y="T85"/>
                      </a:cxn>
                      <a:cxn ang="T161">
                        <a:pos x="T86" y="T87"/>
                      </a:cxn>
                      <a:cxn ang="T162">
                        <a:pos x="T88" y="T89"/>
                      </a:cxn>
                      <a:cxn ang="T163">
                        <a:pos x="T90" y="T91"/>
                      </a:cxn>
                      <a:cxn ang="T164">
                        <a:pos x="T92" y="T93"/>
                      </a:cxn>
                      <a:cxn ang="T165">
                        <a:pos x="T94" y="T95"/>
                      </a:cxn>
                      <a:cxn ang="T166">
                        <a:pos x="T96" y="T97"/>
                      </a:cxn>
                      <a:cxn ang="T167">
                        <a:pos x="T98" y="T99"/>
                      </a:cxn>
                      <a:cxn ang="T168">
                        <a:pos x="T100" y="T101"/>
                      </a:cxn>
                      <a:cxn ang="T169">
                        <a:pos x="T102" y="T103"/>
                      </a:cxn>
                      <a:cxn ang="T170">
                        <a:pos x="T104" y="T105"/>
                      </a:cxn>
                      <a:cxn ang="T171">
                        <a:pos x="T106" y="T107"/>
                      </a:cxn>
                      <a:cxn ang="T172">
                        <a:pos x="T108" y="T109"/>
                      </a:cxn>
                      <a:cxn ang="T173">
                        <a:pos x="T110" y="T111"/>
                      </a:cxn>
                      <a:cxn ang="T174">
                        <a:pos x="T112" y="T113"/>
                      </a:cxn>
                      <a:cxn ang="T175">
                        <a:pos x="T114" y="T115"/>
                      </a:cxn>
                      <a:cxn ang="T176">
                        <a:pos x="T116" y="T117"/>
                      </a:cxn>
                    </a:cxnLst>
                    <a:rect l="T177" t="T178" r="T179" b="T180"/>
                    <a:pathLst>
                      <a:path w="642" h="532">
                        <a:moveTo>
                          <a:pt x="49" y="117"/>
                        </a:moveTo>
                        <a:lnTo>
                          <a:pt x="50" y="110"/>
                        </a:lnTo>
                        <a:lnTo>
                          <a:pt x="48" y="85"/>
                        </a:lnTo>
                        <a:lnTo>
                          <a:pt x="49" y="76"/>
                        </a:lnTo>
                        <a:lnTo>
                          <a:pt x="51" y="72"/>
                        </a:lnTo>
                        <a:lnTo>
                          <a:pt x="55" y="67"/>
                        </a:lnTo>
                        <a:lnTo>
                          <a:pt x="62" y="63"/>
                        </a:lnTo>
                        <a:lnTo>
                          <a:pt x="67" y="57"/>
                        </a:lnTo>
                        <a:lnTo>
                          <a:pt x="75" y="43"/>
                        </a:lnTo>
                        <a:lnTo>
                          <a:pt x="77" y="25"/>
                        </a:lnTo>
                        <a:lnTo>
                          <a:pt x="78" y="21"/>
                        </a:lnTo>
                        <a:lnTo>
                          <a:pt x="96" y="9"/>
                        </a:lnTo>
                        <a:lnTo>
                          <a:pt x="115" y="4"/>
                        </a:lnTo>
                        <a:lnTo>
                          <a:pt x="133" y="4"/>
                        </a:lnTo>
                        <a:lnTo>
                          <a:pt x="139" y="3"/>
                        </a:lnTo>
                        <a:lnTo>
                          <a:pt x="147" y="0"/>
                        </a:lnTo>
                        <a:lnTo>
                          <a:pt x="162" y="2"/>
                        </a:lnTo>
                        <a:lnTo>
                          <a:pt x="199" y="20"/>
                        </a:lnTo>
                        <a:lnTo>
                          <a:pt x="221" y="41"/>
                        </a:lnTo>
                        <a:lnTo>
                          <a:pt x="228" y="46"/>
                        </a:lnTo>
                        <a:lnTo>
                          <a:pt x="233" y="48"/>
                        </a:lnTo>
                        <a:lnTo>
                          <a:pt x="242" y="48"/>
                        </a:lnTo>
                        <a:lnTo>
                          <a:pt x="248" y="38"/>
                        </a:lnTo>
                        <a:lnTo>
                          <a:pt x="264" y="30"/>
                        </a:lnTo>
                        <a:lnTo>
                          <a:pt x="274" y="27"/>
                        </a:lnTo>
                        <a:lnTo>
                          <a:pt x="286" y="27"/>
                        </a:lnTo>
                        <a:lnTo>
                          <a:pt x="303" y="37"/>
                        </a:lnTo>
                        <a:lnTo>
                          <a:pt x="327" y="52"/>
                        </a:lnTo>
                        <a:lnTo>
                          <a:pt x="339" y="56"/>
                        </a:lnTo>
                        <a:lnTo>
                          <a:pt x="362" y="58"/>
                        </a:lnTo>
                        <a:lnTo>
                          <a:pt x="375" y="57"/>
                        </a:lnTo>
                        <a:lnTo>
                          <a:pt x="389" y="47"/>
                        </a:lnTo>
                        <a:lnTo>
                          <a:pt x="406" y="32"/>
                        </a:lnTo>
                        <a:lnTo>
                          <a:pt x="415" y="27"/>
                        </a:lnTo>
                        <a:lnTo>
                          <a:pt x="441" y="27"/>
                        </a:lnTo>
                        <a:lnTo>
                          <a:pt x="459" y="30"/>
                        </a:lnTo>
                        <a:lnTo>
                          <a:pt x="469" y="26"/>
                        </a:lnTo>
                        <a:lnTo>
                          <a:pt x="489" y="24"/>
                        </a:lnTo>
                        <a:lnTo>
                          <a:pt x="496" y="26"/>
                        </a:lnTo>
                        <a:lnTo>
                          <a:pt x="503" y="30"/>
                        </a:lnTo>
                        <a:lnTo>
                          <a:pt x="511" y="32"/>
                        </a:lnTo>
                        <a:lnTo>
                          <a:pt x="517" y="36"/>
                        </a:lnTo>
                        <a:lnTo>
                          <a:pt x="528" y="36"/>
                        </a:lnTo>
                        <a:lnTo>
                          <a:pt x="534" y="32"/>
                        </a:lnTo>
                        <a:lnTo>
                          <a:pt x="544" y="22"/>
                        </a:lnTo>
                        <a:lnTo>
                          <a:pt x="544" y="21"/>
                        </a:lnTo>
                        <a:lnTo>
                          <a:pt x="550" y="16"/>
                        </a:lnTo>
                        <a:lnTo>
                          <a:pt x="558" y="15"/>
                        </a:lnTo>
                        <a:lnTo>
                          <a:pt x="564" y="15"/>
                        </a:lnTo>
                        <a:lnTo>
                          <a:pt x="570" y="3"/>
                        </a:lnTo>
                        <a:lnTo>
                          <a:pt x="571" y="3"/>
                        </a:lnTo>
                        <a:lnTo>
                          <a:pt x="574" y="0"/>
                        </a:lnTo>
                        <a:lnTo>
                          <a:pt x="577" y="11"/>
                        </a:lnTo>
                        <a:lnTo>
                          <a:pt x="581" y="20"/>
                        </a:lnTo>
                        <a:lnTo>
                          <a:pt x="588" y="30"/>
                        </a:lnTo>
                        <a:lnTo>
                          <a:pt x="599" y="36"/>
                        </a:lnTo>
                        <a:lnTo>
                          <a:pt x="604" y="43"/>
                        </a:lnTo>
                        <a:lnTo>
                          <a:pt x="613" y="65"/>
                        </a:lnTo>
                        <a:lnTo>
                          <a:pt x="623" y="73"/>
                        </a:lnTo>
                        <a:lnTo>
                          <a:pt x="624" y="76"/>
                        </a:lnTo>
                        <a:lnTo>
                          <a:pt x="635" y="80"/>
                        </a:lnTo>
                        <a:lnTo>
                          <a:pt x="636" y="81"/>
                        </a:lnTo>
                        <a:lnTo>
                          <a:pt x="639" y="84"/>
                        </a:lnTo>
                        <a:lnTo>
                          <a:pt x="641" y="89"/>
                        </a:lnTo>
                        <a:lnTo>
                          <a:pt x="640" y="106"/>
                        </a:lnTo>
                        <a:lnTo>
                          <a:pt x="642" y="119"/>
                        </a:lnTo>
                        <a:lnTo>
                          <a:pt x="623" y="132"/>
                        </a:lnTo>
                        <a:lnTo>
                          <a:pt x="620" y="135"/>
                        </a:lnTo>
                        <a:lnTo>
                          <a:pt x="604" y="142"/>
                        </a:lnTo>
                        <a:lnTo>
                          <a:pt x="601" y="143"/>
                        </a:lnTo>
                        <a:lnTo>
                          <a:pt x="592" y="153"/>
                        </a:lnTo>
                        <a:lnTo>
                          <a:pt x="587" y="159"/>
                        </a:lnTo>
                        <a:lnTo>
                          <a:pt x="583" y="166"/>
                        </a:lnTo>
                        <a:lnTo>
                          <a:pt x="576" y="189"/>
                        </a:lnTo>
                        <a:lnTo>
                          <a:pt x="567" y="207"/>
                        </a:lnTo>
                        <a:lnTo>
                          <a:pt x="564" y="218"/>
                        </a:lnTo>
                        <a:lnTo>
                          <a:pt x="562" y="229"/>
                        </a:lnTo>
                        <a:lnTo>
                          <a:pt x="554" y="257"/>
                        </a:lnTo>
                        <a:lnTo>
                          <a:pt x="553" y="269"/>
                        </a:lnTo>
                        <a:lnTo>
                          <a:pt x="551" y="275"/>
                        </a:lnTo>
                        <a:lnTo>
                          <a:pt x="549" y="280"/>
                        </a:lnTo>
                        <a:lnTo>
                          <a:pt x="534" y="287"/>
                        </a:lnTo>
                        <a:lnTo>
                          <a:pt x="523" y="299"/>
                        </a:lnTo>
                        <a:lnTo>
                          <a:pt x="517" y="315"/>
                        </a:lnTo>
                        <a:lnTo>
                          <a:pt x="513" y="331"/>
                        </a:lnTo>
                        <a:lnTo>
                          <a:pt x="511" y="338"/>
                        </a:lnTo>
                        <a:lnTo>
                          <a:pt x="501" y="360"/>
                        </a:lnTo>
                        <a:lnTo>
                          <a:pt x="483" y="391"/>
                        </a:lnTo>
                        <a:lnTo>
                          <a:pt x="481" y="400"/>
                        </a:lnTo>
                        <a:lnTo>
                          <a:pt x="478" y="406"/>
                        </a:lnTo>
                        <a:lnTo>
                          <a:pt x="469" y="409"/>
                        </a:lnTo>
                        <a:lnTo>
                          <a:pt x="456" y="408"/>
                        </a:lnTo>
                        <a:lnTo>
                          <a:pt x="447" y="401"/>
                        </a:lnTo>
                        <a:lnTo>
                          <a:pt x="443" y="398"/>
                        </a:lnTo>
                        <a:lnTo>
                          <a:pt x="443" y="397"/>
                        </a:lnTo>
                        <a:lnTo>
                          <a:pt x="440" y="392"/>
                        </a:lnTo>
                        <a:lnTo>
                          <a:pt x="429" y="382"/>
                        </a:lnTo>
                        <a:lnTo>
                          <a:pt x="414" y="381"/>
                        </a:lnTo>
                        <a:lnTo>
                          <a:pt x="392" y="386"/>
                        </a:lnTo>
                        <a:lnTo>
                          <a:pt x="377" y="386"/>
                        </a:lnTo>
                        <a:lnTo>
                          <a:pt x="375" y="386"/>
                        </a:lnTo>
                        <a:lnTo>
                          <a:pt x="371" y="403"/>
                        </a:lnTo>
                        <a:lnTo>
                          <a:pt x="360" y="408"/>
                        </a:lnTo>
                        <a:lnTo>
                          <a:pt x="352" y="416"/>
                        </a:lnTo>
                        <a:lnTo>
                          <a:pt x="344" y="427"/>
                        </a:lnTo>
                        <a:lnTo>
                          <a:pt x="335" y="443"/>
                        </a:lnTo>
                        <a:lnTo>
                          <a:pt x="332" y="458"/>
                        </a:lnTo>
                        <a:lnTo>
                          <a:pt x="330" y="472"/>
                        </a:lnTo>
                        <a:lnTo>
                          <a:pt x="327" y="481"/>
                        </a:lnTo>
                        <a:lnTo>
                          <a:pt x="320" y="490"/>
                        </a:lnTo>
                        <a:lnTo>
                          <a:pt x="313" y="497"/>
                        </a:lnTo>
                        <a:lnTo>
                          <a:pt x="313" y="504"/>
                        </a:lnTo>
                        <a:lnTo>
                          <a:pt x="309" y="498"/>
                        </a:lnTo>
                        <a:lnTo>
                          <a:pt x="304" y="497"/>
                        </a:lnTo>
                        <a:lnTo>
                          <a:pt x="301" y="505"/>
                        </a:lnTo>
                        <a:lnTo>
                          <a:pt x="300" y="517"/>
                        </a:lnTo>
                        <a:lnTo>
                          <a:pt x="276" y="516"/>
                        </a:lnTo>
                        <a:lnTo>
                          <a:pt x="265" y="517"/>
                        </a:lnTo>
                        <a:lnTo>
                          <a:pt x="242" y="508"/>
                        </a:lnTo>
                        <a:lnTo>
                          <a:pt x="237" y="515"/>
                        </a:lnTo>
                        <a:lnTo>
                          <a:pt x="234" y="516"/>
                        </a:lnTo>
                        <a:lnTo>
                          <a:pt x="231" y="521"/>
                        </a:lnTo>
                        <a:lnTo>
                          <a:pt x="227" y="524"/>
                        </a:lnTo>
                        <a:lnTo>
                          <a:pt x="225" y="524"/>
                        </a:lnTo>
                        <a:lnTo>
                          <a:pt x="221" y="525"/>
                        </a:lnTo>
                        <a:lnTo>
                          <a:pt x="216" y="522"/>
                        </a:lnTo>
                        <a:lnTo>
                          <a:pt x="212" y="525"/>
                        </a:lnTo>
                        <a:lnTo>
                          <a:pt x="210" y="524"/>
                        </a:lnTo>
                        <a:lnTo>
                          <a:pt x="193" y="532"/>
                        </a:lnTo>
                        <a:lnTo>
                          <a:pt x="190" y="524"/>
                        </a:lnTo>
                        <a:lnTo>
                          <a:pt x="182" y="524"/>
                        </a:lnTo>
                        <a:lnTo>
                          <a:pt x="180" y="524"/>
                        </a:lnTo>
                        <a:lnTo>
                          <a:pt x="168" y="521"/>
                        </a:lnTo>
                        <a:lnTo>
                          <a:pt x="163" y="513"/>
                        </a:lnTo>
                        <a:lnTo>
                          <a:pt x="151" y="500"/>
                        </a:lnTo>
                        <a:lnTo>
                          <a:pt x="146" y="482"/>
                        </a:lnTo>
                        <a:lnTo>
                          <a:pt x="146" y="471"/>
                        </a:lnTo>
                        <a:lnTo>
                          <a:pt x="151" y="467"/>
                        </a:lnTo>
                        <a:lnTo>
                          <a:pt x="147" y="467"/>
                        </a:lnTo>
                        <a:lnTo>
                          <a:pt x="140" y="465"/>
                        </a:lnTo>
                        <a:lnTo>
                          <a:pt x="136" y="454"/>
                        </a:lnTo>
                        <a:lnTo>
                          <a:pt x="133" y="451"/>
                        </a:lnTo>
                        <a:lnTo>
                          <a:pt x="130" y="445"/>
                        </a:lnTo>
                        <a:lnTo>
                          <a:pt x="126" y="444"/>
                        </a:lnTo>
                        <a:lnTo>
                          <a:pt x="124" y="439"/>
                        </a:lnTo>
                        <a:lnTo>
                          <a:pt x="117" y="429"/>
                        </a:lnTo>
                        <a:lnTo>
                          <a:pt x="96" y="417"/>
                        </a:lnTo>
                        <a:lnTo>
                          <a:pt x="86" y="416"/>
                        </a:lnTo>
                        <a:lnTo>
                          <a:pt x="64" y="413"/>
                        </a:lnTo>
                        <a:lnTo>
                          <a:pt x="5" y="417"/>
                        </a:lnTo>
                        <a:lnTo>
                          <a:pt x="2" y="414"/>
                        </a:lnTo>
                        <a:lnTo>
                          <a:pt x="0" y="375"/>
                        </a:lnTo>
                        <a:lnTo>
                          <a:pt x="1" y="366"/>
                        </a:lnTo>
                        <a:lnTo>
                          <a:pt x="6" y="345"/>
                        </a:lnTo>
                        <a:lnTo>
                          <a:pt x="5" y="315"/>
                        </a:lnTo>
                        <a:lnTo>
                          <a:pt x="6" y="295"/>
                        </a:lnTo>
                        <a:lnTo>
                          <a:pt x="10" y="283"/>
                        </a:lnTo>
                        <a:lnTo>
                          <a:pt x="22" y="263"/>
                        </a:lnTo>
                        <a:lnTo>
                          <a:pt x="23" y="248"/>
                        </a:lnTo>
                        <a:lnTo>
                          <a:pt x="26" y="239"/>
                        </a:lnTo>
                        <a:lnTo>
                          <a:pt x="34" y="229"/>
                        </a:lnTo>
                        <a:lnTo>
                          <a:pt x="49" y="218"/>
                        </a:lnTo>
                        <a:lnTo>
                          <a:pt x="49" y="212"/>
                        </a:lnTo>
                        <a:lnTo>
                          <a:pt x="53" y="209"/>
                        </a:lnTo>
                        <a:lnTo>
                          <a:pt x="53" y="208"/>
                        </a:lnTo>
                        <a:lnTo>
                          <a:pt x="53" y="204"/>
                        </a:lnTo>
                        <a:lnTo>
                          <a:pt x="48" y="199"/>
                        </a:lnTo>
                        <a:lnTo>
                          <a:pt x="48" y="197"/>
                        </a:lnTo>
                        <a:lnTo>
                          <a:pt x="50" y="191"/>
                        </a:lnTo>
                        <a:lnTo>
                          <a:pt x="53" y="189"/>
                        </a:lnTo>
                        <a:lnTo>
                          <a:pt x="58" y="189"/>
                        </a:lnTo>
                        <a:lnTo>
                          <a:pt x="59" y="187"/>
                        </a:lnTo>
                        <a:lnTo>
                          <a:pt x="59" y="169"/>
                        </a:lnTo>
                        <a:lnTo>
                          <a:pt x="55" y="154"/>
                        </a:lnTo>
                        <a:lnTo>
                          <a:pt x="54" y="149"/>
                        </a:lnTo>
                        <a:lnTo>
                          <a:pt x="44" y="139"/>
                        </a:lnTo>
                        <a:lnTo>
                          <a:pt x="43" y="134"/>
                        </a:lnTo>
                        <a:lnTo>
                          <a:pt x="44" y="123"/>
                        </a:lnTo>
                        <a:lnTo>
                          <a:pt x="49" y="117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93" name="Freeform 45"/>
                  <p:cNvSpPr>
                    <a:spLocks/>
                  </p:cNvSpPr>
                  <p:nvPr/>
                </p:nvSpPr>
                <p:spPr bwMode="gray">
                  <a:xfrm>
                    <a:off x="2637" y="2446"/>
                    <a:ext cx="84" cy="96"/>
                  </a:xfrm>
                  <a:custGeom>
                    <a:avLst/>
                    <a:gdLst>
                      <a:gd name="T0" fmla="*/ 17 w 417"/>
                      <a:gd name="T1" fmla="*/ 0 h 479"/>
                      <a:gd name="T2" fmla="*/ 15 w 417"/>
                      <a:gd name="T3" fmla="*/ 1 h 479"/>
                      <a:gd name="T4" fmla="*/ 14 w 417"/>
                      <a:gd name="T5" fmla="*/ 0 h 479"/>
                      <a:gd name="T6" fmla="*/ 12 w 417"/>
                      <a:gd name="T7" fmla="*/ 1 h 479"/>
                      <a:gd name="T8" fmla="*/ 11 w 417"/>
                      <a:gd name="T9" fmla="*/ 2 h 479"/>
                      <a:gd name="T10" fmla="*/ 11 w 417"/>
                      <a:gd name="T11" fmla="*/ 4 h 479"/>
                      <a:gd name="T12" fmla="*/ 11 w 417"/>
                      <a:gd name="T13" fmla="*/ 5 h 479"/>
                      <a:gd name="T14" fmla="*/ 9 w 417"/>
                      <a:gd name="T15" fmla="*/ 4 h 479"/>
                      <a:gd name="T16" fmla="*/ 8 w 417"/>
                      <a:gd name="T17" fmla="*/ 4 h 479"/>
                      <a:gd name="T18" fmla="*/ 5 w 417"/>
                      <a:gd name="T19" fmla="*/ 3 h 479"/>
                      <a:gd name="T20" fmla="*/ 4 w 417"/>
                      <a:gd name="T21" fmla="*/ 5 h 479"/>
                      <a:gd name="T22" fmla="*/ 5 w 417"/>
                      <a:gd name="T23" fmla="*/ 6 h 479"/>
                      <a:gd name="T24" fmla="*/ 7 w 417"/>
                      <a:gd name="T25" fmla="*/ 5 h 479"/>
                      <a:gd name="T26" fmla="*/ 7 w 417"/>
                      <a:gd name="T27" fmla="*/ 6 h 479"/>
                      <a:gd name="T28" fmla="*/ 6 w 417"/>
                      <a:gd name="T29" fmla="*/ 8 h 479"/>
                      <a:gd name="T30" fmla="*/ 7 w 417"/>
                      <a:gd name="T31" fmla="*/ 10 h 479"/>
                      <a:gd name="T32" fmla="*/ 7 w 417"/>
                      <a:gd name="T33" fmla="*/ 11 h 479"/>
                      <a:gd name="T34" fmla="*/ 6 w 417"/>
                      <a:gd name="T35" fmla="*/ 13 h 479"/>
                      <a:gd name="T36" fmla="*/ 5 w 417"/>
                      <a:gd name="T37" fmla="*/ 13 h 479"/>
                      <a:gd name="T38" fmla="*/ 4 w 417"/>
                      <a:gd name="T39" fmla="*/ 12 h 479"/>
                      <a:gd name="T40" fmla="*/ 3 w 417"/>
                      <a:gd name="T41" fmla="*/ 13 h 479"/>
                      <a:gd name="T42" fmla="*/ 2 w 417"/>
                      <a:gd name="T43" fmla="*/ 13 h 479"/>
                      <a:gd name="T44" fmla="*/ 1 w 417"/>
                      <a:gd name="T45" fmla="*/ 14 h 479"/>
                      <a:gd name="T46" fmla="*/ 1 w 417"/>
                      <a:gd name="T47" fmla="*/ 15 h 479"/>
                      <a:gd name="T48" fmla="*/ 1 w 417"/>
                      <a:gd name="T49" fmla="*/ 16 h 479"/>
                      <a:gd name="T50" fmla="*/ 0 w 417"/>
                      <a:gd name="T51" fmla="*/ 16 h 479"/>
                      <a:gd name="T52" fmla="*/ 0 w 417"/>
                      <a:gd name="T53" fmla="*/ 17 h 479"/>
                      <a:gd name="T54" fmla="*/ 1 w 417"/>
                      <a:gd name="T55" fmla="*/ 17 h 479"/>
                      <a:gd name="T56" fmla="*/ 2 w 417"/>
                      <a:gd name="T57" fmla="*/ 18 h 479"/>
                      <a:gd name="T58" fmla="*/ 3 w 417"/>
                      <a:gd name="T59" fmla="*/ 19 h 479"/>
                      <a:gd name="T60" fmla="*/ 3 w 417"/>
                      <a:gd name="T61" fmla="*/ 18 h 479"/>
                      <a:gd name="T62" fmla="*/ 4 w 417"/>
                      <a:gd name="T63" fmla="*/ 18 h 479"/>
                      <a:gd name="T64" fmla="*/ 5 w 417"/>
                      <a:gd name="T65" fmla="*/ 19 h 479"/>
                      <a:gd name="T66" fmla="*/ 6 w 417"/>
                      <a:gd name="T67" fmla="*/ 18 h 479"/>
                      <a:gd name="T68" fmla="*/ 6 w 417"/>
                      <a:gd name="T69" fmla="*/ 18 h 479"/>
                      <a:gd name="T70" fmla="*/ 7 w 417"/>
                      <a:gd name="T71" fmla="*/ 18 h 479"/>
                      <a:gd name="T72" fmla="*/ 8 w 417"/>
                      <a:gd name="T73" fmla="*/ 19 h 479"/>
                      <a:gd name="T74" fmla="*/ 9 w 417"/>
                      <a:gd name="T75" fmla="*/ 18 h 479"/>
                      <a:gd name="T76" fmla="*/ 11 w 417"/>
                      <a:gd name="T77" fmla="*/ 17 h 479"/>
                      <a:gd name="T78" fmla="*/ 11 w 417"/>
                      <a:gd name="T79" fmla="*/ 15 h 479"/>
                      <a:gd name="T80" fmla="*/ 11 w 417"/>
                      <a:gd name="T81" fmla="*/ 14 h 479"/>
                      <a:gd name="T82" fmla="*/ 13 w 417"/>
                      <a:gd name="T83" fmla="*/ 11 h 479"/>
                      <a:gd name="T84" fmla="*/ 14 w 417"/>
                      <a:gd name="T85" fmla="*/ 10 h 479"/>
                      <a:gd name="T86" fmla="*/ 15 w 417"/>
                      <a:gd name="T87" fmla="*/ 9 h 479"/>
                      <a:gd name="T88" fmla="*/ 15 w 417"/>
                      <a:gd name="T89" fmla="*/ 6 h 479"/>
                      <a:gd name="T90" fmla="*/ 16 w 417"/>
                      <a:gd name="T91" fmla="*/ 3 h 479"/>
                      <a:gd name="T92" fmla="*/ 17 w 417"/>
                      <a:gd name="T93" fmla="*/ 1 h 479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w 417"/>
                      <a:gd name="T142" fmla="*/ 0 h 479"/>
                      <a:gd name="T143" fmla="*/ 417 w 417"/>
                      <a:gd name="T144" fmla="*/ 479 h 479"/>
                    </a:gdLst>
                    <a:ahLst/>
                    <a:cxnLst>
                      <a:cxn ang="T94">
                        <a:pos x="T0" y="T1"/>
                      </a:cxn>
                      <a:cxn ang="T95">
                        <a:pos x="T2" y="T3"/>
                      </a:cxn>
                      <a:cxn ang="T96">
                        <a:pos x="T4" y="T5"/>
                      </a:cxn>
                      <a:cxn ang="T97">
                        <a:pos x="T6" y="T7"/>
                      </a:cxn>
                      <a:cxn ang="T98">
                        <a:pos x="T8" y="T9"/>
                      </a:cxn>
                      <a:cxn ang="T99">
                        <a:pos x="T10" y="T11"/>
                      </a:cxn>
                      <a:cxn ang="T100">
                        <a:pos x="T12" y="T13"/>
                      </a:cxn>
                      <a:cxn ang="T101">
                        <a:pos x="T14" y="T15"/>
                      </a:cxn>
                      <a:cxn ang="T102">
                        <a:pos x="T16" y="T17"/>
                      </a:cxn>
                      <a:cxn ang="T103">
                        <a:pos x="T18" y="T19"/>
                      </a:cxn>
                      <a:cxn ang="T104">
                        <a:pos x="T20" y="T21"/>
                      </a:cxn>
                      <a:cxn ang="T105">
                        <a:pos x="T22" y="T23"/>
                      </a:cxn>
                      <a:cxn ang="T106">
                        <a:pos x="T24" y="T25"/>
                      </a:cxn>
                      <a:cxn ang="T107">
                        <a:pos x="T26" y="T27"/>
                      </a:cxn>
                      <a:cxn ang="T108">
                        <a:pos x="T28" y="T29"/>
                      </a:cxn>
                      <a:cxn ang="T109">
                        <a:pos x="T30" y="T31"/>
                      </a:cxn>
                      <a:cxn ang="T110">
                        <a:pos x="T32" y="T33"/>
                      </a:cxn>
                      <a:cxn ang="T111">
                        <a:pos x="T34" y="T35"/>
                      </a:cxn>
                      <a:cxn ang="T112">
                        <a:pos x="T36" y="T37"/>
                      </a:cxn>
                      <a:cxn ang="T113">
                        <a:pos x="T38" y="T39"/>
                      </a:cxn>
                      <a:cxn ang="T114">
                        <a:pos x="T40" y="T41"/>
                      </a:cxn>
                      <a:cxn ang="T115">
                        <a:pos x="T42" y="T43"/>
                      </a:cxn>
                      <a:cxn ang="T116">
                        <a:pos x="T44" y="T45"/>
                      </a:cxn>
                      <a:cxn ang="T117">
                        <a:pos x="T46" y="T47"/>
                      </a:cxn>
                      <a:cxn ang="T118">
                        <a:pos x="T48" y="T49"/>
                      </a:cxn>
                      <a:cxn ang="T119">
                        <a:pos x="T50" y="T51"/>
                      </a:cxn>
                      <a:cxn ang="T120">
                        <a:pos x="T52" y="T53"/>
                      </a:cxn>
                      <a:cxn ang="T121">
                        <a:pos x="T54" y="T55"/>
                      </a:cxn>
                      <a:cxn ang="T122">
                        <a:pos x="T56" y="T57"/>
                      </a:cxn>
                      <a:cxn ang="T123">
                        <a:pos x="T58" y="T59"/>
                      </a:cxn>
                      <a:cxn ang="T124">
                        <a:pos x="T60" y="T61"/>
                      </a:cxn>
                      <a:cxn ang="T125">
                        <a:pos x="T62" y="T63"/>
                      </a:cxn>
                      <a:cxn ang="T126">
                        <a:pos x="T64" y="T65"/>
                      </a:cxn>
                      <a:cxn ang="T127">
                        <a:pos x="T66" y="T67"/>
                      </a:cxn>
                      <a:cxn ang="T128">
                        <a:pos x="T68" y="T69"/>
                      </a:cxn>
                      <a:cxn ang="T129">
                        <a:pos x="T70" y="T71"/>
                      </a:cxn>
                      <a:cxn ang="T130">
                        <a:pos x="T72" y="T73"/>
                      </a:cxn>
                      <a:cxn ang="T131">
                        <a:pos x="T74" y="T75"/>
                      </a:cxn>
                      <a:cxn ang="T132">
                        <a:pos x="T76" y="T77"/>
                      </a:cxn>
                      <a:cxn ang="T133">
                        <a:pos x="T78" y="T79"/>
                      </a:cxn>
                      <a:cxn ang="T134">
                        <a:pos x="T80" y="T81"/>
                      </a:cxn>
                      <a:cxn ang="T135">
                        <a:pos x="T82" y="T83"/>
                      </a:cxn>
                      <a:cxn ang="T136">
                        <a:pos x="T84" y="T85"/>
                      </a:cxn>
                      <a:cxn ang="T137">
                        <a:pos x="T86" y="T87"/>
                      </a:cxn>
                      <a:cxn ang="T138">
                        <a:pos x="T88" y="T89"/>
                      </a:cxn>
                      <a:cxn ang="T139">
                        <a:pos x="T90" y="T91"/>
                      </a:cxn>
                      <a:cxn ang="T140">
                        <a:pos x="T92" y="T93"/>
                      </a:cxn>
                    </a:cxnLst>
                    <a:rect l="T141" t="T142" r="T143" b="T144"/>
                    <a:pathLst>
                      <a:path w="417" h="479">
                        <a:moveTo>
                          <a:pt x="414" y="0"/>
                        </a:moveTo>
                        <a:lnTo>
                          <a:pt x="408" y="5"/>
                        </a:lnTo>
                        <a:lnTo>
                          <a:pt x="393" y="12"/>
                        </a:lnTo>
                        <a:lnTo>
                          <a:pt x="377" y="16"/>
                        </a:lnTo>
                        <a:lnTo>
                          <a:pt x="360" y="10"/>
                        </a:lnTo>
                        <a:lnTo>
                          <a:pt x="343" y="0"/>
                        </a:lnTo>
                        <a:lnTo>
                          <a:pt x="323" y="3"/>
                        </a:lnTo>
                        <a:lnTo>
                          <a:pt x="300" y="17"/>
                        </a:lnTo>
                        <a:lnTo>
                          <a:pt x="283" y="33"/>
                        </a:lnTo>
                        <a:lnTo>
                          <a:pt x="274" y="47"/>
                        </a:lnTo>
                        <a:lnTo>
                          <a:pt x="272" y="58"/>
                        </a:lnTo>
                        <a:lnTo>
                          <a:pt x="274" y="101"/>
                        </a:lnTo>
                        <a:lnTo>
                          <a:pt x="272" y="111"/>
                        </a:lnTo>
                        <a:lnTo>
                          <a:pt x="267" y="114"/>
                        </a:lnTo>
                        <a:lnTo>
                          <a:pt x="244" y="96"/>
                        </a:lnTo>
                        <a:lnTo>
                          <a:pt x="234" y="96"/>
                        </a:lnTo>
                        <a:lnTo>
                          <a:pt x="220" y="91"/>
                        </a:lnTo>
                        <a:lnTo>
                          <a:pt x="205" y="90"/>
                        </a:lnTo>
                        <a:lnTo>
                          <a:pt x="194" y="84"/>
                        </a:lnTo>
                        <a:lnTo>
                          <a:pt x="118" y="84"/>
                        </a:lnTo>
                        <a:lnTo>
                          <a:pt x="112" y="98"/>
                        </a:lnTo>
                        <a:lnTo>
                          <a:pt x="111" y="117"/>
                        </a:lnTo>
                        <a:lnTo>
                          <a:pt x="112" y="135"/>
                        </a:lnTo>
                        <a:lnTo>
                          <a:pt x="121" y="140"/>
                        </a:lnTo>
                        <a:lnTo>
                          <a:pt x="137" y="117"/>
                        </a:lnTo>
                        <a:lnTo>
                          <a:pt x="166" y="124"/>
                        </a:lnTo>
                        <a:lnTo>
                          <a:pt x="176" y="137"/>
                        </a:lnTo>
                        <a:lnTo>
                          <a:pt x="177" y="157"/>
                        </a:lnTo>
                        <a:lnTo>
                          <a:pt x="159" y="187"/>
                        </a:lnTo>
                        <a:lnTo>
                          <a:pt x="158" y="204"/>
                        </a:lnTo>
                        <a:lnTo>
                          <a:pt x="162" y="218"/>
                        </a:lnTo>
                        <a:lnTo>
                          <a:pt x="173" y="246"/>
                        </a:lnTo>
                        <a:lnTo>
                          <a:pt x="172" y="262"/>
                        </a:lnTo>
                        <a:lnTo>
                          <a:pt x="169" y="275"/>
                        </a:lnTo>
                        <a:lnTo>
                          <a:pt x="166" y="312"/>
                        </a:lnTo>
                        <a:lnTo>
                          <a:pt x="161" y="329"/>
                        </a:lnTo>
                        <a:lnTo>
                          <a:pt x="145" y="334"/>
                        </a:lnTo>
                        <a:lnTo>
                          <a:pt x="127" y="318"/>
                        </a:lnTo>
                        <a:lnTo>
                          <a:pt x="102" y="321"/>
                        </a:lnTo>
                        <a:lnTo>
                          <a:pt x="92" y="310"/>
                        </a:lnTo>
                        <a:lnTo>
                          <a:pt x="85" y="305"/>
                        </a:lnTo>
                        <a:lnTo>
                          <a:pt x="74" y="313"/>
                        </a:lnTo>
                        <a:lnTo>
                          <a:pt x="65" y="324"/>
                        </a:lnTo>
                        <a:lnTo>
                          <a:pt x="42" y="333"/>
                        </a:lnTo>
                        <a:lnTo>
                          <a:pt x="32" y="342"/>
                        </a:lnTo>
                        <a:lnTo>
                          <a:pt x="27" y="350"/>
                        </a:lnTo>
                        <a:lnTo>
                          <a:pt x="26" y="363"/>
                        </a:lnTo>
                        <a:lnTo>
                          <a:pt x="31" y="375"/>
                        </a:lnTo>
                        <a:lnTo>
                          <a:pt x="33" y="390"/>
                        </a:lnTo>
                        <a:lnTo>
                          <a:pt x="31" y="394"/>
                        </a:lnTo>
                        <a:lnTo>
                          <a:pt x="19" y="394"/>
                        </a:lnTo>
                        <a:lnTo>
                          <a:pt x="8" y="397"/>
                        </a:lnTo>
                        <a:lnTo>
                          <a:pt x="2" y="404"/>
                        </a:lnTo>
                        <a:lnTo>
                          <a:pt x="0" y="419"/>
                        </a:lnTo>
                        <a:lnTo>
                          <a:pt x="13" y="425"/>
                        </a:lnTo>
                        <a:lnTo>
                          <a:pt x="19" y="434"/>
                        </a:lnTo>
                        <a:lnTo>
                          <a:pt x="33" y="449"/>
                        </a:lnTo>
                        <a:lnTo>
                          <a:pt x="40" y="456"/>
                        </a:lnTo>
                        <a:lnTo>
                          <a:pt x="49" y="479"/>
                        </a:lnTo>
                        <a:lnTo>
                          <a:pt x="63" y="469"/>
                        </a:lnTo>
                        <a:lnTo>
                          <a:pt x="73" y="463"/>
                        </a:lnTo>
                        <a:lnTo>
                          <a:pt x="80" y="449"/>
                        </a:lnTo>
                        <a:lnTo>
                          <a:pt x="90" y="444"/>
                        </a:lnTo>
                        <a:lnTo>
                          <a:pt x="100" y="447"/>
                        </a:lnTo>
                        <a:lnTo>
                          <a:pt x="105" y="458"/>
                        </a:lnTo>
                        <a:lnTo>
                          <a:pt x="121" y="468"/>
                        </a:lnTo>
                        <a:lnTo>
                          <a:pt x="133" y="465"/>
                        </a:lnTo>
                        <a:lnTo>
                          <a:pt x="140" y="452"/>
                        </a:lnTo>
                        <a:lnTo>
                          <a:pt x="148" y="446"/>
                        </a:lnTo>
                        <a:lnTo>
                          <a:pt x="161" y="444"/>
                        </a:lnTo>
                        <a:lnTo>
                          <a:pt x="175" y="440"/>
                        </a:lnTo>
                        <a:lnTo>
                          <a:pt x="177" y="445"/>
                        </a:lnTo>
                        <a:lnTo>
                          <a:pt x="178" y="463"/>
                        </a:lnTo>
                        <a:lnTo>
                          <a:pt x="188" y="466"/>
                        </a:lnTo>
                        <a:lnTo>
                          <a:pt x="209" y="458"/>
                        </a:lnTo>
                        <a:lnTo>
                          <a:pt x="232" y="437"/>
                        </a:lnTo>
                        <a:lnTo>
                          <a:pt x="246" y="430"/>
                        </a:lnTo>
                        <a:lnTo>
                          <a:pt x="261" y="415"/>
                        </a:lnTo>
                        <a:lnTo>
                          <a:pt x="274" y="394"/>
                        </a:lnTo>
                        <a:lnTo>
                          <a:pt x="278" y="376"/>
                        </a:lnTo>
                        <a:lnTo>
                          <a:pt x="278" y="358"/>
                        </a:lnTo>
                        <a:lnTo>
                          <a:pt x="282" y="337"/>
                        </a:lnTo>
                        <a:lnTo>
                          <a:pt x="289" y="316"/>
                        </a:lnTo>
                        <a:lnTo>
                          <a:pt x="312" y="280"/>
                        </a:lnTo>
                        <a:lnTo>
                          <a:pt x="329" y="264"/>
                        </a:lnTo>
                        <a:lnTo>
                          <a:pt x="348" y="254"/>
                        </a:lnTo>
                        <a:lnTo>
                          <a:pt x="363" y="241"/>
                        </a:lnTo>
                        <a:lnTo>
                          <a:pt x="364" y="237"/>
                        </a:lnTo>
                        <a:lnTo>
                          <a:pt x="371" y="207"/>
                        </a:lnTo>
                        <a:lnTo>
                          <a:pt x="372" y="141"/>
                        </a:lnTo>
                        <a:lnTo>
                          <a:pt x="381" y="97"/>
                        </a:lnTo>
                        <a:lnTo>
                          <a:pt x="391" y="73"/>
                        </a:lnTo>
                        <a:lnTo>
                          <a:pt x="412" y="36"/>
                        </a:lnTo>
                        <a:lnTo>
                          <a:pt x="417" y="17"/>
                        </a:lnTo>
                        <a:lnTo>
                          <a:pt x="414" y="0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94" name="Freeform 46"/>
                  <p:cNvSpPr>
                    <a:spLocks/>
                  </p:cNvSpPr>
                  <p:nvPr/>
                </p:nvSpPr>
                <p:spPr bwMode="gray">
                  <a:xfrm>
                    <a:off x="2618" y="2462"/>
                    <a:ext cx="21" cy="14"/>
                  </a:xfrm>
                  <a:custGeom>
                    <a:avLst/>
                    <a:gdLst>
                      <a:gd name="T0" fmla="*/ 4 w 107"/>
                      <a:gd name="T1" fmla="*/ 0 h 69"/>
                      <a:gd name="T2" fmla="*/ 3 w 107"/>
                      <a:gd name="T3" fmla="*/ 0 h 69"/>
                      <a:gd name="T4" fmla="*/ 1 w 107"/>
                      <a:gd name="T5" fmla="*/ 0 h 69"/>
                      <a:gd name="T6" fmla="*/ 1 w 107"/>
                      <a:gd name="T7" fmla="*/ 0 h 69"/>
                      <a:gd name="T8" fmla="*/ 1 w 107"/>
                      <a:gd name="T9" fmla="*/ 1 h 69"/>
                      <a:gd name="T10" fmla="*/ 1 w 107"/>
                      <a:gd name="T11" fmla="*/ 1 h 69"/>
                      <a:gd name="T12" fmla="*/ 0 w 107"/>
                      <a:gd name="T13" fmla="*/ 2 h 69"/>
                      <a:gd name="T14" fmla="*/ 0 w 107"/>
                      <a:gd name="T15" fmla="*/ 2 h 69"/>
                      <a:gd name="T16" fmla="*/ 1 w 107"/>
                      <a:gd name="T17" fmla="*/ 3 h 69"/>
                      <a:gd name="T18" fmla="*/ 1 w 107"/>
                      <a:gd name="T19" fmla="*/ 3 h 69"/>
                      <a:gd name="T20" fmla="*/ 1 w 107"/>
                      <a:gd name="T21" fmla="*/ 3 h 69"/>
                      <a:gd name="T22" fmla="*/ 1 w 107"/>
                      <a:gd name="T23" fmla="*/ 3 h 69"/>
                      <a:gd name="T24" fmla="*/ 1 w 107"/>
                      <a:gd name="T25" fmla="*/ 3 h 69"/>
                      <a:gd name="T26" fmla="*/ 4 w 107"/>
                      <a:gd name="T27" fmla="*/ 2 h 69"/>
                      <a:gd name="T28" fmla="*/ 4 w 107"/>
                      <a:gd name="T29" fmla="*/ 2 h 69"/>
                      <a:gd name="T30" fmla="*/ 4 w 107"/>
                      <a:gd name="T31" fmla="*/ 2 h 69"/>
                      <a:gd name="T32" fmla="*/ 4 w 107"/>
                      <a:gd name="T33" fmla="*/ 1 h 69"/>
                      <a:gd name="T34" fmla="*/ 4 w 107"/>
                      <a:gd name="T35" fmla="*/ 0 h 69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w 107"/>
                      <a:gd name="T55" fmla="*/ 0 h 69"/>
                      <a:gd name="T56" fmla="*/ 107 w 107"/>
                      <a:gd name="T57" fmla="*/ 69 h 69"/>
                    </a:gdLst>
                    <a:ahLst/>
                    <a:cxnLst>
                      <a:cxn ang="T36">
                        <a:pos x="T0" y="T1"/>
                      </a:cxn>
                      <a:cxn ang="T37">
                        <a:pos x="T2" y="T3"/>
                      </a:cxn>
                      <a:cxn ang="T38">
                        <a:pos x="T4" y="T5"/>
                      </a:cxn>
                      <a:cxn ang="T39">
                        <a:pos x="T6" y="T7"/>
                      </a:cxn>
                      <a:cxn ang="T40">
                        <a:pos x="T8" y="T9"/>
                      </a:cxn>
                      <a:cxn ang="T41">
                        <a:pos x="T10" y="T11"/>
                      </a:cxn>
                      <a:cxn ang="T42">
                        <a:pos x="T12" y="T13"/>
                      </a:cxn>
                      <a:cxn ang="T43">
                        <a:pos x="T14" y="T15"/>
                      </a:cxn>
                      <a:cxn ang="T44">
                        <a:pos x="T16" y="T17"/>
                      </a:cxn>
                      <a:cxn ang="T45">
                        <a:pos x="T18" y="T19"/>
                      </a:cxn>
                      <a:cxn ang="T46">
                        <a:pos x="T20" y="T21"/>
                      </a:cxn>
                      <a:cxn ang="T47">
                        <a:pos x="T22" y="T23"/>
                      </a:cxn>
                      <a:cxn ang="T48">
                        <a:pos x="T24" y="T25"/>
                      </a:cxn>
                      <a:cxn ang="T49">
                        <a:pos x="T26" y="T27"/>
                      </a:cxn>
                      <a:cxn ang="T50">
                        <a:pos x="T28" y="T29"/>
                      </a:cxn>
                      <a:cxn ang="T51">
                        <a:pos x="T30" y="T31"/>
                      </a:cxn>
                      <a:cxn ang="T52">
                        <a:pos x="T32" y="T33"/>
                      </a:cxn>
                      <a:cxn ang="T53">
                        <a:pos x="T34" y="T35"/>
                      </a:cxn>
                    </a:cxnLst>
                    <a:rect l="T54" t="T55" r="T56" b="T57"/>
                    <a:pathLst>
                      <a:path w="107" h="69">
                        <a:moveTo>
                          <a:pt x="107" y="0"/>
                        </a:moveTo>
                        <a:lnTo>
                          <a:pt x="67" y="0"/>
                        </a:lnTo>
                        <a:lnTo>
                          <a:pt x="25" y="3"/>
                        </a:lnTo>
                        <a:lnTo>
                          <a:pt x="21" y="4"/>
                        </a:lnTo>
                        <a:lnTo>
                          <a:pt x="21" y="14"/>
                        </a:lnTo>
                        <a:lnTo>
                          <a:pt x="14" y="26"/>
                        </a:lnTo>
                        <a:lnTo>
                          <a:pt x="11" y="37"/>
                        </a:lnTo>
                        <a:lnTo>
                          <a:pt x="0" y="56"/>
                        </a:lnTo>
                        <a:lnTo>
                          <a:pt x="15" y="63"/>
                        </a:lnTo>
                        <a:lnTo>
                          <a:pt x="15" y="65"/>
                        </a:lnTo>
                        <a:lnTo>
                          <a:pt x="13" y="69"/>
                        </a:lnTo>
                        <a:lnTo>
                          <a:pt x="13" y="68"/>
                        </a:lnTo>
                        <a:lnTo>
                          <a:pt x="36" y="63"/>
                        </a:lnTo>
                        <a:lnTo>
                          <a:pt x="107" y="60"/>
                        </a:lnTo>
                        <a:lnTo>
                          <a:pt x="105" y="58"/>
                        </a:lnTo>
                        <a:lnTo>
                          <a:pt x="102" y="38"/>
                        </a:lnTo>
                        <a:lnTo>
                          <a:pt x="101" y="15"/>
                        </a:lnTo>
                        <a:lnTo>
                          <a:pt x="107" y="0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95" name="Freeform 47"/>
                  <p:cNvSpPr>
                    <a:spLocks/>
                  </p:cNvSpPr>
                  <p:nvPr/>
                </p:nvSpPr>
                <p:spPr bwMode="gray">
                  <a:xfrm>
                    <a:off x="2836" y="2512"/>
                    <a:ext cx="18" cy="22"/>
                  </a:xfrm>
                  <a:custGeom>
                    <a:avLst/>
                    <a:gdLst>
                      <a:gd name="T0" fmla="*/ 3 w 93"/>
                      <a:gd name="T1" fmla="*/ 0 h 114"/>
                      <a:gd name="T2" fmla="*/ 3 w 93"/>
                      <a:gd name="T3" fmla="*/ 0 h 114"/>
                      <a:gd name="T4" fmla="*/ 3 w 93"/>
                      <a:gd name="T5" fmla="*/ 0 h 114"/>
                      <a:gd name="T6" fmla="*/ 3 w 93"/>
                      <a:gd name="T7" fmla="*/ 0 h 114"/>
                      <a:gd name="T8" fmla="*/ 3 w 93"/>
                      <a:gd name="T9" fmla="*/ 0 h 114"/>
                      <a:gd name="T10" fmla="*/ 2 w 93"/>
                      <a:gd name="T11" fmla="*/ 0 h 114"/>
                      <a:gd name="T12" fmla="*/ 2 w 93"/>
                      <a:gd name="T13" fmla="*/ 0 h 114"/>
                      <a:gd name="T14" fmla="*/ 2 w 93"/>
                      <a:gd name="T15" fmla="*/ 0 h 114"/>
                      <a:gd name="T16" fmla="*/ 2 w 93"/>
                      <a:gd name="T17" fmla="*/ 0 h 114"/>
                      <a:gd name="T18" fmla="*/ 2 w 93"/>
                      <a:gd name="T19" fmla="*/ 1 h 114"/>
                      <a:gd name="T20" fmla="*/ 2 w 93"/>
                      <a:gd name="T21" fmla="*/ 1 h 114"/>
                      <a:gd name="T22" fmla="*/ 1 w 93"/>
                      <a:gd name="T23" fmla="*/ 1 h 114"/>
                      <a:gd name="T24" fmla="*/ 1 w 93"/>
                      <a:gd name="T25" fmla="*/ 1 h 114"/>
                      <a:gd name="T26" fmla="*/ 1 w 93"/>
                      <a:gd name="T27" fmla="*/ 1 h 114"/>
                      <a:gd name="T28" fmla="*/ 1 w 93"/>
                      <a:gd name="T29" fmla="*/ 1 h 114"/>
                      <a:gd name="T30" fmla="*/ 1 w 93"/>
                      <a:gd name="T31" fmla="*/ 1 h 114"/>
                      <a:gd name="T32" fmla="*/ 1 w 93"/>
                      <a:gd name="T33" fmla="*/ 0 h 114"/>
                      <a:gd name="T34" fmla="*/ 0 w 93"/>
                      <a:gd name="T35" fmla="*/ 0 h 114"/>
                      <a:gd name="T36" fmla="*/ 0 w 93"/>
                      <a:gd name="T37" fmla="*/ 0 h 114"/>
                      <a:gd name="T38" fmla="*/ 0 w 93"/>
                      <a:gd name="T39" fmla="*/ 1 h 114"/>
                      <a:gd name="T40" fmla="*/ 0 w 93"/>
                      <a:gd name="T41" fmla="*/ 1 h 114"/>
                      <a:gd name="T42" fmla="*/ 0 w 93"/>
                      <a:gd name="T43" fmla="*/ 1 h 114"/>
                      <a:gd name="T44" fmla="*/ 0 w 93"/>
                      <a:gd name="T45" fmla="*/ 1 h 114"/>
                      <a:gd name="T46" fmla="*/ 0 w 93"/>
                      <a:gd name="T47" fmla="*/ 1 h 114"/>
                      <a:gd name="T48" fmla="*/ 0 w 93"/>
                      <a:gd name="T49" fmla="*/ 2 h 114"/>
                      <a:gd name="T50" fmla="*/ 1 w 93"/>
                      <a:gd name="T51" fmla="*/ 2 h 114"/>
                      <a:gd name="T52" fmla="*/ 1 w 93"/>
                      <a:gd name="T53" fmla="*/ 3 h 114"/>
                      <a:gd name="T54" fmla="*/ 1 w 93"/>
                      <a:gd name="T55" fmla="*/ 3 h 114"/>
                      <a:gd name="T56" fmla="*/ 1 w 93"/>
                      <a:gd name="T57" fmla="*/ 3 h 114"/>
                      <a:gd name="T58" fmla="*/ 1 w 93"/>
                      <a:gd name="T59" fmla="*/ 4 h 114"/>
                      <a:gd name="T60" fmla="*/ 1 w 93"/>
                      <a:gd name="T61" fmla="*/ 4 h 114"/>
                      <a:gd name="T62" fmla="*/ 1 w 93"/>
                      <a:gd name="T63" fmla="*/ 4 h 114"/>
                      <a:gd name="T64" fmla="*/ 1 w 93"/>
                      <a:gd name="T65" fmla="*/ 4 h 114"/>
                      <a:gd name="T66" fmla="*/ 2 w 93"/>
                      <a:gd name="T67" fmla="*/ 4 h 114"/>
                      <a:gd name="T68" fmla="*/ 2 w 93"/>
                      <a:gd name="T69" fmla="*/ 4 h 114"/>
                      <a:gd name="T70" fmla="*/ 3 w 93"/>
                      <a:gd name="T71" fmla="*/ 3 h 114"/>
                      <a:gd name="T72" fmla="*/ 3 w 93"/>
                      <a:gd name="T73" fmla="*/ 3 h 114"/>
                      <a:gd name="T74" fmla="*/ 3 w 93"/>
                      <a:gd name="T75" fmla="*/ 3 h 114"/>
                      <a:gd name="T76" fmla="*/ 3 w 93"/>
                      <a:gd name="T77" fmla="*/ 2 h 114"/>
                      <a:gd name="T78" fmla="*/ 3 w 93"/>
                      <a:gd name="T79" fmla="*/ 2 h 114"/>
                      <a:gd name="T80" fmla="*/ 3 w 93"/>
                      <a:gd name="T81" fmla="*/ 2 h 114"/>
                      <a:gd name="T82" fmla="*/ 3 w 93"/>
                      <a:gd name="T83" fmla="*/ 1 h 114"/>
                      <a:gd name="T84" fmla="*/ 3 w 93"/>
                      <a:gd name="T85" fmla="*/ 1 h 114"/>
                      <a:gd name="T86" fmla="*/ 3 w 93"/>
                      <a:gd name="T87" fmla="*/ 1 h 114"/>
                      <a:gd name="T88" fmla="*/ 3 w 93"/>
                      <a:gd name="T89" fmla="*/ 1 h 114"/>
                      <a:gd name="T90" fmla="*/ 3 w 93"/>
                      <a:gd name="T91" fmla="*/ 1 h 114"/>
                      <a:gd name="T92" fmla="*/ 3 w 93"/>
                      <a:gd name="T93" fmla="*/ 1 h 114"/>
                      <a:gd name="T94" fmla="*/ 3 w 93"/>
                      <a:gd name="T95" fmla="*/ 0 h 114"/>
                      <a:gd name="T96" fmla="*/ 3 w 93"/>
                      <a:gd name="T97" fmla="*/ 0 h 114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w 93"/>
                      <a:gd name="T148" fmla="*/ 0 h 114"/>
                      <a:gd name="T149" fmla="*/ 93 w 93"/>
                      <a:gd name="T150" fmla="*/ 114 h 114"/>
                    </a:gdLst>
                    <a:ahLst/>
                    <a:cxnLst>
                      <a:cxn ang="T98">
                        <a:pos x="T0" y="T1"/>
                      </a:cxn>
                      <a:cxn ang="T99">
                        <a:pos x="T2" y="T3"/>
                      </a:cxn>
                      <a:cxn ang="T100">
                        <a:pos x="T4" y="T5"/>
                      </a:cxn>
                      <a:cxn ang="T101">
                        <a:pos x="T6" y="T7"/>
                      </a:cxn>
                      <a:cxn ang="T102">
                        <a:pos x="T8" y="T9"/>
                      </a:cxn>
                      <a:cxn ang="T103">
                        <a:pos x="T10" y="T11"/>
                      </a:cxn>
                      <a:cxn ang="T104">
                        <a:pos x="T12" y="T13"/>
                      </a:cxn>
                      <a:cxn ang="T105">
                        <a:pos x="T14" y="T15"/>
                      </a:cxn>
                      <a:cxn ang="T106">
                        <a:pos x="T16" y="T17"/>
                      </a:cxn>
                      <a:cxn ang="T107">
                        <a:pos x="T18" y="T19"/>
                      </a:cxn>
                      <a:cxn ang="T108">
                        <a:pos x="T20" y="T21"/>
                      </a:cxn>
                      <a:cxn ang="T109">
                        <a:pos x="T22" y="T23"/>
                      </a:cxn>
                      <a:cxn ang="T110">
                        <a:pos x="T24" y="T25"/>
                      </a:cxn>
                      <a:cxn ang="T111">
                        <a:pos x="T26" y="T27"/>
                      </a:cxn>
                      <a:cxn ang="T112">
                        <a:pos x="T28" y="T29"/>
                      </a:cxn>
                      <a:cxn ang="T113">
                        <a:pos x="T30" y="T31"/>
                      </a:cxn>
                      <a:cxn ang="T114">
                        <a:pos x="T32" y="T33"/>
                      </a:cxn>
                      <a:cxn ang="T115">
                        <a:pos x="T34" y="T35"/>
                      </a:cxn>
                      <a:cxn ang="T116">
                        <a:pos x="T36" y="T37"/>
                      </a:cxn>
                      <a:cxn ang="T117">
                        <a:pos x="T38" y="T39"/>
                      </a:cxn>
                      <a:cxn ang="T118">
                        <a:pos x="T40" y="T41"/>
                      </a:cxn>
                      <a:cxn ang="T119">
                        <a:pos x="T42" y="T43"/>
                      </a:cxn>
                      <a:cxn ang="T120">
                        <a:pos x="T44" y="T45"/>
                      </a:cxn>
                      <a:cxn ang="T121">
                        <a:pos x="T46" y="T47"/>
                      </a:cxn>
                      <a:cxn ang="T122">
                        <a:pos x="T48" y="T49"/>
                      </a:cxn>
                      <a:cxn ang="T123">
                        <a:pos x="T50" y="T51"/>
                      </a:cxn>
                      <a:cxn ang="T124">
                        <a:pos x="T52" y="T53"/>
                      </a:cxn>
                      <a:cxn ang="T125">
                        <a:pos x="T54" y="T55"/>
                      </a:cxn>
                      <a:cxn ang="T126">
                        <a:pos x="T56" y="T57"/>
                      </a:cxn>
                      <a:cxn ang="T127">
                        <a:pos x="T58" y="T59"/>
                      </a:cxn>
                      <a:cxn ang="T128">
                        <a:pos x="T60" y="T61"/>
                      </a:cxn>
                      <a:cxn ang="T129">
                        <a:pos x="T62" y="T63"/>
                      </a:cxn>
                      <a:cxn ang="T130">
                        <a:pos x="T64" y="T65"/>
                      </a:cxn>
                      <a:cxn ang="T131">
                        <a:pos x="T66" y="T67"/>
                      </a:cxn>
                      <a:cxn ang="T132">
                        <a:pos x="T68" y="T69"/>
                      </a:cxn>
                      <a:cxn ang="T133">
                        <a:pos x="T70" y="T71"/>
                      </a:cxn>
                      <a:cxn ang="T134">
                        <a:pos x="T72" y="T73"/>
                      </a:cxn>
                      <a:cxn ang="T135">
                        <a:pos x="T74" y="T75"/>
                      </a:cxn>
                      <a:cxn ang="T136">
                        <a:pos x="T76" y="T77"/>
                      </a:cxn>
                      <a:cxn ang="T137">
                        <a:pos x="T78" y="T79"/>
                      </a:cxn>
                      <a:cxn ang="T138">
                        <a:pos x="T80" y="T81"/>
                      </a:cxn>
                      <a:cxn ang="T139">
                        <a:pos x="T82" y="T83"/>
                      </a:cxn>
                      <a:cxn ang="T140">
                        <a:pos x="T84" y="T85"/>
                      </a:cxn>
                      <a:cxn ang="T141">
                        <a:pos x="T86" y="T87"/>
                      </a:cxn>
                      <a:cxn ang="T142">
                        <a:pos x="T88" y="T89"/>
                      </a:cxn>
                      <a:cxn ang="T143">
                        <a:pos x="T90" y="T91"/>
                      </a:cxn>
                      <a:cxn ang="T144">
                        <a:pos x="T92" y="T93"/>
                      </a:cxn>
                      <a:cxn ang="T145">
                        <a:pos x="T94" y="T95"/>
                      </a:cxn>
                      <a:cxn ang="T146">
                        <a:pos x="T96" y="T97"/>
                      </a:cxn>
                    </a:cxnLst>
                    <a:rect l="T147" t="T148" r="T149" b="T150"/>
                    <a:pathLst>
                      <a:path w="93" h="114">
                        <a:moveTo>
                          <a:pt x="83" y="5"/>
                        </a:moveTo>
                        <a:lnTo>
                          <a:pt x="81" y="1"/>
                        </a:lnTo>
                        <a:lnTo>
                          <a:pt x="76" y="1"/>
                        </a:lnTo>
                        <a:lnTo>
                          <a:pt x="76" y="0"/>
                        </a:lnTo>
                        <a:lnTo>
                          <a:pt x="71" y="0"/>
                        </a:lnTo>
                        <a:lnTo>
                          <a:pt x="59" y="4"/>
                        </a:lnTo>
                        <a:lnTo>
                          <a:pt x="49" y="4"/>
                        </a:lnTo>
                        <a:lnTo>
                          <a:pt x="46" y="6"/>
                        </a:lnTo>
                        <a:lnTo>
                          <a:pt x="45" y="9"/>
                        </a:lnTo>
                        <a:lnTo>
                          <a:pt x="45" y="17"/>
                        </a:lnTo>
                        <a:lnTo>
                          <a:pt x="41" y="22"/>
                        </a:lnTo>
                        <a:lnTo>
                          <a:pt x="33" y="22"/>
                        </a:lnTo>
                        <a:lnTo>
                          <a:pt x="28" y="25"/>
                        </a:lnTo>
                        <a:lnTo>
                          <a:pt x="22" y="26"/>
                        </a:lnTo>
                        <a:lnTo>
                          <a:pt x="19" y="25"/>
                        </a:lnTo>
                        <a:lnTo>
                          <a:pt x="16" y="16"/>
                        </a:lnTo>
                        <a:lnTo>
                          <a:pt x="13" y="11"/>
                        </a:lnTo>
                        <a:lnTo>
                          <a:pt x="11" y="10"/>
                        </a:lnTo>
                        <a:lnTo>
                          <a:pt x="6" y="10"/>
                        </a:lnTo>
                        <a:lnTo>
                          <a:pt x="1" y="13"/>
                        </a:lnTo>
                        <a:lnTo>
                          <a:pt x="1" y="22"/>
                        </a:lnTo>
                        <a:lnTo>
                          <a:pt x="0" y="22"/>
                        </a:lnTo>
                        <a:lnTo>
                          <a:pt x="6" y="28"/>
                        </a:lnTo>
                        <a:lnTo>
                          <a:pt x="8" y="34"/>
                        </a:lnTo>
                        <a:lnTo>
                          <a:pt x="11" y="58"/>
                        </a:lnTo>
                        <a:lnTo>
                          <a:pt x="13" y="61"/>
                        </a:lnTo>
                        <a:lnTo>
                          <a:pt x="16" y="69"/>
                        </a:lnTo>
                        <a:lnTo>
                          <a:pt x="17" y="79"/>
                        </a:lnTo>
                        <a:lnTo>
                          <a:pt x="17" y="91"/>
                        </a:lnTo>
                        <a:lnTo>
                          <a:pt x="18" y="101"/>
                        </a:lnTo>
                        <a:lnTo>
                          <a:pt x="23" y="108"/>
                        </a:lnTo>
                        <a:lnTo>
                          <a:pt x="29" y="114"/>
                        </a:lnTo>
                        <a:lnTo>
                          <a:pt x="32" y="113"/>
                        </a:lnTo>
                        <a:lnTo>
                          <a:pt x="43" y="110"/>
                        </a:lnTo>
                        <a:lnTo>
                          <a:pt x="57" y="106"/>
                        </a:lnTo>
                        <a:lnTo>
                          <a:pt x="68" y="86"/>
                        </a:lnTo>
                        <a:lnTo>
                          <a:pt x="73" y="80"/>
                        </a:lnTo>
                        <a:lnTo>
                          <a:pt x="79" y="66"/>
                        </a:lnTo>
                        <a:lnTo>
                          <a:pt x="89" y="54"/>
                        </a:lnTo>
                        <a:lnTo>
                          <a:pt x="93" y="48"/>
                        </a:lnTo>
                        <a:lnTo>
                          <a:pt x="93" y="40"/>
                        </a:lnTo>
                        <a:lnTo>
                          <a:pt x="91" y="34"/>
                        </a:lnTo>
                        <a:lnTo>
                          <a:pt x="87" y="31"/>
                        </a:lnTo>
                        <a:lnTo>
                          <a:pt x="81" y="29"/>
                        </a:lnTo>
                        <a:lnTo>
                          <a:pt x="77" y="26"/>
                        </a:lnTo>
                        <a:lnTo>
                          <a:pt x="77" y="22"/>
                        </a:lnTo>
                        <a:lnTo>
                          <a:pt x="77" y="16"/>
                        </a:lnTo>
                        <a:lnTo>
                          <a:pt x="78" y="10"/>
                        </a:lnTo>
                        <a:lnTo>
                          <a:pt x="83" y="5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96" name="Freeform 48"/>
                  <p:cNvSpPr>
                    <a:spLocks/>
                  </p:cNvSpPr>
                  <p:nvPr/>
                </p:nvSpPr>
                <p:spPr bwMode="gray">
                  <a:xfrm>
                    <a:off x="2842" y="2441"/>
                    <a:ext cx="58" cy="61"/>
                  </a:xfrm>
                  <a:custGeom>
                    <a:avLst/>
                    <a:gdLst>
                      <a:gd name="T0" fmla="*/ 9 w 289"/>
                      <a:gd name="T1" fmla="*/ 0 h 302"/>
                      <a:gd name="T2" fmla="*/ 8 w 289"/>
                      <a:gd name="T3" fmla="*/ 1 h 302"/>
                      <a:gd name="T4" fmla="*/ 7 w 289"/>
                      <a:gd name="T5" fmla="*/ 1 h 302"/>
                      <a:gd name="T6" fmla="*/ 6 w 289"/>
                      <a:gd name="T7" fmla="*/ 1 h 302"/>
                      <a:gd name="T8" fmla="*/ 5 w 289"/>
                      <a:gd name="T9" fmla="*/ 1 h 302"/>
                      <a:gd name="T10" fmla="*/ 4 w 289"/>
                      <a:gd name="T11" fmla="*/ 1 h 302"/>
                      <a:gd name="T12" fmla="*/ 3 w 289"/>
                      <a:gd name="T13" fmla="*/ 1 h 302"/>
                      <a:gd name="T14" fmla="*/ 3 w 289"/>
                      <a:gd name="T15" fmla="*/ 1 h 302"/>
                      <a:gd name="T16" fmla="*/ 2 w 289"/>
                      <a:gd name="T17" fmla="*/ 2 h 302"/>
                      <a:gd name="T18" fmla="*/ 3 w 289"/>
                      <a:gd name="T19" fmla="*/ 4 h 302"/>
                      <a:gd name="T20" fmla="*/ 3 w 289"/>
                      <a:gd name="T21" fmla="*/ 4 h 302"/>
                      <a:gd name="T22" fmla="*/ 3 w 289"/>
                      <a:gd name="T23" fmla="*/ 4 h 302"/>
                      <a:gd name="T24" fmla="*/ 3 w 289"/>
                      <a:gd name="T25" fmla="*/ 5 h 302"/>
                      <a:gd name="T26" fmla="*/ 3 w 289"/>
                      <a:gd name="T27" fmla="*/ 5 h 302"/>
                      <a:gd name="T28" fmla="*/ 2 w 289"/>
                      <a:gd name="T29" fmla="*/ 6 h 302"/>
                      <a:gd name="T30" fmla="*/ 2 w 289"/>
                      <a:gd name="T31" fmla="*/ 6 h 302"/>
                      <a:gd name="T32" fmla="*/ 1 w 289"/>
                      <a:gd name="T33" fmla="*/ 8 h 302"/>
                      <a:gd name="T34" fmla="*/ 0 w 289"/>
                      <a:gd name="T35" fmla="*/ 8 h 302"/>
                      <a:gd name="T36" fmla="*/ 0 w 289"/>
                      <a:gd name="T37" fmla="*/ 10 h 302"/>
                      <a:gd name="T38" fmla="*/ 0 w 289"/>
                      <a:gd name="T39" fmla="*/ 12 h 302"/>
                      <a:gd name="T40" fmla="*/ 0 w 289"/>
                      <a:gd name="T41" fmla="*/ 12 h 302"/>
                      <a:gd name="T42" fmla="*/ 1 w 289"/>
                      <a:gd name="T43" fmla="*/ 12 h 302"/>
                      <a:gd name="T44" fmla="*/ 1 w 289"/>
                      <a:gd name="T45" fmla="*/ 12 h 302"/>
                      <a:gd name="T46" fmla="*/ 3 w 289"/>
                      <a:gd name="T47" fmla="*/ 12 h 302"/>
                      <a:gd name="T48" fmla="*/ 3 w 289"/>
                      <a:gd name="T49" fmla="*/ 11 h 302"/>
                      <a:gd name="T50" fmla="*/ 4 w 289"/>
                      <a:gd name="T51" fmla="*/ 11 h 302"/>
                      <a:gd name="T52" fmla="*/ 5 w 289"/>
                      <a:gd name="T53" fmla="*/ 10 h 302"/>
                      <a:gd name="T54" fmla="*/ 5 w 289"/>
                      <a:gd name="T55" fmla="*/ 9 h 302"/>
                      <a:gd name="T56" fmla="*/ 6 w 289"/>
                      <a:gd name="T57" fmla="*/ 9 h 302"/>
                      <a:gd name="T58" fmla="*/ 6 w 289"/>
                      <a:gd name="T59" fmla="*/ 9 h 302"/>
                      <a:gd name="T60" fmla="*/ 7 w 289"/>
                      <a:gd name="T61" fmla="*/ 9 h 302"/>
                      <a:gd name="T62" fmla="*/ 7 w 289"/>
                      <a:gd name="T63" fmla="*/ 9 h 302"/>
                      <a:gd name="T64" fmla="*/ 8 w 289"/>
                      <a:gd name="T65" fmla="*/ 9 h 302"/>
                      <a:gd name="T66" fmla="*/ 9 w 289"/>
                      <a:gd name="T67" fmla="*/ 9 h 302"/>
                      <a:gd name="T68" fmla="*/ 9 w 289"/>
                      <a:gd name="T69" fmla="*/ 9 h 302"/>
                      <a:gd name="T70" fmla="*/ 10 w 289"/>
                      <a:gd name="T71" fmla="*/ 7 h 302"/>
                      <a:gd name="T72" fmla="*/ 11 w 289"/>
                      <a:gd name="T73" fmla="*/ 7 h 302"/>
                      <a:gd name="T74" fmla="*/ 11 w 289"/>
                      <a:gd name="T75" fmla="*/ 6 h 302"/>
                      <a:gd name="T76" fmla="*/ 12 w 289"/>
                      <a:gd name="T77" fmla="*/ 4 h 302"/>
                      <a:gd name="T78" fmla="*/ 12 w 289"/>
                      <a:gd name="T79" fmla="*/ 3 h 302"/>
                      <a:gd name="T80" fmla="*/ 11 w 289"/>
                      <a:gd name="T81" fmla="*/ 3 h 302"/>
                      <a:gd name="T82" fmla="*/ 11 w 289"/>
                      <a:gd name="T83" fmla="*/ 2 h 302"/>
                      <a:gd name="T84" fmla="*/ 10 w 289"/>
                      <a:gd name="T85" fmla="*/ 2 h 302"/>
                      <a:gd name="T86" fmla="*/ 10 w 289"/>
                      <a:gd name="T87" fmla="*/ 1 h 302"/>
                      <a:gd name="T88" fmla="*/ 10 w 289"/>
                      <a:gd name="T89" fmla="*/ 0 h 302"/>
                      <a:gd name="T90" fmla="*/ 10 w 289"/>
                      <a:gd name="T91" fmla="*/ 0 h 302"/>
                      <a:gd name="T92" fmla="*/ 9 w 289"/>
                      <a:gd name="T93" fmla="*/ 0 h 302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w 289"/>
                      <a:gd name="T142" fmla="*/ 0 h 302"/>
                      <a:gd name="T143" fmla="*/ 289 w 289"/>
                      <a:gd name="T144" fmla="*/ 302 h 302"/>
                    </a:gdLst>
                    <a:ahLst/>
                    <a:cxnLst>
                      <a:cxn ang="T94">
                        <a:pos x="T0" y="T1"/>
                      </a:cxn>
                      <a:cxn ang="T95">
                        <a:pos x="T2" y="T3"/>
                      </a:cxn>
                      <a:cxn ang="T96">
                        <a:pos x="T4" y="T5"/>
                      </a:cxn>
                      <a:cxn ang="T97">
                        <a:pos x="T6" y="T7"/>
                      </a:cxn>
                      <a:cxn ang="T98">
                        <a:pos x="T8" y="T9"/>
                      </a:cxn>
                      <a:cxn ang="T99">
                        <a:pos x="T10" y="T11"/>
                      </a:cxn>
                      <a:cxn ang="T100">
                        <a:pos x="T12" y="T13"/>
                      </a:cxn>
                      <a:cxn ang="T101">
                        <a:pos x="T14" y="T15"/>
                      </a:cxn>
                      <a:cxn ang="T102">
                        <a:pos x="T16" y="T17"/>
                      </a:cxn>
                      <a:cxn ang="T103">
                        <a:pos x="T18" y="T19"/>
                      </a:cxn>
                      <a:cxn ang="T104">
                        <a:pos x="T20" y="T21"/>
                      </a:cxn>
                      <a:cxn ang="T105">
                        <a:pos x="T22" y="T23"/>
                      </a:cxn>
                      <a:cxn ang="T106">
                        <a:pos x="T24" y="T25"/>
                      </a:cxn>
                      <a:cxn ang="T107">
                        <a:pos x="T26" y="T27"/>
                      </a:cxn>
                      <a:cxn ang="T108">
                        <a:pos x="T28" y="T29"/>
                      </a:cxn>
                      <a:cxn ang="T109">
                        <a:pos x="T30" y="T31"/>
                      </a:cxn>
                      <a:cxn ang="T110">
                        <a:pos x="T32" y="T33"/>
                      </a:cxn>
                      <a:cxn ang="T111">
                        <a:pos x="T34" y="T35"/>
                      </a:cxn>
                      <a:cxn ang="T112">
                        <a:pos x="T36" y="T37"/>
                      </a:cxn>
                      <a:cxn ang="T113">
                        <a:pos x="T38" y="T39"/>
                      </a:cxn>
                      <a:cxn ang="T114">
                        <a:pos x="T40" y="T41"/>
                      </a:cxn>
                      <a:cxn ang="T115">
                        <a:pos x="T42" y="T43"/>
                      </a:cxn>
                      <a:cxn ang="T116">
                        <a:pos x="T44" y="T45"/>
                      </a:cxn>
                      <a:cxn ang="T117">
                        <a:pos x="T46" y="T47"/>
                      </a:cxn>
                      <a:cxn ang="T118">
                        <a:pos x="T48" y="T49"/>
                      </a:cxn>
                      <a:cxn ang="T119">
                        <a:pos x="T50" y="T51"/>
                      </a:cxn>
                      <a:cxn ang="T120">
                        <a:pos x="T52" y="T53"/>
                      </a:cxn>
                      <a:cxn ang="T121">
                        <a:pos x="T54" y="T55"/>
                      </a:cxn>
                      <a:cxn ang="T122">
                        <a:pos x="T56" y="T57"/>
                      </a:cxn>
                      <a:cxn ang="T123">
                        <a:pos x="T58" y="T59"/>
                      </a:cxn>
                      <a:cxn ang="T124">
                        <a:pos x="T60" y="T61"/>
                      </a:cxn>
                      <a:cxn ang="T125">
                        <a:pos x="T62" y="T63"/>
                      </a:cxn>
                      <a:cxn ang="T126">
                        <a:pos x="T64" y="T65"/>
                      </a:cxn>
                      <a:cxn ang="T127">
                        <a:pos x="T66" y="T67"/>
                      </a:cxn>
                      <a:cxn ang="T128">
                        <a:pos x="T68" y="T69"/>
                      </a:cxn>
                      <a:cxn ang="T129">
                        <a:pos x="T70" y="T71"/>
                      </a:cxn>
                      <a:cxn ang="T130">
                        <a:pos x="T72" y="T73"/>
                      </a:cxn>
                      <a:cxn ang="T131">
                        <a:pos x="T74" y="T75"/>
                      </a:cxn>
                      <a:cxn ang="T132">
                        <a:pos x="T76" y="T77"/>
                      </a:cxn>
                      <a:cxn ang="T133">
                        <a:pos x="T78" y="T79"/>
                      </a:cxn>
                      <a:cxn ang="T134">
                        <a:pos x="T80" y="T81"/>
                      </a:cxn>
                      <a:cxn ang="T135">
                        <a:pos x="T82" y="T83"/>
                      </a:cxn>
                      <a:cxn ang="T136">
                        <a:pos x="T84" y="T85"/>
                      </a:cxn>
                      <a:cxn ang="T137">
                        <a:pos x="T86" y="T87"/>
                      </a:cxn>
                      <a:cxn ang="T138">
                        <a:pos x="T88" y="T89"/>
                      </a:cxn>
                      <a:cxn ang="T139">
                        <a:pos x="T90" y="T91"/>
                      </a:cxn>
                      <a:cxn ang="T140">
                        <a:pos x="T92" y="T93"/>
                      </a:cxn>
                    </a:cxnLst>
                    <a:rect l="T141" t="T142" r="T143" b="T144"/>
                    <a:pathLst>
                      <a:path w="289" h="302">
                        <a:moveTo>
                          <a:pt x="232" y="3"/>
                        </a:moveTo>
                        <a:lnTo>
                          <a:pt x="232" y="0"/>
                        </a:lnTo>
                        <a:lnTo>
                          <a:pt x="232" y="3"/>
                        </a:lnTo>
                        <a:lnTo>
                          <a:pt x="205" y="21"/>
                        </a:lnTo>
                        <a:lnTo>
                          <a:pt x="186" y="21"/>
                        </a:lnTo>
                        <a:lnTo>
                          <a:pt x="170" y="19"/>
                        </a:lnTo>
                        <a:lnTo>
                          <a:pt x="157" y="24"/>
                        </a:lnTo>
                        <a:lnTo>
                          <a:pt x="143" y="25"/>
                        </a:lnTo>
                        <a:lnTo>
                          <a:pt x="126" y="29"/>
                        </a:lnTo>
                        <a:lnTo>
                          <a:pt x="120" y="22"/>
                        </a:lnTo>
                        <a:lnTo>
                          <a:pt x="108" y="23"/>
                        </a:lnTo>
                        <a:lnTo>
                          <a:pt x="98" y="25"/>
                        </a:lnTo>
                        <a:lnTo>
                          <a:pt x="87" y="22"/>
                        </a:lnTo>
                        <a:lnTo>
                          <a:pt x="73" y="23"/>
                        </a:lnTo>
                        <a:lnTo>
                          <a:pt x="66" y="28"/>
                        </a:lnTo>
                        <a:lnTo>
                          <a:pt x="66" y="32"/>
                        </a:lnTo>
                        <a:lnTo>
                          <a:pt x="63" y="41"/>
                        </a:lnTo>
                        <a:lnTo>
                          <a:pt x="60" y="59"/>
                        </a:lnTo>
                        <a:lnTo>
                          <a:pt x="61" y="81"/>
                        </a:lnTo>
                        <a:lnTo>
                          <a:pt x="63" y="89"/>
                        </a:lnTo>
                        <a:lnTo>
                          <a:pt x="68" y="94"/>
                        </a:lnTo>
                        <a:lnTo>
                          <a:pt x="73" y="98"/>
                        </a:lnTo>
                        <a:lnTo>
                          <a:pt x="82" y="100"/>
                        </a:lnTo>
                        <a:lnTo>
                          <a:pt x="84" y="105"/>
                        </a:lnTo>
                        <a:lnTo>
                          <a:pt x="86" y="113"/>
                        </a:lnTo>
                        <a:lnTo>
                          <a:pt x="82" y="121"/>
                        </a:lnTo>
                        <a:lnTo>
                          <a:pt x="73" y="130"/>
                        </a:lnTo>
                        <a:lnTo>
                          <a:pt x="67" y="135"/>
                        </a:lnTo>
                        <a:lnTo>
                          <a:pt x="56" y="140"/>
                        </a:lnTo>
                        <a:lnTo>
                          <a:pt x="52" y="147"/>
                        </a:lnTo>
                        <a:lnTo>
                          <a:pt x="50" y="153"/>
                        </a:lnTo>
                        <a:lnTo>
                          <a:pt x="44" y="159"/>
                        </a:lnTo>
                        <a:lnTo>
                          <a:pt x="33" y="172"/>
                        </a:lnTo>
                        <a:lnTo>
                          <a:pt x="20" y="186"/>
                        </a:lnTo>
                        <a:lnTo>
                          <a:pt x="17" y="191"/>
                        </a:lnTo>
                        <a:lnTo>
                          <a:pt x="11" y="202"/>
                        </a:lnTo>
                        <a:lnTo>
                          <a:pt x="3" y="233"/>
                        </a:lnTo>
                        <a:lnTo>
                          <a:pt x="3" y="247"/>
                        </a:lnTo>
                        <a:lnTo>
                          <a:pt x="1" y="275"/>
                        </a:lnTo>
                        <a:lnTo>
                          <a:pt x="0" y="296"/>
                        </a:lnTo>
                        <a:lnTo>
                          <a:pt x="4" y="299"/>
                        </a:lnTo>
                        <a:lnTo>
                          <a:pt x="11" y="302"/>
                        </a:lnTo>
                        <a:lnTo>
                          <a:pt x="19" y="301"/>
                        </a:lnTo>
                        <a:lnTo>
                          <a:pt x="25" y="290"/>
                        </a:lnTo>
                        <a:lnTo>
                          <a:pt x="29" y="286"/>
                        </a:lnTo>
                        <a:lnTo>
                          <a:pt x="36" y="285"/>
                        </a:lnTo>
                        <a:lnTo>
                          <a:pt x="41" y="281"/>
                        </a:lnTo>
                        <a:lnTo>
                          <a:pt x="63" y="283"/>
                        </a:lnTo>
                        <a:lnTo>
                          <a:pt x="70" y="280"/>
                        </a:lnTo>
                        <a:lnTo>
                          <a:pt x="70" y="278"/>
                        </a:lnTo>
                        <a:lnTo>
                          <a:pt x="115" y="278"/>
                        </a:lnTo>
                        <a:lnTo>
                          <a:pt x="110" y="274"/>
                        </a:lnTo>
                        <a:lnTo>
                          <a:pt x="122" y="247"/>
                        </a:lnTo>
                        <a:lnTo>
                          <a:pt x="120" y="240"/>
                        </a:lnTo>
                        <a:lnTo>
                          <a:pt x="121" y="234"/>
                        </a:lnTo>
                        <a:lnTo>
                          <a:pt x="132" y="232"/>
                        </a:lnTo>
                        <a:lnTo>
                          <a:pt x="142" y="228"/>
                        </a:lnTo>
                        <a:lnTo>
                          <a:pt x="147" y="221"/>
                        </a:lnTo>
                        <a:lnTo>
                          <a:pt x="153" y="223"/>
                        </a:lnTo>
                        <a:lnTo>
                          <a:pt x="157" y="222"/>
                        </a:lnTo>
                        <a:lnTo>
                          <a:pt x="159" y="216"/>
                        </a:lnTo>
                        <a:lnTo>
                          <a:pt x="164" y="218"/>
                        </a:lnTo>
                        <a:lnTo>
                          <a:pt x="175" y="220"/>
                        </a:lnTo>
                        <a:lnTo>
                          <a:pt x="183" y="223"/>
                        </a:lnTo>
                        <a:lnTo>
                          <a:pt x="195" y="207"/>
                        </a:lnTo>
                        <a:lnTo>
                          <a:pt x="201" y="211"/>
                        </a:lnTo>
                        <a:lnTo>
                          <a:pt x="215" y="216"/>
                        </a:lnTo>
                        <a:lnTo>
                          <a:pt x="223" y="213"/>
                        </a:lnTo>
                        <a:lnTo>
                          <a:pt x="232" y="216"/>
                        </a:lnTo>
                        <a:lnTo>
                          <a:pt x="234" y="213"/>
                        </a:lnTo>
                        <a:lnTo>
                          <a:pt x="240" y="208"/>
                        </a:lnTo>
                        <a:lnTo>
                          <a:pt x="258" y="181"/>
                        </a:lnTo>
                        <a:lnTo>
                          <a:pt x="267" y="170"/>
                        </a:lnTo>
                        <a:lnTo>
                          <a:pt x="270" y="167"/>
                        </a:lnTo>
                        <a:lnTo>
                          <a:pt x="278" y="156"/>
                        </a:lnTo>
                        <a:lnTo>
                          <a:pt x="286" y="143"/>
                        </a:lnTo>
                        <a:lnTo>
                          <a:pt x="288" y="130"/>
                        </a:lnTo>
                        <a:lnTo>
                          <a:pt x="289" y="110"/>
                        </a:lnTo>
                        <a:lnTo>
                          <a:pt x="287" y="100"/>
                        </a:lnTo>
                        <a:lnTo>
                          <a:pt x="287" y="82"/>
                        </a:lnTo>
                        <a:lnTo>
                          <a:pt x="286" y="76"/>
                        </a:lnTo>
                        <a:lnTo>
                          <a:pt x="278" y="67"/>
                        </a:lnTo>
                        <a:lnTo>
                          <a:pt x="274" y="65"/>
                        </a:lnTo>
                        <a:lnTo>
                          <a:pt x="267" y="61"/>
                        </a:lnTo>
                        <a:lnTo>
                          <a:pt x="262" y="56"/>
                        </a:lnTo>
                        <a:lnTo>
                          <a:pt x="260" y="50"/>
                        </a:lnTo>
                        <a:lnTo>
                          <a:pt x="255" y="23"/>
                        </a:lnTo>
                        <a:lnTo>
                          <a:pt x="253" y="21"/>
                        </a:lnTo>
                        <a:lnTo>
                          <a:pt x="251" y="18"/>
                        </a:lnTo>
                        <a:lnTo>
                          <a:pt x="251" y="11"/>
                        </a:lnTo>
                        <a:lnTo>
                          <a:pt x="249" y="9"/>
                        </a:lnTo>
                        <a:lnTo>
                          <a:pt x="237" y="7"/>
                        </a:lnTo>
                        <a:lnTo>
                          <a:pt x="234" y="5"/>
                        </a:lnTo>
                        <a:lnTo>
                          <a:pt x="232" y="3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97" name="Freeform 49"/>
                  <p:cNvSpPr>
                    <a:spLocks/>
                  </p:cNvSpPr>
                  <p:nvPr/>
                </p:nvSpPr>
                <p:spPr bwMode="gray">
                  <a:xfrm>
                    <a:off x="2834" y="2498"/>
                    <a:ext cx="21" cy="19"/>
                  </a:xfrm>
                  <a:custGeom>
                    <a:avLst/>
                    <a:gdLst>
                      <a:gd name="T0" fmla="*/ 0 w 104"/>
                      <a:gd name="T1" fmla="*/ 4 h 96"/>
                      <a:gd name="T2" fmla="*/ 0 w 104"/>
                      <a:gd name="T3" fmla="*/ 4 h 96"/>
                      <a:gd name="T4" fmla="*/ 0 w 104"/>
                      <a:gd name="T5" fmla="*/ 3 h 96"/>
                      <a:gd name="T6" fmla="*/ 1 w 104"/>
                      <a:gd name="T7" fmla="*/ 3 h 96"/>
                      <a:gd name="T8" fmla="*/ 1 w 104"/>
                      <a:gd name="T9" fmla="*/ 3 h 96"/>
                      <a:gd name="T10" fmla="*/ 1 w 104"/>
                      <a:gd name="T11" fmla="*/ 3 h 96"/>
                      <a:gd name="T12" fmla="*/ 1 w 104"/>
                      <a:gd name="T13" fmla="*/ 3 h 96"/>
                      <a:gd name="T14" fmla="*/ 1 w 104"/>
                      <a:gd name="T15" fmla="*/ 4 h 96"/>
                      <a:gd name="T16" fmla="*/ 1 w 104"/>
                      <a:gd name="T17" fmla="*/ 4 h 96"/>
                      <a:gd name="T18" fmla="*/ 1 w 104"/>
                      <a:gd name="T19" fmla="*/ 4 h 96"/>
                      <a:gd name="T20" fmla="*/ 2 w 104"/>
                      <a:gd name="T21" fmla="*/ 4 h 96"/>
                      <a:gd name="T22" fmla="*/ 2 w 104"/>
                      <a:gd name="T23" fmla="*/ 4 h 96"/>
                      <a:gd name="T24" fmla="*/ 2 w 104"/>
                      <a:gd name="T25" fmla="*/ 3 h 96"/>
                      <a:gd name="T26" fmla="*/ 2 w 104"/>
                      <a:gd name="T27" fmla="*/ 3 h 96"/>
                      <a:gd name="T28" fmla="*/ 2 w 104"/>
                      <a:gd name="T29" fmla="*/ 3 h 96"/>
                      <a:gd name="T30" fmla="*/ 2 w 104"/>
                      <a:gd name="T31" fmla="*/ 3 h 96"/>
                      <a:gd name="T32" fmla="*/ 3 w 104"/>
                      <a:gd name="T33" fmla="*/ 3 h 96"/>
                      <a:gd name="T34" fmla="*/ 3 w 104"/>
                      <a:gd name="T35" fmla="*/ 3 h 96"/>
                      <a:gd name="T36" fmla="*/ 3 w 104"/>
                      <a:gd name="T37" fmla="*/ 3 h 96"/>
                      <a:gd name="T38" fmla="*/ 3 w 104"/>
                      <a:gd name="T39" fmla="*/ 3 h 96"/>
                      <a:gd name="T40" fmla="*/ 4 w 104"/>
                      <a:gd name="T41" fmla="*/ 3 h 96"/>
                      <a:gd name="T42" fmla="*/ 4 w 104"/>
                      <a:gd name="T43" fmla="*/ 3 h 96"/>
                      <a:gd name="T44" fmla="*/ 4 w 104"/>
                      <a:gd name="T45" fmla="*/ 2 h 96"/>
                      <a:gd name="T46" fmla="*/ 4 w 104"/>
                      <a:gd name="T47" fmla="*/ 2 h 96"/>
                      <a:gd name="T48" fmla="*/ 4 w 104"/>
                      <a:gd name="T49" fmla="*/ 2 h 96"/>
                      <a:gd name="T50" fmla="*/ 4 w 104"/>
                      <a:gd name="T51" fmla="*/ 1 h 96"/>
                      <a:gd name="T52" fmla="*/ 3 w 104"/>
                      <a:gd name="T53" fmla="*/ 0 h 96"/>
                      <a:gd name="T54" fmla="*/ 3 w 104"/>
                      <a:gd name="T55" fmla="*/ 0 h 96"/>
                      <a:gd name="T56" fmla="*/ 3 w 104"/>
                      <a:gd name="T57" fmla="*/ 0 h 96"/>
                      <a:gd name="T58" fmla="*/ 3 w 104"/>
                      <a:gd name="T59" fmla="*/ 0 h 96"/>
                      <a:gd name="T60" fmla="*/ 3 w 104"/>
                      <a:gd name="T61" fmla="*/ 0 h 96"/>
                      <a:gd name="T62" fmla="*/ 2 w 104"/>
                      <a:gd name="T63" fmla="*/ 1 h 96"/>
                      <a:gd name="T64" fmla="*/ 2 w 104"/>
                      <a:gd name="T65" fmla="*/ 1 h 96"/>
                      <a:gd name="T66" fmla="*/ 2 w 104"/>
                      <a:gd name="T67" fmla="*/ 1 h 96"/>
                      <a:gd name="T68" fmla="*/ 2 w 104"/>
                      <a:gd name="T69" fmla="*/ 1 h 96"/>
                      <a:gd name="T70" fmla="*/ 1 w 104"/>
                      <a:gd name="T71" fmla="*/ 1 h 96"/>
                      <a:gd name="T72" fmla="*/ 1 w 104"/>
                      <a:gd name="T73" fmla="*/ 1 h 96"/>
                      <a:gd name="T74" fmla="*/ 1 w 104"/>
                      <a:gd name="T75" fmla="*/ 1 h 96"/>
                      <a:gd name="T76" fmla="*/ 1 w 104"/>
                      <a:gd name="T77" fmla="*/ 2 h 96"/>
                      <a:gd name="T78" fmla="*/ 0 w 104"/>
                      <a:gd name="T79" fmla="*/ 2 h 96"/>
                      <a:gd name="T80" fmla="*/ 0 w 104"/>
                      <a:gd name="T81" fmla="*/ 3 h 96"/>
                      <a:gd name="T82" fmla="*/ 0 w 104"/>
                      <a:gd name="T83" fmla="*/ 3 h 96"/>
                      <a:gd name="T84" fmla="*/ 0 w 104"/>
                      <a:gd name="T85" fmla="*/ 3 h 96"/>
                      <a:gd name="T86" fmla="*/ 0 w 104"/>
                      <a:gd name="T87" fmla="*/ 4 h 9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w 104"/>
                      <a:gd name="T133" fmla="*/ 0 h 96"/>
                      <a:gd name="T134" fmla="*/ 104 w 104"/>
                      <a:gd name="T135" fmla="*/ 96 h 96"/>
                    </a:gdLst>
                    <a:ahLst/>
                    <a:cxnLst>
                      <a:cxn ang="T88">
                        <a:pos x="T0" y="T1"/>
                      </a:cxn>
                      <a:cxn ang="T89">
                        <a:pos x="T2" y="T3"/>
                      </a:cxn>
                      <a:cxn ang="T90">
                        <a:pos x="T4" y="T5"/>
                      </a:cxn>
                      <a:cxn ang="T91">
                        <a:pos x="T6" y="T7"/>
                      </a:cxn>
                      <a:cxn ang="T92">
                        <a:pos x="T8" y="T9"/>
                      </a:cxn>
                      <a:cxn ang="T93">
                        <a:pos x="T10" y="T11"/>
                      </a:cxn>
                      <a:cxn ang="T94">
                        <a:pos x="T12" y="T13"/>
                      </a:cxn>
                      <a:cxn ang="T95">
                        <a:pos x="T14" y="T15"/>
                      </a:cxn>
                      <a:cxn ang="T96">
                        <a:pos x="T16" y="T17"/>
                      </a:cxn>
                      <a:cxn ang="T97">
                        <a:pos x="T18" y="T19"/>
                      </a:cxn>
                      <a:cxn ang="T98">
                        <a:pos x="T20" y="T21"/>
                      </a:cxn>
                      <a:cxn ang="T99">
                        <a:pos x="T22" y="T23"/>
                      </a:cxn>
                      <a:cxn ang="T100">
                        <a:pos x="T24" y="T25"/>
                      </a:cxn>
                      <a:cxn ang="T101">
                        <a:pos x="T26" y="T27"/>
                      </a:cxn>
                      <a:cxn ang="T102">
                        <a:pos x="T28" y="T29"/>
                      </a:cxn>
                      <a:cxn ang="T103">
                        <a:pos x="T30" y="T31"/>
                      </a:cxn>
                      <a:cxn ang="T104">
                        <a:pos x="T32" y="T33"/>
                      </a:cxn>
                      <a:cxn ang="T105">
                        <a:pos x="T34" y="T35"/>
                      </a:cxn>
                      <a:cxn ang="T106">
                        <a:pos x="T36" y="T37"/>
                      </a:cxn>
                      <a:cxn ang="T107">
                        <a:pos x="T38" y="T39"/>
                      </a:cxn>
                      <a:cxn ang="T108">
                        <a:pos x="T40" y="T41"/>
                      </a:cxn>
                      <a:cxn ang="T109">
                        <a:pos x="T42" y="T43"/>
                      </a:cxn>
                      <a:cxn ang="T110">
                        <a:pos x="T44" y="T45"/>
                      </a:cxn>
                      <a:cxn ang="T111">
                        <a:pos x="T46" y="T47"/>
                      </a:cxn>
                      <a:cxn ang="T112">
                        <a:pos x="T48" y="T49"/>
                      </a:cxn>
                      <a:cxn ang="T113">
                        <a:pos x="T50" y="T51"/>
                      </a:cxn>
                      <a:cxn ang="T114">
                        <a:pos x="T52" y="T53"/>
                      </a:cxn>
                      <a:cxn ang="T115">
                        <a:pos x="T54" y="T55"/>
                      </a:cxn>
                      <a:cxn ang="T116">
                        <a:pos x="T56" y="T57"/>
                      </a:cxn>
                      <a:cxn ang="T117">
                        <a:pos x="T58" y="T59"/>
                      </a:cxn>
                      <a:cxn ang="T118">
                        <a:pos x="T60" y="T61"/>
                      </a:cxn>
                      <a:cxn ang="T119">
                        <a:pos x="T62" y="T63"/>
                      </a:cxn>
                      <a:cxn ang="T120">
                        <a:pos x="T64" y="T65"/>
                      </a:cxn>
                      <a:cxn ang="T121">
                        <a:pos x="T66" y="T67"/>
                      </a:cxn>
                      <a:cxn ang="T122">
                        <a:pos x="T68" y="T69"/>
                      </a:cxn>
                      <a:cxn ang="T123">
                        <a:pos x="T70" y="T71"/>
                      </a:cxn>
                      <a:cxn ang="T124">
                        <a:pos x="T72" y="T73"/>
                      </a:cxn>
                      <a:cxn ang="T125">
                        <a:pos x="T74" y="T75"/>
                      </a:cxn>
                      <a:cxn ang="T126">
                        <a:pos x="T76" y="T77"/>
                      </a:cxn>
                      <a:cxn ang="T127">
                        <a:pos x="T78" y="T79"/>
                      </a:cxn>
                      <a:cxn ang="T128">
                        <a:pos x="T80" y="T81"/>
                      </a:cxn>
                      <a:cxn ang="T129">
                        <a:pos x="T82" y="T83"/>
                      </a:cxn>
                      <a:cxn ang="T130">
                        <a:pos x="T84" y="T85"/>
                      </a:cxn>
                      <a:cxn ang="T131">
                        <a:pos x="T86" y="T87"/>
                      </a:cxn>
                    </a:cxnLst>
                    <a:rect l="T132" t="T133" r="T134" b="T135"/>
                    <a:pathLst>
                      <a:path w="104" h="96">
                        <a:moveTo>
                          <a:pt x="7" y="92"/>
                        </a:moveTo>
                        <a:lnTo>
                          <a:pt x="8" y="92"/>
                        </a:lnTo>
                        <a:lnTo>
                          <a:pt x="8" y="83"/>
                        </a:lnTo>
                        <a:lnTo>
                          <a:pt x="13" y="80"/>
                        </a:lnTo>
                        <a:lnTo>
                          <a:pt x="18" y="80"/>
                        </a:lnTo>
                        <a:lnTo>
                          <a:pt x="20" y="81"/>
                        </a:lnTo>
                        <a:lnTo>
                          <a:pt x="23" y="86"/>
                        </a:lnTo>
                        <a:lnTo>
                          <a:pt x="26" y="95"/>
                        </a:lnTo>
                        <a:lnTo>
                          <a:pt x="29" y="96"/>
                        </a:lnTo>
                        <a:lnTo>
                          <a:pt x="35" y="95"/>
                        </a:lnTo>
                        <a:lnTo>
                          <a:pt x="40" y="92"/>
                        </a:lnTo>
                        <a:lnTo>
                          <a:pt x="48" y="92"/>
                        </a:lnTo>
                        <a:lnTo>
                          <a:pt x="52" y="87"/>
                        </a:lnTo>
                        <a:lnTo>
                          <a:pt x="52" y="79"/>
                        </a:lnTo>
                        <a:lnTo>
                          <a:pt x="53" y="76"/>
                        </a:lnTo>
                        <a:lnTo>
                          <a:pt x="56" y="74"/>
                        </a:lnTo>
                        <a:lnTo>
                          <a:pt x="66" y="74"/>
                        </a:lnTo>
                        <a:lnTo>
                          <a:pt x="78" y="70"/>
                        </a:lnTo>
                        <a:lnTo>
                          <a:pt x="83" y="70"/>
                        </a:lnTo>
                        <a:lnTo>
                          <a:pt x="83" y="71"/>
                        </a:lnTo>
                        <a:lnTo>
                          <a:pt x="88" y="71"/>
                        </a:lnTo>
                        <a:lnTo>
                          <a:pt x="90" y="75"/>
                        </a:lnTo>
                        <a:lnTo>
                          <a:pt x="101" y="60"/>
                        </a:lnTo>
                        <a:lnTo>
                          <a:pt x="104" y="50"/>
                        </a:lnTo>
                        <a:lnTo>
                          <a:pt x="102" y="43"/>
                        </a:lnTo>
                        <a:lnTo>
                          <a:pt x="98" y="28"/>
                        </a:lnTo>
                        <a:lnTo>
                          <a:pt x="85" y="7"/>
                        </a:lnTo>
                        <a:lnTo>
                          <a:pt x="80" y="0"/>
                        </a:lnTo>
                        <a:lnTo>
                          <a:pt x="75" y="4"/>
                        </a:lnTo>
                        <a:lnTo>
                          <a:pt x="68" y="5"/>
                        </a:lnTo>
                        <a:lnTo>
                          <a:pt x="64" y="9"/>
                        </a:lnTo>
                        <a:lnTo>
                          <a:pt x="58" y="20"/>
                        </a:lnTo>
                        <a:lnTo>
                          <a:pt x="50" y="21"/>
                        </a:lnTo>
                        <a:lnTo>
                          <a:pt x="43" y="18"/>
                        </a:lnTo>
                        <a:lnTo>
                          <a:pt x="39" y="15"/>
                        </a:lnTo>
                        <a:lnTo>
                          <a:pt x="36" y="17"/>
                        </a:lnTo>
                        <a:lnTo>
                          <a:pt x="29" y="24"/>
                        </a:lnTo>
                        <a:lnTo>
                          <a:pt x="21" y="36"/>
                        </a:lnTo>
                        <a:lnTo>
                          <a:pt x="14" y="49"/>
                        </a:lnTo>
                        <a:lnTo>
                          <a:pt x="10" y="60"/>
                        </a:lnTo>
                        <a:lnTo>
                          <a:pt x="0" y="74"/>
                        </a:lnTo>
                        <a:lnTo>
                          <a:pt x="0" y="81"/>
                        </a:lnTo>
                        <a:lnTo>
                          <a:pt x="2" y="85"/>
                        </a:lnTo>
                        <a:lnTo>
                          <a:pt x="7" y="92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98" name="Freeform 50"/>
                  <p:cNvSpPr>
                    <a:spLocks/>
                  </p:cNvSpPr>
                  <p:nvPr/>
                </p:nvSpPr>
                <p:spPr bwMode="gray">
                  <a:xfrm>
                    <a:off x="2888" y="2436"/>
                    <a:ext cx="87" cy="101"/>
                  </a:xfrm>
                  <a:custGeom>
                    <a:avLst/>
                    <a:gdLst>
                      <a:gd name="T0" fmla="*/ 15 w 435"/>
                      <a:gd name="T1" fmla="*/ 8 h 504"/>
                      <a:gd name="T2" fmla="*/ 15 w 435"/>
                      <a:gd name="T3" fmla="*/ 4 h 504"/>
                      <a:gd name="T4" fmla="*/ 16 w 435"/>
                      <a:gd name="T5" fmla="*/ 3 h 504"/>
                      <a:gd name="T6" fmla="*/ 17 w 435"/>
                      <a:gd name="T7" fmla="*/ 1 h 504"/>
                      <a:gd name="T8" fmla="*/ 17 w 435"/>
                      <a:gd name="T9" fmla="*/ 1 h 504"/>
                      <a:gd name="T10" fmla="*/ 15 w 435"/>
                      <a:gd name="T11" fmla="*/ 1 h 504"/>
                      <a:gd name="T12" fmla="*/ 13 w 435"/>
                      <a:gd name="T13" fmla="*/ 1 h 504"/>
                      <a:gd name="T14" fmla="*/ 12 w 435"/>
                      <a:gd name="T15" fmla="*/ 2 h 504"/>
                      <a:gd name="T16" fmla="*/ 10 w 435"/>
                      <a:gd name="T17" fmla="*/ 2 h 504"/>
                      <a:gd name="T18" fmla="*/ 9 w 435"/>
                      <a:gd name="T19" fmla="*/ 2 h 504"/>
                      <a:gd name="T20" fmla="*/ 7 w 435"/>
                      <a:gd name="T21" fmla="*/ 0 h 504"/>
                      <a:gd name="T22" fmla="*/ 5 w 435"/>
                      <a:gd name="T23" fmla="*/ 0 h 504"/>
                      <a:gd name="T24" fmla="*/ 4 w 435"/>
                      <a:gd name="T25" fmla="*/ 0 h 504"/>
                      <a:gd name="T26" fmla="*/ 3 w 435"/>
                      <a:gd name="T27" fmla="*/ 0 h 504"/>
                      <a:gd name="T28" fmla="*/ 1 w 435"/>
                      <a:gd name="T29" fmla="*/ 0 h 504"/>
                      <a:gd name="T30" fmla="*/ 0 w 435"/>
                      <a:gd name="T31" fmla="*/ 1 h 504"/>
                      <a:gd name="T32" fmla="*/ 0 w 435"/>
                      <a:gd name="T33" fmla="*/ 1 h 504"/>
                      <a:gd name="T34" fmla="*/ 1 w 435"/>
                      <a:gd name="T35" fmla="*/ 1 h 504"/>
                      <a:gd name="T36" fmla="*/ 1 w 435"/>
                      <a:gd name="T37" fmla="*/ 2 h 504"/>
                      <a:gd name="T38" fmla="*/ 1 w 435"/>
                      <a:gd name="T39" fmla="*/ 3 h 504"/>
                      <a:gd name="T40" fmla="*/ 1 w 435"/>
                      <a:gd name="T41" fmla="*/ 3 h 504"/>
                      <a:gd name="T42" fmla="*/ 2 w 435"/>
                      <a:gd name="T43" fmla="*/ 4 h 504"/>
                      <a:gd name="T44" fmla="*/ 2 w 435"/>
                      <a:gd name="T45" fmla="*/ 4 h 504"/>
                      <a:gd name="T46" fmla="*/ 2 w 435"/>
                      <a:gd name="T47" fmla="*/ 5 h 504"/>
                      <a:gd name="T48" fmla="*/ 2 w 435"/>
                      <a:gd name="T49" fmla="*/ 7 h 504"/>
                      <a:gd name="T50" fmla="*/ 2 w 435"/>
                      <a:gd name="T51" fmla="*/ 8 h 504"/>
                      <a:gd name="T52" fmla="*/ 1 w 435"/>
                      <a:gd name="T53" fmla="*/ 8 h 504"/>
                      <a:gd name="T54" fmla="*/ 0 w 435"/>
                      <a:gd name="T55" fmla="*/ 10 h 504"/>
                      <a:gd name="T56" fmla="*/ 0 w 435"/>
                      <a:gd name="T57" fmla="*/ 11 h 504"/>
                      <a:gd name="T58" fmla="*/ 1 w 435"/>
                      <a:gd name="T59" fmla="*/ 11 h 504"/>
                      <a:gd name="T60" fmla="*/ 1 w 435"/>
                      <a:gd name="T61" fmla="*/ 11 h 504"/>
                      <a:gd name="T62" fmla="*/ 2 w 435"/>
                      <a:gd name="T63" fmla="*/ 11 h 504"/>
                      <a:gd name="T64" fmla="*/ 1 w 435"/>
                      <a:gd name="T65" fmla="*/ 11 h 504"/>
                      <a:gd name="T66" fmla="*/ 0 w 435"/>
                      <a:gd name="T67" fmla="*/ 12 h 504"/>
                      <a:gd name="T68" fmla="*/ 8 w 435"/>
                      <a:gd name="T69" fmla="*/ 17 h 504"/>
                      <a:gd name="T70" fmla="*/ 8 w 435"/>
                      <a:gd name="T71" fmla="*/ 17 h 504"/>
                      <a:gd name="T72" fmla="*/ 9 w 435"/>
                      <a:gd name="T73" fmla="*/ 18 h 504"/>
                      <a:gd name="T74" fmla="*/ 12 w 435"/>
                      <a:gd name="T75" fmla="*/ 20 h 504"/>
                      <a:gd name="T76" fmla="*/ 13 w 435"/>
                      <a:gd name="T77" fmla="*/ 20 h 504"/>
                      <a:gd name="T78" fmla="*/ 13 w 435"/>
                      <a:gd name="T79" fmla="*/ 19 h 504"/>
                      <a:gd name="T80" fmla="*/ 14 w 435"/>
                      <a:gd name="T81" fmla="*/ 17 h 504"/>
                      <a:gd name="T82" fmla="*/ 14 w 435"/>
                      <a:gd name="T83" fmla="*/ 16 h 504"/>
                      <a:gd name="T84" fmla="*/ 14 w 435"/>
                      <a:gd name="T85" fmla="*/ 16 h 504"/>
                      <a:gd name="T86" fmla="*/ 15 w 435"/>
                      <a:gd name="T87" fmla="*/ 15 h 504"/>
                      <a:gd name="T88" fmla="*/ 16 w 435"/>
                      <a:gd name="T89" fmla="*/ 14 h 504"/>
                      <a:gd name="T90" fmla="*/ 16 w 435"/>
                      <a:gd name="T91" fmla="*/ 14 h 504"/>
                      <a:gd name="T92" fmla="*/ 17 w 435"/>
                      <a:gd name="T93" fmla="*/ 14 h 504"/>
                      <a:gd name="T94" fmla="*/ 16 w 435"/>
                      <a:gd name="T95" fmla="*/ 12 h 504"/>
                      <a:gd name="T96" fmla="*/ 15 w 435"/>
                      <a:gd name="T97" fmla="*/ 10 h 504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w 435"/>
                      <a:gd name="T148" fmla="*/ 0 h 504"/>
                      <a:gd name="T149" fmla="*/ 435 w 435"/>
                      <a:gd name="T150" fmla="*/ 504 h 504"/>
                    </a:gdLst>
                    <a:ahLst/>
                    <a:cxnLst>
                      <a:cxn ang="T98">
                        <a:pos x="T0" y="T1"/>
                      </a:cxn>
                      <a:cxn ang="T99">
                        <a:pos x="T2" y="T3"/>
                      </a:cxn>
                      <a:cxn ang="T100">
                        <a:pos x="T4" y="T5"/>
                      </a:cxn>
                      <a:cxn ang="T101">
                        <a:pos x="T6" y="T7"/>
                      </a:cxn>
                      <a:cxn ang="T102">
                        <a:pos x="T8" y="T9"/>
                      </a:cxn>
                      <a:cxn ang="T103">
                        <a:pos x="T10" y="T11"/>
                      </a:cxn>
                      <a:cxn ang="T104">
                        <a:pos x="T12" y="T13"/>
                      </a:cxn>
                      <a:cxn ang="T105">
                        <a:pos x="T14" y="T15"/>
                      </a:cxn>
                      <a:cxn ang="T106">
                        <a:pos x="T16" y="T17"/>
                      </a:cxn>
                      <a:cxn ang="T107">
                        <a:pos x="T18" y="T19"/>
                      </a:cxn>
                      <a:cxn ang="T108">
                        <a:pos x="T20" y="T21"/>
                      </a:cxn>
                      <a:cxn ang="T109">
                        <a:pos x="T22" y="T23"/>
                      </a:cxn>
                      <a:cxn ang="T110">
                        <a:pos x="T24" y="T25"/>
                      </a:cxn>
                      <a:cxn ang="T111">
                        <a:pos x="T26" y="T27"/>
                      </a:cxn>
                      <a:cxn ang="T112">
                        <a:pos x="T28" y="T29"/>
                      </a:cxn>
                      <a:cxn ang="T113">
                        <a:pos x="T30" y="T31"/>
                      </a:cxn>
                      <a:cxn ang="T114">
                        <a:pos x="T32" y="T33"/>
                      </a:cxn>
                      <a:cxn ang="T115">
                        <a:pos x="T34" y="T35"/>
                      </a:cxn>
                      <a:cxn ang="T116">
                        <a:pos x="T36" y="T37"/>
                      </a:cxn>
                      <a:cxn ang="T117">
                        <a:pos x="T38" y="T39"/>
                      </a:cxn>
                      <a:cxn ang="T118">
                        <a:pos x="T40" y="T41"/>
                      </a:cxn>
                      <a:cxn ang="T119">
                        <a:pos x="T42" y="T43"/>
                      </a:cxn>
                      <a:cxn ang="T120">
                        <a:pos x="T44" y="T45"/>
                      </a:cxn>
                      <a:cxn ang="T121">
                        <a:pos x="T46" y="T47"/>
                      </a:cxn>
                      <a:cxn ang="T122">
                        <a:pos x="T48" y="T49"/>
                      </a:cxn>
                      <a:cxn ang="T123">
                        <a:pos x="T50" y="T51"/>
                      </a:cxn>
                      <a:cxn ang="T124">
                        <a:pos x="T52" y="T53"/>
                      </a:cxn>
                      <a:cxn ang="T125">
                        <a:pos x="T54" y="T55"/>
                      </a:cxn>
                      <a:cxn ang="T126">
                        <a:pos x="T56" y="T57"/>
                      </a:cxn>
                      <a:cxn ang="T127">
                        <a:pos x="T58" y="T59"/>
                      </a:cxn>
                      <a:cxn ang="T128">
                        <a:pos x="T60" y="T61"/>
                      </a:cxn>
                      <a:cxn ang="T129">
                        <a:pos x="T62" y="T63"/>
                      </a:cxn>
                      <a:cxn ang="T130">
                        <a:pos x="T64" y="T65"/>
                      </a:cxn>
                      <a:cxn ang="T131">
                        <a:pos x="T66" y="T67"/>
                      </a:cxn>
                      <a:cxn ang="T132">
                        <a:pos x="T68" y="T69"/>
                      </a:cxn>
                      <a:cxn ang="T133">
                        <a:pos x="T70" y="T71"/>
                      </a:cxn>
                      <a:cxn ang="T134">
                        <a:pos x="T72" y="T73"/>
                      </a:cxn>
                      <a:cxn ang="T135">
                        <a:pos x="T74" y="T75"/>
                      </a:cxn>
                      <a:cxn ang="T136">
                        <a:pos x="T76" y="T77"/>
                      </a:cxn>
                      <a:cxn ang="T137">
                        <a:pos x="T78" y="T79"/>
                      </a:cxn>
                      <a:cxn ang="T138">
                        <a:pos x="T80" y="T81"/>
                      </a:cxn>
                      <a:cxn ang="T139">
                        <a:pos x="T82" y="T83"/>
                      </a:cxn>
                      <a:cxn ang="T140">
                        <a:pos x="T84" y="T85"/>
                      </a:cxn>
                      <a:cxn ang="T141">
                        <a:pos x="T86" y="T87"/>
                      </a:cxn>
                      <a:cxn ang="T142">
                        <a:pos x="T88" y="T89"/>
                      </a:cxn>
                      <a:cxn ang="T143">
                        <a:pos x="T90" y="T91"/>
                      </a:cxn>
                      <a:cxn ang="T144">
                        <a:pos x="T92" y="T93"/>
                      </a:cxn>
                      <a:cxn ang="T145">
                        <a:pos x="T94" y="T95"/>
                      </a:cxn>
                      <a:cxn ang="T146">
                        <a:pos x="T96" y="T97"/>
                      </a:cxn>
                    </a:cxnLst>
                    <a:rect l="T147" t="T148" r="T149" b="T150"/>
                    <a:pathLst>
                      <a:path w="435" h="504">
                        <a:moveTo>
                          <a:pt x="387" y="257"/>
                        </a:moveTo>
                        <a:lnTo>
                          <a:pt x="387" y="204"/>
                        </a:lnTo>
                        <a:lnTo>
                          <a:pt x="387" y="151"/>
                        </a:lnTo>
                        <a:lnTo>
                          <a:pt x="387" y="98"/>
                        </a:lnTo>
                        <a:lnTo>
                          <a:pt x="390" y="96"/>
                        </a:lnTo>
                        <a:lnTo>
                          <a:pt x="412" y="74"/>
                        </a:lnTo>
                        <a:lnTo>
                          <a:pt x="433" y="42"/>
                        </a:lnTo>
                        <a:lnTo>
                          <a:pt x="435" y="37"/>
                        </a:lnTo>
                        <a:lnTo>
                          <a:pt x="430" y="38"/>
                        </a:lnTo>
                        <a:lnTo>
                          <a:pt x="421" y="37"/>
                        </a:lnTo>
                        <a:lnTo>
                          <a:pt x="408" y="38"/>
                        </a:lnTo>
                        <a:lnTo>
                          <a:pt x="374" y="22"/>
                        </a:lnTo>
                        <a:lnTo>
                          <a:pt x="355" y="26"/>
                        </a:lnTo>
                        <a:lnTo>
                          <a:pt x="336" y="32"/>
                        </a:lnTo>
                        <a:lnTo>
                          <a:pt x="320" y="48"/>
                        </a:lnTo>
                        <a:lnTo>
                          <a:pt x="297" y="60"/>
                        </a:lnTo>
                        <a:lnTo>
                          <a:pt x="272" y="59"/>
                        </a:lnTo>
                        <a:lnTo>
                          <a:pt x="250" y="53"/>
                        </a:lnTo>
                        <a:lnTo>
                          <a:pt x="233" y="53"/>
                        </a:lnTo>
                        <a:lnTo>
                          <a:pt x="213" y="47"/>
                        </a:lnTo>
                        <a:lnTo>
                          <a:pt x="202" y="34"/>
                        </a:lnTo>
                        <a:lnTo>
                          <a:pt x="164" y="12"/>
                        </a:lnTo>
                        <a:lnTo>
                          <a:pt x="147" y="4"/>
                        </a:lnTo>
                        <a:lnTo>
                          <a:pt x="132" y="3"/>
                        </a:lnTo>
                        <a:lnTo>
                          <a:pt x="116" y="5"/>
                        </a:lnTo>
                        <a:lnTo>
                          <a:pt x="103" y="0"/>
                        </a:lnTo>
                        <a:lnTo>
                          <a:pt x="82" y="3"/>
                        </a:lnTo>
                        <a:lnTo>
                          <a:pt x="69" y="3"/>
                        </a:lnTo>
                        <a:lnTo>
                          <a:pt x="39" y="0"/>
                        </a:lnTo>
                        <a:lnTo>
                          <a:pt x="28" y="1"/>
                        </a:lnTo>
                        <a:lnTo>
                          <a:pt x="16" y="9"/>
                        </a:lnTo>
                        <a:lnTo>
                          <a:pt x="0" y="28"/>
                        </a:lnTo>
                        <a:lnTo>
                          <a:pt x="2" y="30"/>
                        </a:lnTo>
                        <a:lnTo>
                          <a:pt x="5" y="32"/>
                        </a:lnTo>
                        <a:lnTo>
                          <a:pt x="17" y="34"/>
                        </a:lnTo>
                        <a:lnTo>
                          <a:pt x="19" y="36"/>
                        </a:lnTo>
                        <a:lnTo>
                          <a:pt x="19" y="43"/>
                        </a:lnTo>
                        <a:lnTo>
                          <a:pt x="21" y="46"/>
                        </a:lnTo>
                        <a:lnTo>
                          <a:pt x="23" y="48"/>
                        </a:lnTo>
                        <a:lnTo>
                          <a:pt x="28" y="75"/>
                        </a:lnTo>
                        <a:lnTo>
                          <a:pt x="30" y="81"/>
                        </a:lnTo>
                        <a:lnTo>
                          <a:pt x="35" y="86"/>
                        </a:lnTo>
                        <a:lnTo>
                          <a:pt x="42" y="90"/>
                        </a:lnTo>
                        <a:lnTo>
                          <a:pt x="46" y="92"/>
                        </a:lnTo>
                        <a:lnTo>
                          <a:pt x="54" y="101"/>
                        </a:lnTo>
                        <a:lnTo>
                          <a:pt x="55" y="107"/>
                        </a:lnTo>
                        <a:lnTo>
                          <a:pt x="55" y="125"/>
                        </a:lnTo>
                        <a:lnTo>
                          <a:pt x="57" y="135"/>
                        </a:lnTo>
                        <a:lnTo>
                          <a:pt x="56" y="155"/>
                        </a:lnTo>
                        <a:lnTo>
                          <a:pt x="54" y="168"/>
                        </a:lnTo>
                        <a:lnTo>
                          <a:pt x="46" y="181"/>
                        </a:lnTo>
                        <a:lnTo>
                          <a:pt x="38" y="192"/>
                        </a:lnTo>
                        <a:lnTo>
                          <a:pt x="35" y="195"/>
                        </a:lnTo>
                        <a:lnTo>
                          <a:pt x="26" y="206"/>
                        </a:lnTo>
                        <a:lnTo>
                          <a:pt x="8" y="233"/>
                        </a:lnTo>
                        <a:lnTo>
                          <a:pt x="2" y="238"/>
                        </a:lnTo>
                        <a:lnTo>
                          <a:pt x="1" y="253"/>
                        </a:lnTo>
                        <a:lnTo>
                          <a:pt x="8" y="263"/>
                        </a:lnTo>
                        <a:lnTo>
                          <a:pt x="12" y="272"/>
                        </a:lnTo>
                        <a:lnTo>
                          <a:pt x="18" y="270"/>
                        </a:lnTo>
                        <a:lnTo>
                          <a:pt x="26" y="267"/>
                        </a:lnTo>
                        <a:lnTo>
                          <a:pt x="35" y="265"/>
                        </a:lnTo>
                        <a:lnTo>
                          <a:pt x="45" y="265"/>
                        </a:lnTo>
                        <a:lnTo>
                          <a:pt x="45" y="270"/>
                        </a:lnTo>
                        <a:lnTo>
                          <a:pt x="34" y="274"/>
                        </a:lnTo>
                        <a:lnTo>
                          <a:pt x="26" y="281"/>
                        </a:lnTo>
                        <a:lnTo>
                          <a:pt x="14" y="281"/>
                        </a:lnTo>
                        <a:lnTo>
                          <a:pt x="7" y="295"/>
                        </a:lnTo>
                        <a:lnTo>
                          <a:pt x="16" y="303"/>
                        </a:lnTo>
                        <a:lnTo>
                          <a:pt x="207" y="415"/>
                        </a:lnTo>
                        <a:lnTo>
                          <a:pt x="210" y="420"/>
                        </a:lnTo>
                        <a:lnTo>
                          <a:pt x="210" y="428"/>
                        </a:lnTo>
                        <a:lnTo>
                          <a:pt x="215" y="447"/>
                        </a:lnTo>
                        <a:lnTo>
                          <a:pt x="218" y="458"/>
                        </a:lnTo>
                        <a:lnTo>
                          <a:pt x="296" y="504"/>
                        </a:lnTo>
                        <a:lnTo>
                          <a:pt x="306" y="499"/>
                        </a:lnTo>
                        <a:lnTo>
                          <a:pt x="309" y="495"/>
                        </a:lnTo>
                        <a:lnTo>
                          <a:pt x="314" y="488"/>
                        </a:lnTo>
                        <a:lnTo>
                          <a:pt x="318" y="479"/>
                        </a:lnTo>
                        <a:lnTo>
                          <a:pt x="324" y="463"/>
                        </a:lnTo>
                        <a:lnTo>
                          <a:pt x="333" y="450"/>
                        </a:lnTo>
                        <a:lnTo>
                          <a:pt x="342" y="429"/>
                        </a:lnTo>
                        <a:lnTo>
                          <a:pt x="346" y="413"/>
                        </a:lnTo>
                        <a:lnTo>
                          <a:pt x="352" y="399"/>
                        </a:lnTo>
                        <a:lnTo>
                          <a:pt x="357" y="392"/>
                        </a:lnTo>
                        <a:lnTo>
                          <a:pt x="360" y="391"/>
                        </a:lnTo>
                        <a:lnTo>
                          <a:pt x="378" y="382"/>
                        </a:lnTo>
                        <a:lnTo>
                          <a:pt x="379" y="376"/>
                        </a:lnTo>
                        <a:lnTo>
                          <a:pt x="382" y="370"/>
                        </a:lnTo>
                        <a:lnTo>
                          <a:pt x="388" y="361"/>
                        </a:lnTo>
                        <a:lnTo>
                          <a:pt x="394" y="358"/>
                        </a:lnTo>
                        <a:lnTo>
                          <a:pt x="403" y="358"/>
                        </a:lnTo>
                        <a:lnTo>
                          <a:pt x="414" y="346"/>
                        </a:lnTo>
                        <a:lnTo>
                          <a:pt x="417" y="340"/>
                        </a:lnTo>
                        <a:lnTo>
                          <a:pt x="416" y="337"/>
                        </a:lnTo>
                        <a:lnTo>
                          <a:pt x="393" y="308"/>
                        </a:lnTo>
                        <a:lnTo>
                          <a:pt x="387" y="300"/>
                        </a:lnTo>
                        <a:lnTo>
                          <a:pt x="387" y="257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99" name="Freeform 51"/>
                  <p:cNvSpPr>
                    <a:spLocks/>
                  </p:cNvSpPr>
                  <p:nvPr/>
                </p:nvSpPr>
                <p:spPr bwMode="gray">
                  <a:xfrm>
                    <a:off x="2324" y="2302"/>
                    <a:ext cx="68" cy="49"/>
                  </a:xfrm>
                  <a:custGeom>
                    <a:avLst/>
                    <a:gdLst>
                      <a:gd name="T0" fmla="*/ 2 w 344"/>
                      <a:gd name="T1" fmla="*/ 6 h 244"/>
                      <a:gd name="T2" fmla="*/ 1 w 344"/>
                      <a:gd name="T3" fmla="*/ 5 h 244"/>
                      <a:gd name="T4" fmla="*/ 0 w 344"/>
                      <a:gd name="T5" fmla="*/ 5 h 244"/>
                      <a:gd name="T6" fmla="*/ 0 w 344"/>
                      <a:gd name="T7" fmla="*/ 4 h 244"/>
                      <a:gd name="T8" fmla="*/ 1 w 344"/>
                      <a:gd name="T9" fmla="*/ 3 h 244"/>
                      <a:gd name="T10" fmla="*/ 2 w 344"/>
                      <a:gd name="T11" fmla="*/ 1 h 244"/>
                      <a:gd name="T12" fmla="*/ 3 w 344"/>
                      <a:gd name="T13" fmla="*/ 0 h 244"/>
                      <a:gd name="T14" fmla="*/ 4 w 344"/>
                      <a:gd name="T15" fmla="*/ 0 h 244"/>
                      <a:gd name="T16" fmla="*/ 5 w 344"/>
                      <a:gd name="T17" fmla="*/ 0 h 244"/>
                      <a:gd name="T18" fmla="*/ 5 w 344"/>
                      <a:gd name="T19" fmla="*/ 0 h 244"/>
                      <a:gd name="T20" fmla="*/ 7 w 344"/>
                      <a:gd name="T21" fmla="*/ 0 h 244"/>
                      <a:gd name="T22" fmla="*/ 7 w 344"/>
                      <a:gd name="T23" fmla="*/ 0 h 244"/>
                      <a:gd name="T24" fmla="*/ 8 w 344"/>
                      <a:gd name="T25" fmla="*/ 1 h 244"/>
                      <a:gd name="T26" fmla="*/ 9 w 344"/>
                      <a:gd name="T27" fmla="*/ 1 h 244"/>
                      <a:gd name="T28" fmla="*/ 9 w 344"/>
                      <a:gd name="T29" fmla="*/ 2 h 244"/>
                      <a:gd name="T30" fmla="*/ 10 w 344"/>
                      <a:gd name="T31" fmla="*/ 3 h 244"/>
                      <a:gd name="T32" fmla="*/ 10 w 344"/>
                      <a:gd name="T33" fmla="*/ 3 h 244"/>
                      <a:gd name="T34" fmla="*/ 10 w 344"/>
                      <a:gd name="T35" fmla="*/ 3 h 244"/>
                      <a:gd name="T36" fmla="*/ 11 w 344"/>
                      <a:gd name="T37" fmla="*/ 4 h 244"/>
                      <a:gd name="T38" fmla="*/ 11 w 344"/>
                      <a:gd name="T39" fmla="*/ 4 h 244"/>
                      <a:gd name="T40" fmla="*/ 12 w 344"/>
                      <a:gd name="T41" fmla="*/ 5 h 244"/>
                      <a:gd name="T42" fmla="*/ 12 w 344"/>
                      <a:gd name="T43" fmla="*/ 5 h 244"/>
                      <a:gd name="T44" fmla="*/ 12 w 344"/>
                      <a:gd name="T45" fmla="*/ 6 h 244"/>
                      <a:gd name="T46" fmla="*/ 12 w 344"/>
                      <a:gd name="T47" fmla="*/ 7 h 244"/>
                      <a:gd name="T48" fmla="*/ 13 w 344"/>
                      <a:gd name="T49" fmla="*/ 7 h 244"/>
                      <a:gd name="T50" fmla="*/ 13 w 344"/>
                      <a:gd name="T51" fmla="*/ 8 h 244"/>
                      <a:gd name="T52" fmla="*/ 13 w 344"/>
                      <a:gd name="T53" fmla="*/ 9 h 244"/>
                      <a:gd name="T54" fmla="*/ 13 w 344"/>
                      <a:gd name="T55" fmla="*/ 9 h 244"/>
                      <a:gd name="T56" fmla="*/ 13 w 344"/>
                      <a:gd name="T57" fmla="*/ 10 h 244"/>
                      <a:gd name="T58" fmla="*/ 12 w 344"/>
                      <a:gd name="T59" fmla="*/ 10 h 244"/>
                      <a:gd name="T60" fmla="*/ 11 w 344"/>
                      <a:gd name="T61" fmla="*/ 10 h 244"/>
                      <a:gd name="T62" fmla="*/ 11 w 344"/>
                      <a:gd name="T63" fmla="*/ 10 h 244"/>
                      <a:gd name="T64" fmla="*/ 10 w 344"/>
                      <a:gd name="T65" fmla="*/ 10 h 244"/>
                      <a:gd name="T66" fmla="*/ 9 w 344"/>
                      <a:gd name="T67" fmla="*/ 9 h 244"/>
                      <a:gd name="T68" fmla="*/ 6 w 344"/>
                      <a:gd name="T69" fmla="*/ 9 h 244"/>
                      <a:gd name="T70" fmla="*/ 4 w 344"/>
                      <a:gd name="T71" fmla="*/ 9 h 244"/>
                      <a:gd name="T72" fmla="*/ 2 w 344"/>
                      <a:gd name="T73" fmla="*/ 10 h 244"/>
                      <a:gd name="T74" fmla="*/ 2 w 344"/>
                      <a:gd name="T75" fmla="*/ 10 h 244"/>
                      <a:gd name="T76" fmla="*/ 2 w 344"/>
                      <a:gd name="T77" fmla="*/ 8 h 244"/>
                      <a:gd name="T78" fmla="*/ 4 w 344"/>
                      <a:gd name="T79" fmla="*/ 8 h 244"/>
                      <a:gd name="T80" fmla="*/ 5 w 344"/>
                      <a:gd name="T81" fmla="*/ 7 h 244"/>
                      <a:gd name="T82" fmla="*/ 6 w 344"/>
                      <a:gd name="T83" fmla="*/ 7 h 244"/>
                      <a:gd name="T84" fmla="*/ 7 w 344"/>
                      <a:gd name="T85" fmla="*/ 8 h 244"/>
                      <a:gd name="T86" fmla="*/ 8 w 344"/>
                      <a:gd name="T87" fmla="*/ 8 h 244"/>
                      <a:gd name="T88" fmla="*/ 8 w 344"/>
                      <a:gd name="T89" fmla="*/ 7 h 244"/>
                      <a:gd name="T90" fmla="*/ 8 w 344"/>
                      <a:gd name="T91" fmla="*/ 7 h 244"/>
                      <a:gd name="T92" fmla="*/ 7 w 344"/>
                      <a:gd name="T93" fmla="*/ 7 h 244"/>
                      <a:gd name="T94" fmla="*/ 6 w 344"/>
                      <a:gd name="T95" fmla="*/ 7 h 244"/>
                      <a:gd name="T96" fmla="*/ 5 w 344"/>
                      <a:gd name="T97" fmla="*/ 7 h 244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w 344"/>
                      <a:gd name="T148" fmla="*/ 0 h 244"/>
                      <a:gd name="T149" fmla="*/ 344 w 344"/>
                      <a:gd name="T150" fmla="*/ 244 h 244"/>
                    </a:gdLst>
                    <a:ahLst/>
                    <a:cxnLst>
                      <a:cxn ang="T98">
                        <a:pos x="T0" y="T1"/>
                      </a:cxn>
                      <a:cxn ang="T99">
                        <a:pos x="T2" y="T3"/>
                      </a:cxn>
                      <a:cxn ang="T100">
                        <a:pos x="T4" y="T5"/>
                      </a:cxn>
                      <a:cxn ang="T101">
                        <a:pos x="T6" y="T7"/>
                      </a:cxn>
                      <a:cxn ang="T102">
                        <a:pos x="T8" y="T9"/>
                      </a:cxn>
                      <a:cxn ang="T103">
                        <a:pos x="T10" y="T11"/>
                      </a:cxn>
                      <a:cxn ang="T104">
                        <a:pos x="T12" y="T13"/>
                      </a:cxn>
                      <a:cxn ang="T105">
                        <a:pos x="T14" y="T15"/>
                      </a:cxn>
                      <a:cxn ang="T106">
                        <a:pos x="T16" y="T17"/>
                      </a:cxn>
                      <a:cxn ang="T107">
                        <a:pos x="T18" y="T19"/>
                      </a:cxn>
                      <a:cxn ang="T108">
                        <a:pos x="T20" y="T21"/>
                      </a:cxn>
                      <a:cxn ang="T109">
                        <a:pos x="T22" y="T23"/>
                      </a:cxn>
                      <a:cxn ang="T110">
                        <a:pos x="T24" y="T25"/>
                      </a:cxn>
                      <a:cxn ang="T111">
                        <a:pos x="T26" y="T27"/>
                      </a:cxn>
                      <a:cxn ang="T112">
                        <a:pos x="T28" y="T29"/>
                      </a:cxn>
                      <a:cxn ang="T113">
                        <a:pos x="T30" y="T31"/>
                      </a:cxn>
                      <a:cxn ang="T114">
                        <a:pos x="T32" y="T33"/>
                      </a:cxn>
                      <a:cxn ang="T115">
                        <a:pos x="T34" y="T35"/>
                      </a:cxn>
                      <a:cxn ang="T116">
                        <a:pos x="T36" y="T37"/>
                      </a:cxn>
                      <a:cxn ang="T117">
                        <a:pos x="T38" y="T39"/>
                      </a:cxn>
                      <a:cxn ang="T118">
                        <a:pos x="T40" y="T41"/>
                      </a:cxn>
                      <a:cxn ang="T119">
                        <a:pos x="T42" y="T43"/>
                      </a:cxn>
                      <a:cxn ang="T120">
                        <a:pos x="T44" y="T45"/>
                      </a:cxn>
                      <a:cxn ang="T121">
                        <a:pos x="T46" y="T47"/>
                      </a:cxn>
                      <a:cxn ang="T122">
                        <a:pos x="T48" y="T49"/>
                      </a:cxn>
                      <a:cxn ang="T123">
                        <a:pos x="T50" y="T51"/>
                      </a:cxn>
                      <a:cxn ang="T124">
                        <a:pos x="T52" y="T53"/>
                      </a:cxn>
                      <a:cxn ang="T125">
                        <a:pos x="T54" y="T55"/>
                      </a:cxn>
                      <a:cxn ang="T126">
                        <a:pos x="T56" y="T57"/>
                      </a:cxn>
                      <a:cxn ang="T127">
                        <a:pos x="T58" y="T59"/>
                      </a:cxn>
                      <a:cxn ang="T128">
                        <a:pos x="T60" y="T61"/>
                      </a:cxn>
                      <a:cxn ang="T129">
                        <a:pos x="T62" y="T63"/>
                      </a:cxn>
                      <a:cxn ang="T130">
                        <a:pos x="T64" y="T65"/>
                      </a:cxn>
                      <a:cxn ang="T131">
                        <a:pos x="T66" y="T67"/>
                      </a:cxn>
                      <a:cxn ang="T132">
                        <a:pos x="T68" y="T69"/>
                      </a:cxn>
                      <a:cxn ang="T133">
                        <a:pos x="T70" y="T71"/>
                      </a:cxn>
                      <a:cxn ang="T134">
                        <a:pos x="T72" y="T73"/>
                      </a:cxn>
                      <a:cxn ang="T135">
                        <a:pos x="T74" y="T75"/>
                      </a:cxn>
                      <a:cxn ang="T136">
                        <a:pos x="T76" y="T77"/>
                      </a:cxn>
                      <a:cxn ang="T137">
                        <a:pos x="T78" y="T79"/>
                      </a:cxn>
                      <a:cxn ang="T138">
                        <a:pos x="T80" y="T81"/>
                      </a:cxn>
                      <a:cxn ang="T139">
                        <a:pos x="T82" y="T83"/>
                      </a:cxn>
                      <a:cxn ang="T140">
                        <a:pos x="T84" y="T85"/>
                      </a:cxn>
                      <a:cxn ang="T141">
                        <a:pos x="T86" y="T87"/>
                      </a:cxn>
                      <a:cxn ang="T142">
                        <a:pos x="T88" y="T89"/>
                      </a:cxn>
                      <a:cxn ang="T143">
                        <a:pos x="T90" y="T91"/>
                      </a:cxn>
                      <a:cxn ang="T144">
                        <a:pos x="T92" y="T93"/>
                      </a:cxn>
                      <a:cxn ang="T145">
                        <a:pos x="T94" y="T95"/>
                      </a:cxn>
                      <a:cxn ang="T146">
                        <a:pos x="T96" y="T97"/>
                      </a:cxn>
                    </a:cxnLst>
                    <a:rect l="T147" t="T148" r="T149" b="T150"/>
                    <a:pathLst>
                      <a:path w="344" h="244">
                        <a:moveTo>
                          <a:pt x="55" y="174"/>
                        </a:moveTo>
                        <a:lnTo>
                          <a:pt x="54" y="174"/>
                        </a:lnTo>
                        <a:lnTo>
                          <a:pt x="50" y="168"/>
                        </a:lnTo>
                        <a:lnTo>
                          <a:pt x="43" y="160"/>
                        </a:lnTo>
                        <a:lnTo>
                          <a:pt x="41" y="147"/>
                        </a:lnTo>
                        <a:lnTo>
                          <a:pt x="39" y="144"/>
                        </a:lnTo>
                        <a:lnTo>
                          <a:pt x="33" y="138"/>
                        </a:lnTo>
                        <a:lnTo>
                          <a:pt x="28" y="129"/>
                        </a:lnTo>
                        <a:lnTo>
                          <a:pt x="18" y="119"/>
                        </a:lnTo>
                        <a:lnTo>
                          <a:pt x="14" y="112"/>
                        </a:lnTo>
                        <a:lnTo>
                          <a:pt x="9" y="112"/>
                        </a:lnTo>
                        <a:lnTo>
                          <a:pt x="7" y="113"/>
                        </a:lnTo>
                        <a:lnTo>
                          <a:pt x="4" y="117"/>
                        </a:lnTo>
                        <a:lnTo>
                          <a:pt x="1" y="112"/>
                        </a:lnTo>
                        <a:lnTo>
                          <a:pt x="0" y="109"/>
                        </a:lnTo>
                        <a:lnTo>
                          <a:pt x="1" y="107"/>
                        </a:lnTo>
                        <a:lnTo>
                          <a:pt x="6" y="107"/>
                        </a:lnTo>
                        <a:lnTo>
                          <a:pt x="17" y="103"/>
                        </a:lnTo>
                        <a:lnTo>
                          <a:pt x="31" y="91"/>
                        </a:lnTo>
                        <a:lnTo>
                          <a:pt x="35" y="86"/>
                        </a:lnTo>
                        <a:lnTo>
                          <a:pt x="40" y="77"/>
                        </a:lnTo>
                        <a:lnTo>
                          <a:pt x="55" y="56"/>
                        </a:lnTo>
                        <a:lnTo>
                          <a:pt x="56" y="50"/>
                        </a:lnTo>
                        <a:lnTo>
                          <a:pt x="56" y="33"/>
                        </a:lnTo>
                        <a:lnTo>
                          <a:pt x="57" y="32"/>
                        </a:lnTo>
                        <a:lnTo>
                          <a:pt x="61" y="29"/>
                        </a:lnTo>
                        <a:lnTo>
                          <a:pt x="65" y="22"/>
                        </a:lnTo>
                        <a:lnTo>
                          <a:pt x="70" y="9"/>
                        </a:lnTo>
                        <a:lnTo>
                          <a:pt x="73" y="9"/>
                        </a:lnTo>
                        <a:lnTo>
                          <a:pt x="76" y="7"/>
                        </a:lnTo>
                        <a:lnTo>
                          <a:pt x="83" y="9"/>
                        </a:lnTo>
                        <a:lnTo>
                          <a:pt x="92" y="9"/>
                        </a:lnTo>
                        <a:lnTo>
                          <a:pt x="102" y="11"/>
                        </a:lnTo>
                        <a:lnTo>
                          <a:pt x="109" y="10"/>
                        </a:lnTo>
                        <a:lnTo>
                          <a:pt x="111" y="7"/>
                        </a:lnTo>
                        <a:lnTo>
                          <a:pt x="122" y="5"/>
                        </a:lnTo>
                        <a:lnTo>
                          <a:pt x="131" y="6"/>
                        </a:lnTo>
                        <a:lnTo>
                          <a:pt x="133" y="5"/>
                        </a:lnTo>
                        <a:lnTo>
                          <a:pt x="133" y="1"/>
                        </a:lnTo>
                        <a:lnTo>
                          <a:pt x="135" y="1"/>
                        </a:lnTo>
                        <a:lnTo>
                          <a:pt x="141" y="1"/>
                        </a:lnTo>
                        <a:lnTo>
                          <a:pt x="146" y="0"/>
                        </a:lnTo>
                        <a:lnTo>
                          <a:pt x="152" y="2"/>
                        </a:lnTo>
                        <a:lnTo>
                          <a:pt x="168" y="2"/>
                        </a:lnTo>
                        <a:lnTo>
                          <a:pt x="169" y="4"/>
                        </a:lnTo>
                        <a:lnTo>
                          <a:pt x="174" y="2"/>
                        </a:lnTo>
                        <a:lnTo>
                          <a:pt x="176" y="7"/>
                        </a:lnTo>
                        <a:lnTo>
                          <a:pt x="183" y="9"/>
                        </a:lnTo>
                        <a:lnTo>
                          <a:pt x="194" y="17"/>
                        </a:lnTo>
                        <a:lnTo>
                          <a:pt x="195" y="23"/>
                        </a:lnTo>
                        <a:lnTo>
                          <a:pt x="202" y="31"/>
                        </a:lnTo>
                        <a:lnTo>
                          <a:pt x="206" y="29"/>
                        </a:lnTo>
                        <a:lnTo>
                          <a:pt x="212" y="28"/>
                        </a:lnTo>
                        <a:lnTo>
                          <a:pt x="212" y="32"/>
                        </a:lnTo>
                        <a:lnTo>
                          <a:pt x="216" y="33"/>
                        </a:lnTo>
                        <a:lnTo>
                          <a:pt x="221" y="29"/>
                        </a:lnTo>
                        <a:lnTo>
                          <a:pt x="223" y="29"/>
                        </a:lnTo>
                        <a:lnTo>
                          <a:pt x="233" y="44"/>
                        </a:lnTo>
                        <a:lnTo>
                          <a:pt x="238" y="54"/>
                        </a:lnTo>
                        <a:lnTo>
                          <a:pt x="238" y="58"/>
                        </a:lnTo>
                        <a:lnTo>
                          <a:pt x="242" y="59"/>
                        </a:lnTo>
                        <a:lnTo>
                          <a:pt x="245" y="64"/>
                        </a:lnTo>
                        <a:lnTo>
                          <a:pt x="245" y="66"/>
                        </a:lnTo>
                        <a:lnTo>
                          <a:pt x="248" y="68"/>
                        </a:lnTo>
                        <a:lnTo>
                          <a:pt x="251" y="66"/>
                        </a:lnTo>
                        <a:lnTo>
                          <a:pt x="253" y="66"/>
                        </a:lnTo>
                        <a:lnTo>
                          <a:pt x="255" y="74"/>
                        </a:lnTo>
                        <a:lnTo>
                          <a:pt x="258" y="75"/>
                        </a:lnTo>
                        <a:lnTo>
                          <a:pt x="260" y="79"/>
                        </a:lnTo>
                        <a:lnTo>
                          <a:pt x="256" y="80"/>
                        </a:lnTo>
                        <a:lnTo>
                          <a:pt x="256" y="81"/>
                        </a:lnTo>
                        <a:lnTo>
                          <a:pt x="261" y="82"/>
                        </a:lnTo>
                        <a:lnTo>
                          <a:pt x="264" y="86"/>
                        </a:lnTo>
                        <a:lnTo>
                          <a:pt x="267" y="88"/>
                        </a:lnTo>
                        <a:lnTo>
                          <a:pt x="271" y="88"/>
                        </a:lnTo>
                        <a:lnTo>
                          <a:pt x="277" y="91"/>
                        </a:lnTo>
                        <a:lnTo>
                          <a:pt x="280" y="95"/>
                        </a:lnTo>
                        <a:lnTo>
                          <a:pt x="281" y="99"/>
                        </a:lnTo>
                        <a:lnTo>
                          <a:pt x="283" y="101"/>
                        </a:lnTo>
                        <a:lnTo>
                          <a:pt x="289" y="103"/>
                        </a:lnTo>
                        <a:lnTo>
                          <a:pt x="296" y="109"/>
                        </a:lnTo>
                        <a:lnTo>
                          <a:pt x="298" y="112"/>
                        </a:lnTo>
                        <a:lnTo>
                          <a:pt x="299" y="115"/>
                        </a:lnTo>
                        <a:lnTo>
                          <a:pt x="297" y="123"/>
                        </a:lnTo>
                        <a:lnTo>
                          <a:pt x="297" y="129"/>
                        </a:lnTo>
                        <a:lnTo>
                          <a:pt x="299" y="129"/>
                        </a:lnTo>
                        <a:lnTo>
                          <a:pt x="301" y="133"/>
                        </a:lnTo>
                        <a:lnTo>
                          <a:pt x="302" y="133"/>
                        </a:lnTo>
                        <a:lnTo>
                          <a:pt x="305" y="136"/>
                        </a:lnTo>
                        <a:lnTo>
                          <a:pt x="307" y="144"/>
                        </a:lnTo>
                        <a:lnTo>
                          <a:pt x="307" y="150"/>
                        </a:lnTo>
                        <a:lnTo>
                          <a:pt x="309" y="156"/>
                        </a:lnTo>
                        <a:lnTo>
                          <a:pt x="310" y="160"/>
                        </a:lnTo>
                        <a:lnTo>
                          <a:pt x="305" y="167"/>
                        </a:lnTo>
                        <a:lnTo>
                          <a:pt x="305" y="169"/>
                        </a:lnTo>
                        <a:lnTo>
                          <a:pt x="313" y="181"/>
                        </a:lnTo>
                        <a:lnTo>
                          <a:pt x="315" y="187"/>
                        </a:lnTo>
                        <a:lnTo>
                          <a:pt x="316" y="188"/>
                        </a:lnTo>
                        <a:lnTo>
                          <a:pt x="320" y="188"/>
                        </a:lnTo>
                        <a:lnTo>
                          <a:pt x="323" y="185"/>
                        </a:lnTo>
                        <a:lnTo>
                          <a:pt x="328" y="185"/>
                        </a:lnTo>
                        <a:lnTo>
                          <a:pt x="328" y="189"/>
                        </a:lnTo>
                        <a:lnTo>
                          <a:pt x="331" y="193"/>
                        </a:lnTo>
                        <a:lnTo>
                          <a:pt x="332" y="197"/>
                        </a:lnTo>
                        <a:lnTo>
                          <a:pt x="335" y="199"/>
                        </a:lnTo>
                        <a:lnTo>
                          <a:pt x="337" y="204"/>
                        </a:lnTo>
                        <a:lnTo>
                          <a:pt x="341" y="209"/>
                        </a:lnTo>
                        <a:lnTo>
                          <a:pt x="342" y="212"/>
                        </a:lnTo>
                        <a:lnTo>
                          <a:pt x="341" y="212"/>
                        </a:lnTo>
                        <a:lnTo>
                          <a:pt x="340" y="214"/>
                        </a:lnTo>
                        <a:lnTo>
                          <a:pt x="342" y="217"/>
                        </a:lnTo>
                        <a:lnTo>
                          <a:pt x="342" y="221"/>
                        </a:lnTo>
                        <a:lnTo>
                          <a:pt x="339" y="225"/>
                        </a:lnTo>
                        <a:lnTo>
                          <a:pt x="340" y="232"/>
                        </a:lnTo>
                        <a:lnTo>
                          <a:pt x="344" y="236"/>
                        </a:lnTo>
                        <a:lnTo>
                          <a:pt x="344" y="238"/>
                        </a:lnTo>
                        <a:lnTo>
                          <a:pt x="341" y="239"/>
                        </a:lnTo>
                        <a:lnTo>
                          <a:pt x="331" y="239"/>
                        </a:lnTo>
                        <a:lnTo>
                          <a:pt x="325" y="242"/>
                        </a:lnTo>
                        <a:lnTo>
                          <a:pt x="321" y="242"/>
                        </a:lnTo>
                        <a:lnTo>
                          <a:pt x="310" y="241"/>
                        </a:lnTo>
                        <a:lnTo>
                          <a:pt x="308" y="242"/>
                        </a:lnTo>
                        <a:lnTo>
                          <a:pt x="301" y="242"/>
                        </a:lnTo>
                        <a:lnTo>
                          <a:pt x="293" y="244"/>
                        </a:lnTo>
                        <a:lnTo>
                          <a:pt x="287" y="244"/>
                        </a:lnTo>
                        <a:lnTo>
                          <a:pt x="282" y="242"/>
                        </a:lnTo>
                        <a:lnTo>
                          <a:pt x="278" y="242"/>
                        </a:lnTo>
                        <a:lnTo>
                          <a:pt x="271" y="239"/>
                        </a:lnTo>
                        <a:lnTo>
                          <a:pt x="264" y="239"/>
                        </a:lnTo>
                        <a:lnTo>
                          <a:pt x="258" y="233"/>
                        </a:lnTo>
                        <a:lnTo>
                          <a:pt x="255" y="235"/>
                        </a:lnTo>
                        <a:lnTo>
                          <a:pt x="255" y="238"/>
                        </a:lnTo>
                        <a:lnTo>
                          <a:pt x="248" y="237"/>
                        </a:lnTo>
                        <a:lnTo>
                          <a:pt x="248" y="231"/>
                        </a:lnTo>
                        <a:lnTo>
                          <a:pt x="245" y="228"/>
                        </a:lnTo>
                        <a:lnTo>
                          <a:pt x="237" y="227"/>
                        </a:lnTo>
                        <a:lnTo>
                          <a:pt x="231" y="228"/>
                        </a:lnTo>
                        <a:lnTo>
                          <a:pt x="226" y="225"/>
                        </a:lnTo>
                        <a:lnTo>
                          <a:pt x="212" y="224"/>
                        </a:lnTo>
                        <a:lnTo>
                          <a:pt x="162" y="224"/>
                        </a:lnTo>
                        <a:lnTo>
                          <a:pt x="159" y="225"/>
                        </a:lnTo>
                        <a:lnTo>
                          <a:pt x="135" y="225"/>
                        </a:lnTo>
                        <a:lnTo>
                          <a:pt x="122" y="231"/>
                        </a:lnTo>
                        <a:lnTo>
                          <a:pt x="111" y="236"/>
                        </a:lnTo>
                        <a:lnTo>
                          <a:pt x="102" y="238"/>
                        </a:lnTo>
                        <a:lnTo>
                          <a:pt x="72" y="237"/>
                        </a:lnTo>
                        <a:lnTo>
                          <a:pt x="68" y="239"/>
                        </a:lnTo>
                        <a:lnTo>
                          <a:pt x="57" y="244"/>
                        </a:lnTo>
                        <a:lnTo>
                          <a:pt x="50" y="244"/>
                        </a:lnTo>
                        <a:lnTo>
                          <a:pt x="46" y="243"/>
                        </a:lnTo>
                        <a:lnTo>
                          <a:pt x="45" y="241"/>
                        </a:lnTo>
                        <a:lnTo>
                          <a:pt x="43" y="242"/>
                        </a:lnTo>
                        <a:lnTo>
                          <a:pt x="44" y="241"/>
                        </a:lnTo>
                        <a:lnTo>
                          <a:pt x="41" y="239"/>
                        </a:lnTo>
                        <a:lnTo>
                          <a:pt x="43" y="205"/>
                        </a:lnTo>
                        <a:lnTo>
                          <a:pt x="47" y="199"/>
                        </a:lnTo>
                        <a:lnTo>
                          <a:pt x="86" y="195"/>
                        </a:lnTo>
                        <a:lnTo>
                          <a:pt x="94" y="195"/>
                        </a:lnTo>
                        <a:lnTo>
                          <a:pt x="95" y="195"/>
                        </a:lnTo>
                        <a:lnTo>
                          <a:pt x="98" y="188"/>
                        </a:lnTo>
                        <a:lnTo>
                          <a:pt x="103" y="187"/>
                        </a:lnTo>
                        <a:lnTo>
                          <a:pt x="106" y="188"/>
                        </a:lnTo>
                        <a:lnTo>
                          <a:pt x="119" y="187"/>
                        </a:lnTo>
                        <a:lnTo>
                          <a:pt x="127" y="183"/>
                        </a:lnTo>
                        <a:lnTo>
                          <a:pt x="131" y="178"/>
                        </a:lnTo>
                        <a:lnTo>
                          <a:pt x="133" y="177"/>
                        </a:lnTo>
                        <a:lnTo>
                          <a:pt x="140" y="178"/>
                        </a:lnTo>
                        <a:lnTo>
                          <a:pt x="143" y="182"/>
                        </a:lnTo>
                        <a:lnTo>
                          <a:pt x="151" y="184"/>
                        </a:lnTo>
                        <a:lnTo>
                          <a:pt x="159" y="189"/>
                        </a:lnTo>
                        <a:lnTo>
                          <a:pt x="167" y="190"/>
                        </a:lnTo>
                        <a:lnTo>
                          <a:pt x="175" y="194"/>
                        </a:lnTo>
                        <a:lnTo>
                          <a:pt x="183" y="194"/>
                        </a:lnTo>
                        <a:lnTo>
                          <a:pt x="185" y="195"/>
                        </a:lnTo>
                        <a:lnTo>
                          <a:pt x="191" y="192"/>
                        </a:lnTo>
                        <a:lnTo>
                          <a:pt x="203" y="189"/>
                        </a:lnTo>
                        <a:lnTo>
                          <a:pt x="207" y="185"/>
                        </a:lnTo>
                        <a:lnTo>
                          <a:pt x="207" y="182"/>
                        </a:lnTo>
                        <a:lnTo>
                          <a:pt x="207" y="177"/>
                        </a:lnTo>
                        <a:lnTo>
                          <a:pt x="206" y="177"/>
                        </a:lnTo>
                        <a:lnTo>
                          <a:pt x="203" y="177"/>
                        </a:lnTo>
                        <a:lnTo>
                          <a:pt x="200" y="176"/>
                        </a:lnTo>
                        <a:lnTo>
                          <a:pt x="195" y="176"/>
                        </a:lnTo>
                        <a:lnTo>
                          <a:pt x="191" y="177"/>
                        </a:lnTo>
                        <a:lnTo>
                          <a:pt x="180" y="182"/>
                        </a:lnTo>
                        <a:lnTo>
                          <a:pt x="175" y="181"/>
                        </a:lnTo>
                        <a:lnTo>
                          <a:pt x="169" y="178"/>
                        </a:lnTo>
                        <a:lnTo>
                          <a:pt x="165" y="172"/>
                        </a:lnTo>
                        <a:lnTo>
                          <a:pt x="164" y="171"/>
                        </a:lnTo>
                        <a:lnTo>
                          <a:pt x="152" y="171"/>
                        </a:lnTo>
                        <a:lnTo>
                          <a:pt x="146" y="163"/>
                        </a:lnTo>
                        <a:lnTo>
                          <a:pt x="140" y="162"/>
                        </a:lnTo>
                        <a:lnTo>
                          <a:pt x="137" y="161"/>
                        </a:lnTo>
                        <a:lnTo>
                          <a:pt x="131" y="162"/>
                        </a:lnTo>
                        <a:lnTo>
                          <a:pt x="126" y="165"/>
                        </a:lnTo>
                        <a:lnTo>
                          <a:pt x="120" y="163"/>
                        </a:lnTo>
                        <a:lnTo>
                          <a:pt x="115" y="168"/>
                        </a:lnTo>
                        <a:lnTo>
                          <a:pt x="111" y="174"/>
                        </a:lnTo>
                        <a:lnTo>
                          <a:pt x="55" y="174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600" name="Freeform 52"/>
                  <p:cNvSpPr>
                    <a:spLocks/>
                  </p:cNvSpPr>
                  <p:nvPr/>
                </p:nvSpPr>
                <p:spPr bwMode="gray">
                  <a:xfrm>
                    <a:off x="2841" y="2497"/>
                    <a:ext cx="120" cy="118"/>
                  </a:xfrm>
                  <a:custGeom>
                    <a:avLst/>
                    <a:gdLst>
                      <a:gd name="T0" fmla="*/ 18 w 596"/>
                      <a:gd name="T1" fmla="*/ 6 h 591"/>
                      <a:gd name="T2" fmla="*/ 21 w 596"/>
                      <a:gd name="T3" fmla="*/ 10 h 591"/>
                      <a:gd name="T4" fmla="*/ 21 w 596"/>
                      <a:gd name="T5" fmla="*/ 12 h 591"/>
                      <a:gd name="T6" fmla="*/ 22 w 596"/>
                      <a:gd name="T7" fmla="*/ 13 h 591"/>
                      <a:gd name="T8" fmla="*/ 22 w 596"/>
                      <a:gd name="T9" fmla="*/ 14 h 591"/>
                      <a:gd name="T10" fmla="*/ 22 w 596"/>
                      <a:gd name="T11" fmla="*/ 15 h 591"/>
                      <a:gd name="T12" fmla="*/ 21 w 596"/>
                      <a:gd name="T13" fmla="*/ 16 h 591"/>
                      <a:gd name="T14" fmla="*/ 22 w 596"/>
                      <a:gd name="T15" fmla="*/ 17 h 591"/>
                      <a:gd name="T16" fmla="*/ 22 w 596"/>
                      <a:gd name="T17" fmla="*/ 19 h 591"/>
                      <a:gd name="T18" fmla="*/ 23 w 596"/>
                      <a:gd name="T19" fmla="*/ 19 h 591"/>
                      <a:gd name="T20" fmla="*/ 24 w 596"/>
                      <a:gd name="T21" fmla="*/ 21 h 591"/>
                      <a:gd name="T22" fmla="*/ 24 w 596"/>
                      <a:gd name="T23" fmla="*/ 21 h 591"/>
                      <a:gd name="T24" fmla="*/ 22 w 596"/>
                      <a:gd name="T25" fmla="*/ 22 h 591"/>
                      <a:gd name="T26" fmla="*/ 19 w 596"/>
                      <a:gd name="T27" fmla="*/ 23 h 591"/>
                      <a:gd name="T28" fmla="*/ 18 w 596"/>
                      <a:gd name="T29" fmla="*/ 23 h 591"/>
                      <a:gd name="T30" fmla="*/ 15 w 596"/>
                      <a:gd name="T31" fmla="*/ 24 h 591"/>
                      <a:gd name="T32" fmla="*/ 14 w 596"/>
                      <a:gd name="T33" fmla="*/ 23 h 591"/>
                      <a:gd name="T34" fmla="*/ 13 w 596"/>
                      <a:gd name="T35" fmla="*/ 23 h 591"/>
                      <a:gd name="T36" fmla="*/ 11 w 596"/>
                      <a:gd name="T37" fmla="*/ 23 h 591"/>
                      <a:gd name="T38" fmla="*/ 11 w 596"/>
                      <a:gd name="T39" fmla="*/ 21 h 591"/>
                      <a:gd name="T40" fmla="*/ 10 w 596"/>
                      <a:gd name="T41" fmla="*/ 19 h 591"/>
                      <a:gd name="T42" fmla="*/ 9 w 596"/>
                      <a:gd name="T43" fmla="*/ 19 h 591"/>
                      <a:gd name="T44" fmla="*/ 8 w 596"/>
                      <a:gd name="T45" fmla="*/ 19 h 591"/>
                      <a:gd name="T46" fmla="*/ 7 w 596"/>
                      <a:gd name="T47" fmla="*/ 18 h 591"/>
                      <a:gd name="T48" fmla="*/ 5 w 596"/>
                      <a:gd name="T49" fmla="*/ 18 h 591"/>
                      <a:gd name="T50" fmla="*/ 4 w 596"/>
                      <a:gd name="T51" fmla="*/ 17 h 591"/>
                      <a:gd name="T52" fmla="*/ 3 w 596"/>
                      <a:gd name="T53" fmla="*/ 15 h 591"/>
                      <a:gd name="T54" fmla="*/ 2 w 596"/>
                      <a:gd name="T55" fmla="*/ 13 h 591"/>
                      <a:gd name="T56" fmla="*/ 0 w 596"/>
                      <a:gd name="T57" fmla="*/ 11 h 591"/>
                      <a:gd name="T58" fmla="*/ 0 w 596"/>
                      <a:gd name="T59" fmla="*/ 9 h 591"/>
                      <a:gd name="T60" fmla="*/ 0 w 596"/>
                      <a:gd name="T61" fmla="*/ 7 h 591"/>
                      <a:gd name="T62" fmla="*/ 2 w 596"/>
                      <a:gd name="T63" fmla="*/ 6 h 591"/>
                      <a:gd name="T64" fmla="*/ 3 w 596"/>
                      <a:gd name="T65" fmla="*/ 5 h 591"/>
                      <a:gd name="T66" fmla="*/ 2 w 596"/>
                      <a:gd name="T67" fmla="*/ 4 h 591"/>
                      <a:gd name="T68" fmla="*/ 2 w 596"/>
                      <a:gd name="T69" fmla="*/ 3 h 591"/>
                      <a:gd name="T70" fmla="*/ 3 w 596"/>
                      <a:gd name="T71" fmla="*/ 2 h 591"/>
                      <a:gd name="T72" fmla="*/ 3 w 596"/>
                      <a:gd name="T73" fmla="*/ 0 h 591"/>
                      <a:gd name="T74" fmla="*/ 5 w 596"/>
                      <a:gd name="T75" fmla="*/ 0 h 591"/>
                      <a:gd name="T76" fmla="*/ 5 w 596"/>
                      <a:gd name="T77" fmla="*/ 3 h 591"/>
                      <a:gd name="T78" fmla="*/ 5 w 596"/>
                      <a:gd name="T79" fmla="*/ 4 h 591"/>
                      <a:gd name="T80" fmla="*/ 6 w 596"/>
                      <a:gd name="T81" fmla="*/ 3 h 591"/>
                      <a:gd name="T82" fmla="*/ 7 w 596"/>
                      <a:gd name="T83" fmla="*/ 3 h 591"/>
                      <a:gd name="T84" fmla="*/ 7 w 596"/>
                      <a:gd name="T85" fmla="*/ 3 h 591"/>
                      <a:gd name="T86" fmla="*/ 9 w 596"/>
                      <a:gd name="T87" fmla="*/ 3 h 591"/>
                      <a:gd name="T88" fmla="*/ 8 w 596"/>
                      <a:gd name="T89" fmla="*/ 3 h 591"/>
                      <a:gd name="T90" fmla="*/ 8 w 596"/>
                      <a:gd name="T91" fmla="*/ 2 h 591"/>
                      <a:gd name="T92" fmla="*/ 9 w 596"/>
                      <a:gd name="T93" fmla="*/ 1 h 591"/>
                      <a:gd name="T94" fmla="*/ 10 w 596"/>
                      <a:gd name="T95" fmla="*/ 1 h 591"/>
                      <a:gd name="T96" fmla="*/ 10 w 596"/>
                      <a:gd name="T97" fmla="*/ 0 h 591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w 596"/>
                      <a:gd name="T148" fmla="*/ 0 h 591"/>
                      <a:gd name="T149" fmla="*/ 596 w 596"/>
                      <a:gd name="T150" fmla="*/ 591 h 591"/>
                    </a:gdLst>
                    <a:ahLst/>
                    <a:cxnLst>
                      <a:cxn ang="T98">
                        <a:pos x="T0" y="T1"/>
                      </a:cxn>
                      <a:cxn ang="T99">
                        <a:pos x="T2" y="T3"/>
                      </a:cxn>
                      <a:cxn ang="T100">
                        <a:pos x="T4" y="T5"/>
                      </a:cxn>
                      <a:cxn ang="T101">
                        <a:pos x="T6" y="T7"/>
                      </a:cxn>
                      <a:cxn ang="T102">
                        <a:pos x="T8" y="T9"/>
                      </a:cxn>
                      <a:cxn ang="T103">
                        <a:pos x="T10" y="T11"/>
                      </a:cxn>
                      <a:cxn ang="T104">
                        <a:pos x="T12" y="T13"/>
                      </a:cxn>
                      <a:cxn ang="T105">
                        <a:pos x="T14" y="T15"/>
                      </a:cxn>
                      <a:cxn ang="T106">
                        <a:pos x="T16" y="T17"/>
                      </a:cxn>
                      <a:cxn ang="T107">
                        <a:pos x="T18" y="T19"/>
                      </a:cxn>
                      <a:cxn ang="T108">
                        <a:pos x="T20" y="T21"/>
                      </a:cxn>
                      <a:cxn ang="T109">
                        <a:pos x="T22" y="T23"/>
                      </a:cxn>
                      <a:cxn ang="T110">
                        <a:pos x="T24" y="T25"/>
                      </a:cxn>
                      <a:cxn ang="T111">
                        <a:pos x="T26" y="T27"/>
                      </a:cxn>
                      <a:cxn ang="T112">
                        <a:pos x="T28" y="T29"/>
                      </a:cxn>
                      <a:cxn ang="T113">
                        <a:pos x="T30" y="T31"/>
                      </a:cxn>
                      <a:cxn ang="T114">
                        <a:pos x="T32" y="T33"/>
                      </a:cxn>
                      <a:cxn ang="T115">
                        <a:pos x="T34" y="T35"/>
                      </a:cxn>
                      <a:cxn ang="T116">
                        <a:pos x="T36" y="T37"/>
                      </a:cxn>
                      <a:cxn ang="T117">
                        <a:pos x="T38" y="T39"/>
                      </a:cxn>
                      <a:cxn ang="T118">
                        <a:pos x="T40" y="T41"/>
                      </a:cxn>
                      <a:cxn ang="T119">
                        <a:pos x="T42" y="T43"/>
                      </a:cxn>
                      <a:cxn ang="T120">
                        <a:pos x="T44" y="T45"/>
                      </a:cxn>
                      <a:cxn ang="T121">
                        <a:pos x="T46" y="T47"/>
                      </a:cxn>
                      <a:cxn ang="T122">
                        <a:pos x="T48" y="T49"/>
                      </a:cxn>
                      <a:cxn ang="T123">
                        <a:pos x="T50" y="T51"/>
                      </a:cxn>
                      <a:cxn ang="T124">
                        <a:pos x="T52" y="T53"/>
                      </a:cxn>
                      <a:cxn ang="T125">
                        <a:pos x="T54" y="T55"/>
                      </a:cxn>
                      <a:cxn ang="T126">
                        <a:pos x="T56" y="T57"/>
                      </a:cxn>
                      <a:cxn ang="T127">
                        <a:pos x="T58" y="T59"/>
                      </a:cxn>
                      <a:cxn ang="T128">
                        <a:pos x="T60" y="T61"/>
                      </a:cxn>
                      <a:cxn ang="T129">
                        <a:pos x="T62" y="T63"/>
                      </a:cxn>
                      <a:cxn ang="T130">
                        <a:pos x="T64" y="T65"/>
                      </a:cxn>
                      <a:cxn ang="T131">
                        <a:pos x="T66" y="T67"/>
                      </a:cxn>
                      <a:cxn ang="T132">
                        <a:pos x="T68" y="T69"/>
                      </a:cxn>
                      <a:cxn ang="T133">
                        <a:pos x="T70" y="T71"/>
                      </a:cxn>
                      <a:cxn ang="T134">
                        <a:pos x="T72" y="T73"/>
                      </a:cxn>
                      <a:cxn ang="T135">
                        <a:pos x="T74" y="T75"/>
                      </a:cxn>
                      <a:cxn ang="T136">
                        <a:pos x="T76" y="T77"/>
                      </a:cxn>
                      <a:cxn ang="T137">
                        <a:pos x="T78" y="T79"/>
                      </a:cxn>
                      <a:cxn ang="T138">
                        <a:pos x="T80" y="T81"/>
                      </a:cxn>
                      <a:cxn ang="T139">
                        <a:pos x="T82" y="T83"/>
                      </a:cxn>
                      <a:cxn ang="T140">
                        <a:pos x="T84" y="T85"/>
                      </a:cxn>
                      <a:cxn ang="T141">
                        <a:pos x="T86" y="T87"/>
                      </a:cxn>
                      <a:cxn ang="T142">
                        <a:pos x="T88" y="T89"/>
                      </a:cxn>
                      <a:cxn ang="T143">
                        <a:pos x="T90" y="T91"/>
                      </a:cxn>
                      <a:cxn ang="T144">
                        <a:pos x="T92" y="T93"/>
                      </a:cxn>
                      <a:cxn ang="T145">
                        <a:pos x="T94" y="T95"/>
                      </a:cxn>
                      <a:cxn ang="T146">
                        <a:pos x="T96" y="T97"/>
                      </a:cxn>
                    </a:cxnLst>
                    <a:rect l="T147" t="T148" r="T149" b="T150"/>
                    <a:pathLst>
                      <a:path w="596" h="591">
                        <a:moveTo>
                          <a:pt x="442" y="112"/>
                        </a:moveTo>
                        <a:lnTo>
                          <a:pt x="445" y="117"/>
                        </a:lnTo>
                        <a:lnTo>
                          <a:pt x="445" y="125"/>
                        </a:lnTo>
                        <a:lnTo>
                          <a:pt x="450" y="144"/>
                        </a:lnTo>
                        <a:lnTo>
                          <a:pt x="453" y="155"/>
                        </a:lnTo>
                        <a:lnTo>
                          <a:pt x="531" y="201"/>
                        </a:lnTo>
                        <a:lnTo>
                          <a:pt x="528" y="207"/>
                        </a:lnTo>
                        <a:lnTo>
                          <a:pt x="521" y="238"/>
                        </a:lnTo>
                        <a:lnTo>
                          <a:pt x="517" y="244"/>
                        </a:lnTo>
                        <a:lnTo>
                          <a:pt x="514" y="256"/>
                        </a:lnTo>
                        <a:lnTo>
                          <a:pt x="504" y="281"/>
                        </a:lnTo>
                        <a:lnTo>
                          <a:pt x="505" y="292"/>
                        </a:lnTo>
                        <a:lnTo>
                          <a:pt x="507" y="298"/>
                        </a:lnTo>
                        <a:lnTo>
                          <a:pt x="523" y="309"/>
                        </a:lnTo>
                        <a:lnTo>
                          <a:pt x="530" y="317"/>
                        </a:lnTo>
                        <a:lnTo>
                          <a:pt x="538" y="325"/>
                        </a:lnTo>
                        <a:lnTo>
                          <a:pt x="544" y="336"/>
                        </a:lnTo>
                        <a:lnTo>
                          <a:pt x="544" y="341"/>
                        </a:lnTo>
                        <a:lnTo>
                          <a:pt x="542" y="342"/>
                        </a:lnTo>
                        <a:lnTo>
                          <a:pt x="537" y="349"/>
                        </a:lnTo>
                        <a:lnTo>
                          <a:pt x="536" y="362"/>
                        </a:lnTo>
                        <a:lnTo>
                          <a:pt x="533" y="368"/>
                        </a:lnTo>
                        <a:lnTo>
                          <a:pt x="537" y="374"/>
                        </a:lnTo>
                        <a:lnTo>
                          <a:pt x="536" y="380"/>
                        </a:lnTo>
                        <a:lnTo>
                          <a:pt x="538" y="385"/>
                        </a:lnTo>
                        <a:lnTo>
                          <a:pt x="537" y="395"/>
                        </a:lnTo>
                        <a:lnTo>
                          <a:pt x="531" y="395"/>
                        </a:lnTo>
                        <a:lnTo>
                          <a:pt x="528" y="402"/>
                        </a:lnTo>
                        <a:lnTo>
                          <a:pt x="531" y="412"/>
                        </a:lnTo>
                        <a:lnTo>
                          <a:pt x="537" y="425"/>
                        </a:lnTo>
                        <a:lnTo>
                          <a:pt x="542" y="429"/>
                        </a:lnTo>
                        <a:lnTo>
                          <a:pt x="542" y="432"/>
                        </a:lnTo>
                        <a:lnTo>
                          <a:pt x="538" y="435"/>
                        </a:lnTo>
                        <a:lnTo>
                          <a:pt x="550" y="455"/>
                        </a:lnTo>
                        <a:lnTo>
                          <a:pt x="552" y="460"/>
                        </a:lnTo>
                        <a:lnTo>
                          <a:pt x="550" y="467"/>
                        </a:lnTo>
                        <a:lnTo>
                          <a:pt x="555" y="472"/>
                        </a:lnTo>
                        <a:lnTo>
                          <a:pt x="558" y="478"/>
                        </a:lnTo>
                        <a:lnTo>
                          <a:pt x="558" y="484"/>
                        </a:lnTo>
                        <a:lnTo>
                          <a:pt x="561" y="488"/>
                        </a:lnTo>
                        <a:lnTo>
                          <a:pt x="561" y="497"/>
                        </a:lnTo>
                        <a:lnTo>
                          <a:pt x="573" y="503"/>
                        </a:lnTo>
                        <a:lnTo>
                          <a:pt x="577" y="513"/>
                        </a:lnTo>
                        <a:lnTo>
                          <a:pt x="587" y="514"/>
                        </a:lnTo>
                        <a:lnTo>
                          <a:pt x="592" y="518"/>
                        </a:lnTo>
                        <a:lnTo>
                          <a:pt x="595" y="519"/>
                        </a:lnTo>
                        <a:lnTo>
                          <a:pt x="596" y="525"/>
                        </a:lnTo>
                        <a:lnTo>
                          <a:pt x="593" y="526"/>
                        </a:lnTo>
                        <a:lnTo>
                          <a:pt x="579" y="536"/>
                        </a:lnTo>
                        <a:lnTo>
                          <a:pt x="564" y="550"/>
                        </a:lnTo>
                        <a:lnTo>
                          <a:pt x="560" y="552"/>
                        </a:lnTo>
                        <a:lnTo>
                          <a:pt x="541" y="557"/>
                        </a:lnTo>
                        <a:lnTo>
                          <a:pt x="507" y="569"/>
                        </a:lnTo>
                        <a:lnTo>
                          <a:pt x="499" y="570"/>
                        </a:lnTo>
                        <a:lnTo>
                          <a:pt x="489" y="570"/>
                        </a:lnTo>
                        <a:lnTo>
                          <a:pt x="476" y="564"/>
                        </a:lnTo>
                        <a:lnTo>
                          <a:pt x="467" y="567"/>
                        </a:lnTo>
                        <a:lnTo>
                          <a:pt x="453" y="568"/>
                        </a:lnTo>
                        <a:lnTo>
                          <a:pt x="440" y="581"/>
                        </a:lnTo>
                        <a:lnTo>
                          <a:pt x="436" y="583"/>
                        </a:lnTo>
                        <a:lnTo>
                          <a:pt x="429" y="583"/>
                        </a:lnTo>
                        <a:lnTo>
                          <a:pt x="398" y="581"/>
                        </a:lnTo>
                        <a:lnTo>
                          <a:pt x="387" y="589"/>
                        </a:lnTo>
                        <a:lnTo>
                          <a:pt x="378" y="589"/>
                        </a:lnTo>
                        <a:lnTo>
                          <a:pt x="371" y="591"/>
                        </a:lnTo>
                        <a:lnTo>
                          <a:pt x="366" y="590"/>
                        </a:lnTo>
                        <a:lnTo>
                          <a:pt x="361" y="588"/>
                        </a:lnTo>
                        <a:lnTo>
                          <a:pt x="355" y="580"/>
                        </a:lnTo>
                        <a:lnTo>
                          <a:pt x="348" y="578"/>
                        </a:lnTo>
                        <a:lnTo>
                          <a:pt x="340" y="578"/>
                        </a:lnTo>
                        <a:lnTo>
                          <a:pt x="334" y="583"/>
                        </a:lnTo>
                        <a:lnTo>
                          <a:pt x="331" y="584"/>
                        </a:lnTo>
                        <a:lnTo>
                          <a:pt x="290" y="583"/>
                        </a:lnTo>
                        <a:lnTo>
                          <a:pt x="290" y="579"/>
                        </a:lnTo>
                        <a:lnTo>
                          <a:pt x="285" y="570"/>
                        </a:lnTo>
                        <a:lnTo>
                          <a:pt x="280" y="567"/>
                        </a:lnTo>
                        <a:lnTo>
                          <a:pt x="275" y="559"/>
                        </a:lnTo>
                        <a:lnTo>
                          <a:pt x="274" y="557"/>
                        </a:lnTo>
                        <a:lnTo>
                          <a:pt x="275" y="538"/>
                        </a:lnTo>
                        <a:lnTo>
                          <a:pt x="270" y="531"/>
                        </a:lnTo>
                        <a:lnTo>
                          <a:pt x="269" y="513"/>
                        </a:lnTo>
                        <a:lnTo>
                          <a:pt x="264" y="494"/>
                        </a:lnTo>
                        <a:lnTo>
                          <a:pt x="261" y="487"/>
                        </a:lnTo>
                        <a:lnTo>
                          <a:pt x="249" y="476"/>
                        </a:lnTo>
                        <a:lnTo>
                          <a:pt x="237" y="472"/>
                        </a:lnTo>
                        <a:lnTo>
                          <a:pt x="232" y="480"/>
                        </a:lnTo>
                        <a:lnTo>
                          <a:pt x="230" y="476"/>
                        </a:lnTo>
                        <a:lnTo>
                          <a:pt x="229" y="473"/>
                        </a:lnTo>
                        <a:lnTo>
                          <a:pt x="226" y="472"/>
                        </a:lnTo>
                        <a:lnTo>
                          <a:pt x="221" y="472"/>
                        </a:lnTo>
                        <a:lnTo>
                          <a:pt x="210" y="476"/>
                        </a:lnTo>
                        <a:lnTo>
                          <a:pt x="208" y="475"/>
                        </a:lnTo>
                        <a:lnTo>
                          <a:pt x="203" y="468"/>
                        </a:lnTo>
                        <a:lnTo>
                          <a:pt x="193" y="470"/>
                        </a:lnTo>
                        <a:lnTo>
                          <a:pt x="182" y="462"/>
                        </a:lnTo>
                        <a:lnTo>
                          <a:pt x="178" y="459"/>
                        </a:lnTo>
                        <a:lnTo>
                          <a:pt x="176" y="456"/>
                        </a:lnTo>
                        <a:lnTo>
                          <a:pt x="165" y="456"/>
                        </a:lnTo>
                        <a:lnTo>
                          <a:pt x="154" y="452"/>
                        </a:lnTo>
                        <a:lnTo>
                          <a:pt x="125" y="440"/>
                        </a:lnTo>
                        <a:lnTo>
                          <a:pt x="117" y="438"/>
                        </a:lnTo>
                        <a:lnTo>
                          <a:pt x="109" y="434"/>
                        </a:lnTo>
                        <a:lnTo>
                          <a:pt x="105" y="427"/>
                        </a:lnTo>
                        <a:lnTo>
                          <a:pt x="95" y="418"/>
                        </a:lnTo>
                        <a:lnTo>
                          <a:pt x="87" y="416"/>
                        </a:lnTo>
                        <a:lnTo>
                          <a:pt x="81" y="417"/>
                        </a:lnTo>
                        <a:lnTo>
                          <a:pt x="70" y="398"/>
                        </a:lnTo>
                        <a:lnTo>
                          <a:pt x="65" y="386"/>
                        </a:lnTo>
                        <a:lnTo>
                          <a:pt x="58" y="374"/>
                        </a:lnTo>
                        <a:lnTo>
                          <a:pt x="49" y="352"/>
                        </a:lnTo>
                        <a:lnTo>
                          <a:pt x="50" y="338"/>
                        </a:lnTo>
                        <a:lnTo>
                          <a:pt x="49" y="328"/>
                        </a:lnTo>
                        <a:lnTo>
                          <a:pt x="31" y="310"/>
                        </a:lnTo>
                        <a:lnTo>
                          <a:pt x="9" y="298"/>
                        </a:lnTo>
                        <a:lnTo>
                          <a:pt x="6" y="284"/>
                        </a:lnTo>
                        <a:lnTo>
                          <a:pt x="11" y="278"/>
                        </a:lnTo>
                        <a:lnTo>
                          <a:pt x="15" y="272"/>
                        </a:lnTo>
                        <a:lnTo>
                          <a:pt x="11" y="258"/>
                        </a:lnTo>
                        <a:lnTo>
                          <a:pt x="9" y="246"/>
                        </a:lnTo>
                        <a:lnTo>
                          <a:pt x="9" y="231"/>
                        </a:lnTo>
                        <a:lnTo>
                          <a:pt x="5" y="225"/>
                        </a:lnTo>
                        <a:lnTo>
                          <a:pt x="1" y="222"/>
                        </a:lnTo>
                        <a:lnTo>
                          <a:pt x="0" y="206"/>
                        </a:lnTo>
                        <a:lnTo>
                          <a:pt x="0" y="187"/>
                        </a:lnTo>
                        <a:lnTo>
                          <a:pt x="3" y="186"/>
                        </a:lnTo>
                        <a:lnTo>
                          <a:pt x="14" y="183"/>
                        </a:lnTo>
                        <a:lnTo>
                          <a:pt x="28" y="179"/>
                        </a:lnTo>
                        <a:lnTo>
                          <a:pt x="39" y="159"/>
                        </a:lnTo>
                        <a:lnTo>
                          <a:pt x="44" y="153"/>
                        </a:lnTo>
                        <a:lnTo>
                          <a:pt x="50" y="139"/>
                        </a:lnTo>
                        <a:lnTo>
                          <a:pt x="60" y="127"/>
                        </a:lnTo>
                        <a:lnTo>
                          <a:pt x="64" y="121"/>
                        </a:lnTo>
                        <a:lnTo>
                          <a:pt x="64" y="113"/>
                        </a:lnTo>
                        <a:lnTo>
                          <a:pt x="62" y="107"/>
                        </a:lnTo>
                        <a:lnTo>
                          <a:pt x="58" y="104"/>
                        </a:lnTo>
                        <a:lnTo>
                          <a:pt x="52" y="102"/>
                        </a:lnTo>
                        <a:lnTo>
                          <a:pt x="48" y="99"/>
                        </a:lnTo>
                        <a:lnTo>
                          <a:pt x="48" y="95"/>
                        </a:lnTo>
                        <a:lnTo>
                          <a:pt x="48" y="89"/>
                        </a:lnTo>
                        <a:lnTo>
                          <a:pt x="49" y="83"/>
                        </a:lnTo>
                        <a:lnTo>
                          <a:pt x="54" y="78"/>
                        </a:lnTo>
                        <a:lnTo>
                          <a:pt x="65" y="63"/>
                        </a:lnTo>
                        <a:lnTo>
                          <a:pt x="68" y="53"/>
                        </a:lnTo>
                        <a:lnTo>
                          <a:pt x="66" y="46"/>
                        </a:lnTo>
                        <a:lnTo>
                          <a:pt x="62" y="31"/>
                        </a:lnTo>
                        <a:lnTo>
                          <a:pt x="49" y="10"/>
                        </a:lnTo>
                        <a:lnTo>
                          <a:pt x="44" y="3"/>
                        </a:lnTo>
                        <a:lnTo>
                          <a:pt x="66" y="5"/>
                        </a:lnTo>
                        <a:lnTo>
                          <a:pt x="73" y="2"/>
                        </a:lnTo>
                        <a:lnTo>
                          <a:pt x="73" y="0"/>
                        </a:lnTo>
                        <a:lnTo>
                          <a:pt x="118" y="0"/>
                        </a:lnTo>
                        <a:lnTo>
                          <a:pt x="119" y="7"/>
                        </a:lnTo>
                        <a:lnTo>
                          <a:pt x="118" y="26"/>
                        </a:lnTo>
                        <a:lnTo>
                          <a:pt x="114" y="40"/>
                        </a:lnTo>
                        <a:lnTo>
                          <a:pt x="113" y="61"/>
                        </a:lnTo>
                        <a:lnTo>
                          <a:pt x="118" y="83"/>
                        </a:lnTo>
                        <a:lnTo>
                          <a:pt x="117" y="90"/>
                        </a:lnTo>
                        <a:lnTo>
                          <a:pt x="122" y="99"/>
                        </a:lnTo>
                        <a:lnTo>
                          <a:pt x="129" y="95"/>
                        </a:lnTo>
                        <a:lnTo>
                          <a:pt x="133" y="88"/>
                        </a:lnTo>
                        <a:lnTo>
                          <a:pt x="139" y="86"/>
                        </a:lnTo>
                        <a:lnTo>
                          <a:pt x="138" y="78"/>
                        </a:lnTo>
                        <a:lnTo>
                          <a:pt x="143" y="72"/>
                        </a:lnTo>
                        <a:lnTo>
                          <a:pt x="148" y="75"/>
                        </a:lnTo>
                        <a:lnTo>
                          <a:pt x="157" y="85"/>
                        </a:lnTo>
                        <a:lnTo>
                          <a:pt x="163" y="90"/>
                        </a:lnTo>
                        <a:lnTo>
                          <a:pt x="170" y="86"/>
                        </a:lnTo>
                        <a:lnTo>
                          <a:pt x="173" y="86"/>
                        </a:lnTo>
                        <a:lnTo>
                          <a:pt x="176" y="107"/>
                        </a:lnTo>
                        <a:lnTo>
                          <a:pt x="183" y="101"/>
                        </a:lnTo>
                        <a:lnTo>
                          <a:pt x="182" y="94"/>
                        </a:lnTo>
                        <a:lnTo>
                          <a:pt x="186" y="84"/>
                        </a:lnTo>
                        <a:lnTo>
                          <a:pt x="189" y="83"/>
                        </a:lnTo>
                        <a:lnTo>
                          <a:pt x="200" y="83"/>
                        </a:lnTo>
                        <a:lnTo>
                          <a:pt x="205" y="83"/>
                        </a:lnTo>
                        <a:lnTo>
                          <a:pt x="214" y="79"/>
                        </a:lnTo>
                        <a:lnTo>
                          <a:pt x="225" y="72"/>
                        </a:lnTo>
                        <a:lnTo>
                          <a:pt x="226" y="69"/>
                        </a:lnTo>
                        <a:lnTo>
                          <a:pt x="224" y="64"/>
                        </a:lnTo>
                        <a:lnTo>
                          <a:pt x="209" y="66"/>
                        </a:lnTo>
                        <a:lnTo>
                          <a:pt x="200" y="62"/>
                        </a:lnTo>
                        <a:lnTo>
                          <a:pt x="202" y="58"/>
                        </a:lnTo>
                        <a:lnTo>
                          <a:pt x="211" y="52"/>
                        </a:lnTo>
                        <a:lnTo>
                          <a:pt x="209" y="48"/>
                        </a:lnTo>
                        <a:lnTo>
                          <a:pt x="211" y="46"/>
                        </a:lnTo>
                        <a:lnTo>
                          <a:pt x="219" y="46"/>
                        </a:lnTo>
                        <a:lnTo>
                          <a:pt x="220" y="42"/>
                        </a:lnTo>
                        <a:lnTo>
                          <a:pt x="225" y="35"/>
                        </a:lnTo>
                        <a:lnTo>
                          <a:pt x="226" y="30"/>
                        </a:lnTo>
                        <a:lnTo>
                          <a:pt x="231" y="29"/>
                        </a:lnTo>
                        <a:lnTo>
                          <a:pt x="234" y="20"/>
                        </a:lnTo>
                        <a:lnTo>
                          <a:pt x="238" y="21"/>
                        </a:lnTo>
                        <a:lnTo>
                          <a:pt x="240" y="18"/>
                        </a:lnTo>
                        <a:lnTo>
                          <a:pt x="236" y="12"/>
                        </a:lnTo>
                        <a:lnTo>
                          <a:pt x="240" y="5"/>
                        </a:lnTo>
                        <a:lnTo>
                          <a:pt x="251" y="0"/>
                        </a:lnTo>
                        <a:lnTo>
                          <a:pt x="442" y="112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601" name="Freeform 53"/>
                  <p:cNvSpPr>
                    <a:spLocks/>
                  </p:cNvSpPr>
                  <p:nvPr/>
                </p:nvSpPr>
                <p:spPr bwMode="gray">
                  <a:xfrm>
                    <a:off x="2370" y="2377"/>
                    <a:ext cx="33" cy="33"/>
                  </a:xfrm>
                  <a:custGeom>
                    <a:avLst/>
                    <a:gdLst>
                      <a:gd name="T0" fmla="*/ 0 w 167"/>
                      <a:gd name="T1" fmla="*/ 2 h 166"/>
                      <a:gd name="T2" fmla="*/ 1 w 167"/>
                      <a:gd name="T3" fmla="*/ 2 h 166"/>
                      <a:gd name="T4" fmla="*/ 1 w 167"/>
                      <a:gd name="T5" fmla="*/ 2 h 166"/>
                      <a:gd name="T6" fmla="*/ 1 w 167"/>
                      <a:gd name="T7" fmla="*/ 1 h 166"/>
                      <a:gd name="T8" fmla="*/ 1 w 167"/>
                      <a:gd name="T9" fmla="*/ 1 h 166"/>
                      <a:gd name="T10" fmla="*/ 2 w 167"/>
                      <a:gd name="T11" fmla="*/ 1 h 166"/>
                      <a:gd name="T12" fmla="*/ 2 w 167"/>
                      <a:gd name="T13" fmla="*/ 0 h 166"/>
                      <a:gd name="T14" fmla="*/ 2 w 167"/>
                      <a:gd name="T15" fmla="*/ 0 h 166"/>
                      <a:gd name="T16" fmla="*/ 3 w 167"/>
                      <a:gd name="T17" fmla="*/ 0 h 166"/>
                      <a:gd name="T18" fmla="*/ 3 w 167"/>
                      <a:gd name="T19" fmla="*/ 0 h 166"/>
                      <a:gd name="T20" fmla="*/ 5 w 167"/>
                      <a:gd name="T21" fmla="*/ 0 h 166"/>
                      <a:gd name="T22" fmla="*/ 5 w 167"/>
                      <a:gd name="T23" fmla="*/ 0 h 166"/>
                      <a:gd name="T24" fmla="*/ 5 w 167"/>
                      <a:gd name="T25" fmla="*/ 1 h 166"/>
                      <a:gd name="T26" fmla="*/ 5 w 167"/>
                      <a:gd name="T27" fmla="*/ 1 h 166"/>
                      <a:gd name="T28" fmla="*/ 5 w 167"/>
                      <a:gd name="T29" fmla="*/ 1 h 166"/>
                      <a:gd name="T30" fmla="*/ 6 w 167"/>
                      <a:gd name="T31" fmla="*/ 1 h 166"/>
                      <a:gd name="T32" fmla="*/ 6 w 167"/>
                      <a:gd name="T33" fmla="*/ 2 h 166"/>
                      <a:gd name="T34" fmla="*/ 6 w 167"/>
                      <a:gd name="T35" fmla="*/ 2 h 166"/>
                      <a:gd name="T36" fmla="*/ 6 w 167"/>
                      <a:gd name="T37" fmla="*/ 2 h 166"/>
                      <a:gd name="T38" fmla="*/ 6 w 167"/>
                      <a:gd name="T39" fmla="*/ 2 h 166"/>
                      <a:gd name="T40" fmla="*/ 6 w 167"/>
                      <a:gd name="T41" fmla="*/ 3 h 166"/>
                      <a:gd name="T42" fmla="*/ 6 w 167"/>
                      <a:gd name="T43" fmla="*/ 3 h 166"/>
                      <a:gd name="T44" fmla="*/ 6 w 167"/>
                      <a:gd name="T45" fmla="*/ 4 h 166"/>
                      <a:gd name="T46" fmla="*/ 6 w 167"/>
                      <a:gd name="T47" fmla="*/ 3 h 166"/>
                      <a:gd name="T48" fmla="*/ 6 w 167"/>
                      <a:gd name="T49" fmla="*/ 3 h 166"/>
                      <a:gd name="T50" fmla="*/ 6 w 167"/>
                      <a:gd name="T51" fmla="*/ 4 h 166"/>
                      <a:gd name="T52" fmla="*/ 7 w 167"/>
                      <a:gd name="T53" fmla="*/ 4 h 166"/>
                      <a:gd name="T54" fmla="*/ 6 w 167"/>
                      <a:gd name="T55" fmla="*/ 4 h 166"/>
                      <a:gd name="T56" fmla="*/ 6 w 167"/>
                      <a:gd name="T57" fmla="*/ 5 h 166"/>
                      <a:gd name="T58" fmla="*/ 6 w 167"/>
                      <a:gd name="T59" fmla="*/ 5 h 166"/>
                      <a:gd name="T60" fmla="*/ 5 w 167"/>
                      <a:gd name="T61" fmla="*/ 5 h 166"/>
                      <a:gd name="T62" fmla="*/ 5 w 167"/>
                      <a:gd name="T63" fmla="*/ 6 h 166"/>
                      <a:gd name="T64" fmla="*/ 4 w 167"/>
                      <a:gd name="T65" fmla="*/ 6 h 166"/>
                      <a:gd name="T66" fmla="*/ 4 w 167"/>
                      <a:gd name="T67" fmla="*/ 6 h 166"/>
                      <a:gd name="T68" fmla="*/ 4 w 167"/>
                      <a:gd name="T69" fmla="*/ 6 h 166"/>
                      <a:gd name="T70" fmla="*/ 4 w 167"/>
                      <a:gd name="T71" fmla="*/ 7 h 166"/>
                      <a:gd name="T72" fmla="*/ 2 w 167"/>
                      <a:gd name="T73" fmla="*/ 6 h 166"/>
                      <a:gd name="T74" fmla="*/ 2 w 167"/>
                      <a:gd name="T75" fmla="*/ 6 h 166"/>
                      <a:gd name="T76" fmla="*/ 1 w 167"/>
                      <a:gd name="T77" fmla="*/ 5 h 166"/>
                      <a:gd name="T78" fmla="*/ 1 w 167"/>
                      <a:gd name="T79" fmla="*/ 5 h 166"/>
                      <a:gd name="T80" fmla="*/ 1 w 167"/>
                      <a:gd name="T81" fmla="*/ 4 h 166"/>
                      <a:gd name="T82" fmla="*/ 1 w 167"/>
                      <a:gd name="T83" fmla="*/ 4 h 166"/>
                      <a:gd name="T84" fmla="*/ 0 w 167"/>
                      <a:gd name="T85" fmla="*/ 4 h 166"/>
                      <a:gd name="T86" fmla="*/ 0 w 167"/>
                      <a:gd name="T87" fmla="*/ 3 h 166"/>
                      <a:gd name="T88" fmla="*/ 1 w 167"/>
                      <a:gd name="T89" fmla="*/ 3 h 166"/>
                      <a:gd name="T90" fmla="*/ 0 w 167"/>
                      <a:gd name="T91" fmla="*/ 3 h 166"/>
                      <a:gd name="T92" fmla="*/ 0 w 167"/>
                      <a:gd name="T93" fmla="*/ 3 h 166"/>
                      <a:gd name="T94" fmla="*/ 0 w 167"/>
                      <a:gd name="T95" fmla="*/ 3 h 166"/>
                      <a:gd name="T96" fmla="*/ 0 w 167"/>
                      <a:gd name="T97" fmla="*/ 2 h 166"/>
                      <a:gd name="T98" fmla="*/ 0 w 167"/>
                      <a:gd name="T99" fmla="*/ 2 h 16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w 167"/>
                      <a:gd name="T151" fmla="*/ 0 h 166"/>
                      <a:gd name="T152" fmla="*/ 167 w 167"/>
                      <a:gd name="T153" fmla="*/ 166 h 166"/>
                    </a:gdLst>
                    <a:ahLst/>
                    <a:cxnLst>
                      <a:cxn ang="T100">
                        <a:pos x="T0" y="T1"/>
                      </a:cxn>
                      <a:cxn ang="T101">
                        <a:pos x="T2" y="T3"/>
                      </a:cxn>
                      <a:cxn ang="T102">
                        <a:pos x="T4" y="T5"/>
                      </a:cxn>
                      <a:cxn ang="T103">
                        <a:pos x="T6" y="T7"/>
                      </a:cxn>
                      <a:cxn ang="T104">
                        <a:pos x="T8" y="T9"/>
                      </a:cxn>
                      <a:cxn ang="T105">
                        <a:pos x="T10" y="T11"/>
                      </a:cxn>
                      <a:cxn ang="T106">
                        <a:pos x="T12" y="T13"/>
                      </a:cxn>
                      <a:cxn ang="T107">
                        <a:pos x="T14" y="T15"/>
                      </a:cxn>
                      <a:cxn ang="T108">
                        <a:pos x="T16" y="T17"/>
                      </a:cxn>
                      <a:cxn ang="T109">
                        <a:pos x="T18" y="T19"/>
                      </a:cxn>
                      <a:cxn ang="T110">
                        <a:pos x="T20" y="T21"/>
                      </a:cxn>
                      <a:cxn ang="T111">
                        <a:pos x="T22" y="T23"/>
                      </a:cxn>
                      <a:cxn ang="T112">
                        <a:pos x="T24" y="T25"/>
                      </a:cxn>
                      <a:cxn ang="T113">
                        <a:pos x="T26" y="T27"/>
                      </a:cxn>
                      <a:cxn ang="T114">
                        <a:pos x="T28" y="T29"/>
                      </a:cxn>
                      <a:cxn ang="T115">
                        <a:pos x="T30" y="T31"/>
                      </a:cxn>
                      <a:cxn ang="T116">
                        <a:pos x="T32" y="T33"/>
                      </a:cxn>
                      <a:cxn ang="T117">
                        <a:pos x="T34" y="T35"/>
                      </a:cxn>
                      <a:cxn ang="T118">
                        <a:pos x="T36" y="T37"/>
                      </a:cxn>
                      <a:cxn ang="T119">
                        <a:pos x="T38" y="T39"/>
                      </a:cxn>
                      <a:cxn ang="T120">
                        <a:pos x="T40" y="T41"/>
                      </a:cxn>
                      <a:cxn ang="T121">
                        <a:pos x="T42" y="T43"/>
                      </a:cxn>
                      <a:cxn ang="T122">
                        <a:pos x="T44" y="T45"/>
                      </a:cxn>
                      <a:cxn ang="T123">
                        <a:pos x="T46" y="T47"/>
                      </a:cxn>
                      <a:cxn ang="T124">
                        <a:pos x="T48" y="T49"/>
                      </a:cxn>
                      <a:cxn ang="T125">
                        <a:pos x="T50" y="T51"/>
                      </a:cxn>
                      <a:cxn ang="T126">
                        <a:pos x="T52" y="T53"/>
                      </a:cxn>
                      <a:cxn ang="T127">
                        <a:pos x="T54" y="T55"/>
                      </a:cxn>
                      <a:cxn ang="T128">
                        <a:pos x="T56" y="T57"/>
                      </a:cxn>
                      <a:cxn ang="T129">
                        <a:pos x="T58" y="T59"/>
                      </a:cxn>
                      <a:cxn ang="T130">
                        <a:pos x="T60" y="T61"/>
                      </a:cxn>
                      <a:cxn ang="T131">
                        <a:pos x="T62" y="T63"/>
                      </a:cxn>
                      <a:cxn ang="T132">
                        <a:pos x="T64" y="T65"/>
                      </a:cxn>
                      <a:cxn ang="T133">
                        <a:pos x="T66" y="T67"/>
                      </a:cxn>
                      <a:cxn ang="T134">
                        <a:pos x="T68" y="T69"/>
                      </a:cxn>
                      <a:cxn ang="T135">
                        <a:pos x="T70" y="T71"/>
                      </a:cxn>
                      <a:cxn ang="T136">
                        <a:pos x="T72" y="T73"/>
                      </a:cxn>
                      <a:cxn ang="T137">
                        <a:pos x="T74" y="T75"/>
                      </a:cxn>
                      <a:cxn ang="T138">
                        <a:pos x="T76" y="T77"/>
                      </a:cxn>
                      <a:cxn ang="T139">
                        <a:pos x="T78" y="T79"/>
                      </a:cxn>
                      <a:cxn ang="T140">
                        <a:pos x="T80" y="T81"/>
                      </a:cxn>
                      <a:cxn ang="T141">
                        <a:pos x="T82" y="T83"/>
                      </a:cxn>
                      <a:cxn ang="T142">
                        <a:pos x="T84" y="T85"/>
                      </a:cxn>
                      <a:cxn ang="T143">
                        <a:pos x="T86" y="T87"/>
                      </a:cxn>
                      <a:cxn ang="T144">
                        <a:pos x="T88" y="T89"/>
                      </a:cxn>
                      <a:cxn ang="T145">
                        <a:pos x="T90" y="T91"/>
                      </a:cxn>
                      <a:cxn ang="T146">
                        <a:pos x="T92" y="T93"/>
                      </a:cxn>
                      <a:cxn ang="T147">
                        <a:pos x="T94" y="T95"/>
                      </a:cxn>
                      <a:cxn ang="T148">
                        <a:pos x="T96" y="T97"/>
                      </a:cxn>
                      <a:cxn ang="T149">
                        <a:pos x="T98" y="T99"/>
                      </a:cxn>
                    </a:cxnLst>
                    <a:rect l="T150" t="T151" r="T152" b="T153"/>
                    <a:pathLst>
                      <a:path w="167" h="166">
                        <a:moveTo>
                          <a:pt x="2" y="49"/>
                        </a:moveTo>
                        <a:lnTo>
                          <a:pt x="8" y="51"/>
                        </a:lnTo>
                        <a:lnTo>
                          <a:pt x="14" y="51"/>
                        </a:lnTo>
                        <a:lnTo>
                          <a:pt x="17" y="50"/>
                        </a:lnTo>
                        <a:lnTo>
                          <a:pt x="19" y="49"/>
                        </a:lnTo>
                        <a:lnTo>
                          <a:pt x="23" y="39"/>
                        </a:lnTo>
                        <a:lnTo>
                          <a:pt x="28" y="39"/>
                        </a:lnTo>
                        <a:lnTo>
                          <a:pt x="32" y="37"/>
                        </a:lnTo>
                        <a:lnTo>
                          <a:pt x="32" y="32"/>
                        </a:lnTo>
                        <a:lnTo>
                          <a:pt x="37" y="31"/>
                        </a:lnTo>
                        <a:lnTo>
                          <a:pt x="43" y="23"/>
                        </a:lnTo>
                        <a:lnTo>
                          <a:pt x="46" y="16"/>
                        </a:lnTo>
                        <a:lnTo>
                          <a:pt x="45" y="7"/>
                        </a:lnTo>
                        <a:lnTo>
                          <a:pt x="49" y="6"/>
                        </a:lnTo>
                        <a:lnTo>
                          <a:pt x="57" y="5"/>
                        </a:lnTo>
                        <a:lnTo>
                          <a:pt x="61" y="7"/>
                        </a:lnTo>
                        <a:lnTo>
                          <a:pt x="65" y="7"/>
                        </a:lnTo>
                        <a:lnTo>
                          <a:pt x="70" y="5"/>
                        </a:lnTo>
                        <a:lnTo>
                          <a:pt x="76" y="5"/>
                        </a:lnTo>
                        <a:lnTo>
                          <a:pt x="76" y="0"/>
                        </a:lnTo>
                        <a:lnTo>
                          <a:pt x="102" y="0"/>
                        </a:lnTo>
                        <a:lnTo>
                          <a:pt x="115" y="1"/>
                        </a:lnTo>
                        <a:lnTo>
                          <a:pt x="119" y="8"/>
                        </a:lnTo>
                        <a:lnTo>
                          <a:pt x="125" y="12"/>
                        </a:lnTo>
                        <a:lnTo>
                          <a:pt x="129" y="17"/>
                        </a:lnTo>
                        <a:lnTo>
                          <a:pt x="134" y="21"/>
                        </a:lnTo>
                        <a:lnTo>
                          <a:pt x="134" y="23"/>
                        </a:lnTo>
                        <a:lnTo>
                          <a:pt x="136" y="27"/>
                        </a:lnTo>
                        <a:lnTo>
                          <a:pt x="135" y="29"/>
                        </a:lnTo>
                        <a:lnTo>
                          <a:pt x="135" y="32"/>
                        </a:lnTo>
                        <a:lnTo>
                          <a:pt x="142" y="34"/>
                        </a:lnTo>
                        <a:lnTo>
                          <a:pt x="145" y="35"/>
                        </a:lnTo>
                        <a:lnTo>
                          <a:pt x="145" y="38"/>
                        </a:lnTo>
                        <a:lnTo>
                          <a:pt x="143" y="40"/>
                        </a:lnTo>
                        <a:lnTo>
                          <a:pt x="145" y="45"/>
                        </a:lnTo>
                        <a:lnTo>
                          <a:pt x="143" y="45"/>
                        </a:lnTo>
                        <a:lnTo>
                          <a:pt x="145" y="50"/>
                        </a:lnTo>
                        <a:lnTo>
                          <a:pt x="146" y="53"/>
                        </a:lnTo>
                        <a:lnTo>
                          <a:pt x="151" y="56"/>
                        </a:lnTo>
                        <a:lnTo>
                          <a:pt x="152" y="60"/>
                        </a:lnTo>
                        <a:lnTo>
                          <a:pt x="155" y="70"/>
                        </a:lnTo>
                        <a:lnTo>
                          <a:pt x="153" y="71"/>
                        </a:lnTo>
                        <a:lnTo>
                          <a:pt x="148" y="74"/>
                        </a:lnTo>
                        <a:lnTo>
                          <a:pt x="146" y="85"/>
                        </a:lnTo>
                        <a:lnTo>
                          <a:pt x="143" y="90"/>
                        </a:lnTo>
                        <a:lnTo>
                          <a:pt x="143" y="92"/>
                        </a:lnTo>
                        <a:lnTo>
                          <a:pt x="156" y="87"/>
                        </a:lnTo>
                        <a:lnTo>
                          <a:pt x="162" y="82"/>
                        </a:lnTo>
                        <a:lnTo>
                          <a:pt x="163" y="82"/>
                        </a:lnTo>
                        <a:lnTo>
                          <a:pt x="164" y="85"/>
                        </a:lnTo>
                        <a:lnTo>
                          <a:pt x="164" y="88"/>
                        </a:lnTo>
                        <a:lnTo>
                          <a:pt x="163" y="93"/>
                        </a:lnTo>
                        <a:lnTo>
                          <a:pt x="167" y="97"/>
                        </a:lnTo>
                        <a:lnTo>
                          <a:pt x="167" y="98"/>
                        </a:lnTo>
                        <a:lnTo>
                          <a:pt x="157" y="99"/>
                        </a:lnTo>
                        <a:lnTo>
                          <a:pt x="152" y="105"/>
                        </a:lnTo>
                        <a:lnTo>
                          <a:pt x="150" y="107"/>
                        </a:lnTo>
                        <a:lnTo>
                          <a:pt x="150" y="123"/>
                        </a:lnTo>
                        <a:lnTo>
                          <a:pt x="146" y="124"/>
                        </a:lnTo>
                        <a:lnTo>
                          <a:pt x="143" y="129"/>
                        </a:lnTo>
                        <a:lnTo>
                          <a:pt x="140" y="129"/>
                        </a:lnTo>
                        <a:lnTo>
                          <a:pt x="136" y="136"/>
                        </a:lnTo>
                        <a:lnTo>
                          <a:pt x="130" y="137"/>
                        </a:lnTo>
                        <a:lnTo>
                          <a:pt x="121" y="146"/>
                        </a:lnTo>
                        <a:lnTo>
                          <a:pt x="118" y="148"/>
                        </a:lnTo>
                        <a:lnTo>
                          <a:pt x="113" y="148"/>
                        </a:lnTo>
                        <a:lnTo>
                          <a:pt x="112" y="151"/>
                        </a:lnTo>
                        <a:lnTo>
                          <a:pt x="112" y="156"/>
                        </a:lnTo>
                        <a:lnTo>
                          <a:pt x="109" y="157"/>
                        </a:lnTo>
                        <a:lnTo>
                          <a:pt x="108" y="163"/>
                        </a:lnTo>
                        <a:lnTo>
                          <a:pt x="103" y="166"/>
                        </a:lnTo>
                        <a:lnTo>
                          <a:pt x="102" y="166"/>
                        </a:lnTo>
                        <a:lnTo>
                          <a:pt x="91" y="163"/>
                        </a:lnTo>
                        <a:lnTo>
                          <a:pt x="61" y="147"/>
                        </a:lnTo>
                        <a:lnTo>
                          <a:pt x="53" y="146"/>
                        </a:lnTo>
                        <a:lnTo>
                          <a:pt x="51" y="140"/>
                        </a:lnTo>
                        <a:lnTo>
                          <a:pt x="48" y="135"/>
                        </a:lnTo>
                        <a:lnTo>
                          <a:pt x="32" y="124"/>
                        </a:lnTo>
                        <a:lnTo>
                          <a:pt x="24" y="120"/>
                        </a:lnTo>
                        <a:lnTo>
                          <a:pt x="23" y="118"/>
                        </a:lnTo>
                        <a:lnTo>
                          <a:pt x="23" y="113"/>
                        </a:lnTo>
                        <a:lnTo>
                          <a:pt x="22" y="110"/>
                        </a:lnTo>
                        <a:lnTo>
                          <a:pt x="22" y="107"/>
                        </a:lnTo>
                        <a:lnTo>
                          <a:pt x="16" y="102"/>
                        </a:lnTo>
                        <a:lnTo>
                          <a:pt x="10" y="102"/>
                        </a:lnTo>
                        <a:lnTo>
                          <a:pt x="5" y="93"/>
                        </a:lnTo>
                        <a:lnTo>
                          <a:pt x="5" y="86"/>
                        </a:lnTo>
                        <a:lnTo>
                          <a:pt x="8" y="86"/>
                        </a:lnTo>
                        <a:lnTo>
                          <a:pt x="10" y="87"/>
                        </a:lnTo>
                        <a:lnTo>
                          <a:pt x="13" y="87"/>
                        </a:lnTo>
                        <a:lnTo>
                          <a:pt x="13" y="86"/>
                        </a:lnTo>
                        <a:lnTo>
                          <a:pt x="11" y="82"/>
                        </a:lnTo>
                        <a:lnTo>
                          <a:pt x="7" y="81"/>
                        </a:lnTo>
                        <a:lnTo>
                          <a:pt x="5" y="78"/>
                        </a:lnTo>
                        <a:lnTo>
                          <a:pt x="6" y="71"/>
                        </a:lnTo>
                        <a:lnTo>
                          <a:pt x="5" y="65"/>
                        </a:lnTo>
                        <a:lnTo>
                          <a:pt x="3" y="62"/>
                        </a:lnTo>
                        <a:lnTo>
                          <a:pt x="0" y="60"/>
                        </a:lnTo>
                        <a:lnTo>
                          <a:pt x="0" y="55"/>
                        </a:lnTo>
                        <a:lnTo>
                          <a:pt x="2" y="49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602" name="Freeform 54"/>
                  <p:cNvSpPr>
                    <a:spLocks/>
                  </p:cNvSpPr>
                  <p:nvPr/>
                </p:nvSpPr>
                <p:spPr bwMode="gray">
                  <a:xfrm>
                    <a:off x="2422" y="2369"/>
                    <a:ext cx="67" cy="70"/>
                  </a:xfrm>
                  <a:custGeom>
                    <a:avLst/>
                    <a:gdLst>
                      <a:gd name="T0" fmla="*/ 4 w 337"/>
                      <a:gd name="T1" fmla="*/ 13 h 354"/>
                      <a:gd name="T2" fmla="*/ 7 w 337"/>
                      <a:gd name="T3" fmla="*/ 12 h 354"/>
                      <a:gd name="T4" fmla="*/ 10 w 337"/>
                      <a:gd name="T5" fmla="*/ 12 h 354"/>
                      <a:gd name="T6" fmla="*/ 12 w 337"/>
                      <a:gd name="T7" fmla="*/ 12 h 354"/>
                      <a:gd name="T8" fmla="*/ 13 w 337"/>
                      <a:gd name="T9" fmla="*/ 12 h 354"/>
                      <a:gd name="T10" fmla="*/ 13 w 337"/>
                      <a:gd name="T11" fmla="*/ 11 h 354"/>
                      <a:gd name="T12" fmla="*/ 12 w 337"/>
                      <a:gd name="T13" fmla="*/ 9 h 354"/>
                      <a:gd name="T14" fmla="*/ 12 w 337"/>
                      <a:gd name="T15" fmla="*/ 8 h 354"/>
                      <a:gd name="T16" fmla="*/ 13 w 337"/>
                      <a:gd name="T17" fmla="*/ 6 h 354"/>
                      <a:gd name="T18" fmla="*/ 13 w 337"/>
                      <a:gd name="T19" fmla="*/ 6 h 354"/>
                      <a:gd name="T20" fmla="*/ 13 w 337"/>
                      <a:gd name="T21" fmla="*/ 4 h 354"/>
                      <a:gd name="T22" fmla="*/ 13 w 337"/>
                      <a:gd name="T23" fmla="*/ 3 h 354"/>
                      <a:gd name="T24" fmla="*/ 13 w 337"/>
                      <a:gd name="T25" fmla="*/ 3 h 354"/>
                      <a:gd name="T26" fmla="*/ 12 w 337"/>
                      <a:gd name="T27" fmla="*/ 2 h 354"/>
                      <a:gd name="T28" fmla="*/ 12 w 337"/>
                      <a:gd name="T29" fmla="*/ 2 h 354"/>
                      <a:gd name="T30" fmla="*/ 10 w 337"/>
                      <a:gd name="T31" fmla="*/ 2 h 354"/>
                      <a:gd name="T32" fmla="*/ 9 w 337"/>
                      <a:gd name="T33" fmla="*/ 2 h 354"/>
                      <a:gd name="T34" fmla="*/ 9 w 337"/>
                      <a:gd name="T35" fmla="*/ 2 h 354"/>
                      <a:gd name="T36" fmla="*/ 8 w 337"/>
                      <a:gd name="T37" fmla="*/ 2 h 354"/>
                      <a:gd name="T38" fmla="*/ 8 w 337"/>
                      <a:gd name="T39" fmla="*/ 2 h 354"/>
                      <a:gd name="T40" fmla="*/ 7 w 337"/>
                      <a:gd name="T41" fmla="*/ 1 h 354"/>
                      <a:gd name="T42" fmla="*/ 7 w 337"/>
                      <a:gd name="T43" fmla="*/ 1 h 354"/>
                      <a:gd name="T44" fmla="*/ 6 w 337"/>
                      <a:gd name="T45" fmla="*/ 1 h 354"/>
                      <a:gd name="T46" fmla="*/ 6 w 337"/>
                      <a:gd name="T47" fmla="*/ 1 h 354"/>
                      <a:gd name="T48" fmla="*/ 5 w 337"/>
                      <a:gd name="T49" fmla="*/ 0 h 354"/>
                      <a:gd name="T50" fmla="*/ 5 w 337"/>
                      <a:gd name="T51" fmla="*/ 0 h 354"/>
                      <a:gd name="T52" fmla="*/ 4 w 337"/>
                      <a:gd name="T53" fmla="*/ 0 h 354"/>
                      <a:gd name="T54" fmla="*/ 4 w 337"/>
                      <a:gd name="T55" fmla="*/ 1 h 354"/>
                      <a:gd name="T56" fmla="*/ 3 w 337"/>
                      <a:gd name="T57" fmla="*/ 1 h 354"/>
                      <a:gd name="T58" fmla="*/ 3 w 337"/>
                      <a:gd name="T59" fmla="*/ 1 h 354"/>
                      <a:gd name="T60" fmla="*/ 3 w 337"/>
                      <a:gd name="T61" fmla="*/ 1 h 354"/>
                      <a:gd name="T62" fmla="*/ 2 w 337"/>
                      <a:gd name="T63" fmla="*/ 1 h 354"/>
                      <a:gd name="T64" fmla="*/ 2 w 337"/>
                      <a:gd name="T65" fmla="*/ 1 h 354"/>
                      <a:gd name="T66" fmla="*/ 1 w 337"/>
                      <a:gd name="T67" fmla="*/ 2 h 354"/>
                      <a:gd name="T68" fmla="*/ 1 w 337"/>
                      <a:gd name="T69" fmla="*/ 3 h 354"/>
                      <a:gd name="T70" fmla="*/ 1 w 337"/>
                      <a:gd name="T71" fmla="*/ 4 h 354"/>
                      <a:gd name="T72" fmla="*/ 2 w 337"/>
                      <a:gd name="T73" fmla="*/ 4 h 354"/>
                      <a:gd name="T74" fmla="*/ 2 w 337"/>
                      <a:gd name="T75" fmla="*/ 4 h 354"/>
                      <a:gd name="T76" fmla="*/ 2 w 337"/>
                      <a:gd name="T77" fmla="*/ 5 h 354"/>
                      <a:gd name="T78" fmla="*/ 2 w 337"/>
                      <a:gd name="T79" fmla="*/ 5 h 354"/>
                      <a:gd name="T80" fmla="*/ 1 w 337"/>
                      <a:gd name="T81" fmla="*/ 5 h 354"/>
                      <a:gd name="T82" fmla="*/ 1 w 337"/>
                      <a:gd name="T83" fmla="*/ 5 h 354"/>
                      <a:gd name="T84" fmla="*/ 1 w 337"/>
                      <a:gd name="T85" fmla="*/ 6 h 354"/>
                      <a:gd name="T86" fmla="*/ 1 w 337"/>
                      <a:gd name="T87" fmla="*/ 6 h 354"/>
                      <a:gd name="T88" fmla="*/ 1 w 337"/>
                      <a:gd name="T89" fmla="*/ 7 h 354"/>
                      <a:gd name="T90" fmla="*/ 0 w 337"/>
                      <a:gd name="T91" fmla="*/ 8 h 354"/>
                      <a:gd name="T92" fmla="*/ 1 w 337"/>
                      <a:gd name="T93" fmla="*/ 8 h 354"/>
                      <a:gd name="T94" fmla="*/ 0 w 337"/>
                      <a:gd name="T95" fmla="*/ 9 h 354"/>
                      <a:gd name="T96" fmla="*/ 0 w 337"/>
                      <a:gd name="T97" fmla="*/ 9 h 354"/>
                      <a:gd name="T98" fmla="*/ 1 w 337"/>
                      <a:gd name="T99" fmla="*/ 9 h 354"/>
                      <a:gd name="T100" fmla="*/ 2 w 337"/>
                      <a:gd name="T101" fmla="*/ 10 h 354"/>
                      <a:gd name="T102" fmla="*/ 2 w 337"/>
                      <a:gd name="T103" fmla="*/ 10 h 354"/>
                      <a:gd name="T104" fmla="*/ 3 w 337"/>
                      <a:gd name="T105" fmla="*/ 11 h 354"/>
                      <a:gd name="T106" fmla="*/ 3 w 337"/>
                      <a:gd name="T107" fmla="*/ 12 h 354"/>
                      <a:gd name="T108" fmla="*/ 2 w 337"/>
                      <a:gd name="T109" fmla="*/ 12 h 354"/>
                      <a:gd name="T110" fmla="*/ 2 w 337"/>
                      <a:gd name="T111" fmla="*/ 14 h 354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w 337"/>
                      <a:gd name="T169" fmla="*/ 0 h 354"/>
                      <a:gd name="T170" fmla="*/ 337 w 337"/>
                      <a:gd name="T171" fmla="*/ 354 h 354"/>
                    </a:gdLst>
                    <a:ahLst/>
                    <a:cxnLst>
                      <a:cxn ang="T112">
                        <a:pos x="T0" y="T1"/>
                      </a:cxn>
                      <a:cxn ang="T113">
                        <a:pos x="T2" y="T3"/>
                      </a:cxn>
                      <a:cxn ang="T114">
                        <a:pos x="T4" y="T5"/>
                      </a:cxn>
                      <a:cxn ang="T115">
                        <a:pos x="T6" y="T7"/>
                      </a:cxn>
                      <a:cxn ang="T116">
                        <a:pos x="T8" y="T9"/>
                      </a:cxn>
                      <a:cxn ang="T117">
                        <a:pos x="T10" y="T11"/>
                      </a:cxn>
                      <a:cxn ang="T118">
                        <a:pos x="T12" y="T13"/>
                      </a:cxn>
                      <a:cxn ang="T119">
                        <a:pos x="T14" y="T15"/>
                      </a:cxn>
                      <a:cxn ang="T120">
                        <a:pos x="T16" y="T17"/>
                      </a:cxn>
                      <a:cxn ang="T121">
                        <a:pos x="T18" y="T19"/>
                      </a:cxn>
                      <a:cxn ang="T122">
                        <a:pos x="T20" y="T21"/>
                      </a:cxn>
                      <a:cxn ang="T123">
                        <a:pos x="T22" y="T23"/>
                      </a:cxn>
                      <a:cxn ang="T124">
                        <a:pos x="T24" y="T25"/>
                      </a:cxn>
                      <a:cxn ang="T125">
                        <a:pos x="T26" y="T27"/>
                      </a:cxn>
                      <a:cxn ang="T126">
                        <a:pos x="T28" y="T29"/>
                      </a:cxn>
                      <a:cxn ang="T127">
                        <a:pos x="T30" y="T31"/>
                      </a:cxn>
                      <a:cxn ang="T128">
                        <a:pos x="T32" y="T33"/>
                      </a:cxn>
                      <a:cxn ang="T129">
                        <a:pos x="T34" y="T35"/>
                      </a:cxn>
                      <a:cxn ang="T130">
                        <a:pos x="T36" y="T37"/>
                      </a:cxn>
                      <a:cxn ang="T131">
                        <a:pos x="T38" y="T39"/>
                      </a:cxn>
                      <a:cxn ang="T132">
                        <a:pos x="T40" y="T41"/>
                      </a:cxn>
                      <a:cxn ang="T133">
                        <a:pos x="T42" y="T43"/>
                      </a:cxn>
                      <a:cxn ang="T134">
                        <a:pos x="T44" y="T45"/>
                      </a:cxn>
                      <a:cxn ang="T135">
                        <a:pos x="T46" y="T47"/>
                      </a:cxn>
                      <a:cxn ang="T136">
                        <a:pos x="T48" y="T49"/>
                      </a:cxn>
                      <a:cxn ang="T137">
                        <a:pos x="T50" y="T51"/>
                      </a:cxn>
                      <a:cxn ang="T138">
                        <a:pos x="T52" y="T53"/>
                      </a:cxn>
                      <a:cxn ang="T139">
                        <a:pos x="T54" y="T55"/>
                      </a:cxn>
                      <a:cxn ang="T140">
                        <a:pos x="T56" y="T57"/>
                      </a:cxn>
                      <a:cxn ang="T141">
                        <a:pos x="T58" y="T59"/>
                      </a:cxn>
                      <a:cxn ang="T142">
                        <a:pos x="T60" y="T61"/>
                      </a:cxn>
                      <a:cxn ang="T143">
                        <a:pos x="T62" y="T63"/>
                      </a:cxn>
                      <a:cxn ang="T144">
                        <a:pos x="T64" y="T65"/>
                      </a:cxn>
                      <a:cxn ang="T145">
                        <a:pos x="T66" y="T67"/>
                      </a:cxn>
                      <a:cxn ang="T146">
                        <a:pos x="T68" y="T69"/>
                      </a:cxn>
                      <a:cxn ang="T147">
                        <a:pos x="T70" y="T71"/>
                      </a:cxn>
                      <a:cxn ang="T148">
                        <a:pos x="T72" y="T73"/>
                      </a:cxn>
                      <a:cxn ang="T149">
                        <a:pos x="T74" y="T75"/>
                      </a:cxn>
                      <a:cxn ang="T150">
                        <a:pos x="T76" y="T77"/>
                      </a:cxn>
                      <a:cxn ang="T151">
                        <a:pos x="T78" y="T79"/>
                      </a:cxn>
                      <a:cxn ang="T152">
                        <a:pos x="T80" y="T81"/>
                      </a:cxn>
                      <a:cxn ang="T153">
                        <a:pos x="T82" y="T83"/>
                      </a:cxn>
                      <a:cxn ang="T154">
                        <a:pos x="T84" y="T85"/>
                      </a:cxn>
                      <a:cxn ang="T155">
                        <a:pos x="T86" y="T87"/>
                      </a:cxn>
                      <a:cxn ang="T156">
                        <a:pos x="T88" y="T89"/>
                      </a:cxn>
                      <a:cxn ang="T157">
                        <a:pos x="T90" y="T91"/>
                      </a:cxn>
                      <a:cxn ang="T158">
                        <a:pos x="T92" y="T93"/>
                      </a:cxn>
                      <a:cxn ang="T159">
                        <a:pos x="T94" y="T95"/>
                      </a:cxn>
                      <a:cxn ang="T160">
                        <a:pos x="T96" y="T97"/>
                      </a:cxn>
                      <a:cxn ang="T161">
                        <a:pos x="T98" y="T99"/>
                      </a:cxn>
                      <a:cxn ang="T162">
                        <a:pos x="T100" y="T101"/>
                      </a:cxn>
                      <a:cxn ang="T163">
                        <a:pos x="T102" y="T103"/>
                      </a:cxn>
                      <a:cxn ang="T164">
                        <a:pos x="T104" y="T105"/>
                      </a:cxn>
                      <a:cxn ang="T165">
                        <a:pos x="T106" y="T107"/>
                      </a:cxn>
                      <a:cxn ang="T166">
                        <a:pos x="T108" y="T109"/>
                      </a:cxn>
                      <a:cxn ang="T167">
                        <a:pos x="T110" y="T111"/>
                      </a:cxn>
                    </a:cxnLst>
                    <a:rect l="T168" t="T169" r="T170" b="T171"/>
                    <a:pathLst>
                      <a:path w="337" h="354">
                        <a:moveTo>
                          <a:pt x="57" y="350"/>
                        </a:moveTo>
                        <a:lnTo>
                          <a:pt x="58" y="353"/>
                        </a:lnTo>
                        <a:lnTo>
                          <a:pt x="74" y="354"/>
                        </a:lnTo>
                        <a:lnTo>
                          <a:pt x="97" y="342"/>
                        </a:lnTo>
                        <a:lnTo>
                          <a:pt x="121" y="332"/>
                        </a:lnTo>
                        <a:lnTo>
                          <a:pt x="135" y="326"/>
                        </a:lnTo>
                        <a:lnTo>
                          <a:pt x="160" y="318"/>
                        </a:lnTo>
                        <a:lnTo>
                          <a:pt x="173" y="317"/>
                        </a:lnTo>
                        <a:lnTo>
                          <a:pt x="208" y="311"/>
                        </a:lnTo>
                        <a:lnTo>
                          <a:pt x="219" y="310"/>
                        </a:lnTo>
                        <a:lnTo>
                          <a:pt x="240" y="307"/>
                        </a:lnTo>
                        <a:lnTo>
                          <a:pt x="258" y="307"/>
                        </a:lnTo>
                        <a:lnTo>
                          <a:pt x="274" y="312"/>
                        </a:lnTo>
                        <a:lnTo>
                          <a:pt x="295" y="316"/>
                        </a:lnTo>
                        <a:lnTo>
                          <a:pt x="299" y="316"/>
                        </a:lnTo>
                        <a:lnTo>
                          <a:pt x="301" y="315"/>
                        </a:lnTo>
                        <a:lnTo>
                          <a:pt x="305" y="308"/>
                        </a:lnTo>
                        <a:lnTo>
                          <a:pt x="307" y="307"/>
                        </a:lnTo>
                        <a:lnTo>
                          <a:pt x="313" y="307"/>
                        </a:lnTo>
                        <a:lnTo>
                          <a:pt x="317" y="310"/>
                        </a:lnTo>
                        <a:lnTo>
                          <a:pt x="323" y="308"/>
                        </a:lnTo>
                        <a:lnTo>
                          <a:pt x="323" y="294"/>
                        </a:lnTo>
                        <a:lnTo>
                          <a:pt x="321" y="281"/>
                        </a:lnTo>
                        <a:lnTo>
                          <a:pt x="318" y="280"/>
                        </a:lnTo>
                        <a:lnTo>
                          <a:pt x="311" y="279"/>
                        </a:lnTo>
                        <a:lnTo>
                          <a:pt x="307" y="274"/>
                        </a:lnTo>
                        <a:lnTo>
                          <a:pt x="304" y="258"/>
                        </a:lnTo>
                        <a:lnTo>
                          <a:pt x="296" y="238"/>
                        </a:lnTo>
                        <a:lnTo>
                          <a:pt x="296" y="230"/>
                        </a:lnTo>
                        <a:lnTo>
                          <a:pt x="297" y="213"/>
                        </a:lnTo>
                        <a:lnTo>
                          <a:pt x="301" y="206"/>
                        </a:lnTo>
                        <a:lnTo>
                          <a:pt x="307" y="199"/>
                        </a:lnTo>
                        <a:lnTo>
                          <a:pt x="310" y="194"/>
                        </a:lnTo>
                        <a:lnTo>
                          <a:pt x="310" y="183"/>
                        </a:lnTo>
                        <a:lnTo>
                          <a:pt x="312" y="174"/>
                        </a:lnTo>
                        <a:lnTo>
                          <a:pt x="318" y="161"/>
                        </a:lnTo>
                        <a:lnTo>
                          <a:pt x="322" y="152"/>
                        </a:lnTo>
                        <a:lnTo>
                          <a:pt x="324" y="150"/>
                        </a:lnTo>
                        <a:lnTo>
                          <a:pt x="328" y="145"/>
                        </a:lnTo>
                        <a:lnTo>
                          <a:pt x="332" y="144"/>
                        </a:lnTo>
                        <a:lnTo>
                          <a:pt x="332" y="139"/>
                        </a:lnTo>
                        <a:lnTo>
                          <a:pt x="337" y="138"/>
                        </a:lnTo>
                        <a:lnTo>
                          <a:pt x="334" y="122"/>
                        </a:lnTo>
                        <a:lnTo>
                          <a:pt x="327" y="95"/>
                        </a:lnTo>
                        <a:lnTo>
                          <a:pt x="324" y="91"/>
                        </a:lnTo>
                        <a:lnTo>
                          <a:pt x="321" y="90"/>
                        </a:lnTo>
                        <a:lnTo>
                          <a:pt x="321" y="87"/>
                        </a:lnTo>
                        <a:lnTo>
                          <a:pt x="326" y="82"/>
                        </a:lnTo>
                        <a:lnTo>
                          <a:pt x="323" y="77"/>
                        </a:lnTo>
                        <a:lnTo>
                          <a:pt x="324" y="74"/>
                        </a:lnTo>
                        <a:lnTo>
                          <a:pt x="324" y="68"/>
                        </a:lnTo>
                        <a:lnTo>
                          <a:pt x="322" y="70"/>
                        </a:lnTo>
                        <a:lnTo>
                          <a:pt x="316" y="70"/>
                        </a:lnTo>
                        <a:lnTo>
                          <a:pt x="313" y="69"/>
                        </a:lnTo>
                        <a:lnTo>
                          <a:pt x="308" y="59"/>
                        </a:lnTo>
                        <a:lnTo>
                          <a:pt x="307" y="54"/>
                        </a:lnTo>
                        <a:lnTo>
                          <a:pt x="302" y="53"/>
                        </a:lnTo>
                        <a:lnTo>
                          <a:pt x="296" y="43"/>
                        </a:lnTo>
                        <a:lnTo>
                          <a:pt x="295" y="43"/>
                        </a:lnTo>
                        <a:lnTo>
                          <a:pt x="290" y="48"/>
                        </a:lnTo>
                        <a:lnTo>
                          <a:pt x="279" y="43"/>
                        </a:lnTo>
                        <a:lnTo>
                          <a:pt x="272" y="43"/>
                        </a:lnTo>
                        <a:lnTo>
                          <a:pt x="262" y="46"/>
                        </a:lnTo>
                        <a:lnTo>
                          <a:pt x="250" y="49"/>
                        </a:lnTo>
                        <a:lnTo>
                          <a:pt x="242" y="52"/>
                        </a:lnTo>
                        <a:lnTo>
                          <a:pt x="236" y="53"/>
                        </a:lnTo>
                        <a:lnTo>
                          <a:pt x="234" y="59"/>
                        </a:lnTo>
                        <a:lnTo>
                          <a:pt x="230" y="61"/>
                        </a:lnTo>
                        <a:lnTo>
                          <a:pt x="223" y="58"/>
                        </a:lnTo>
                        <a:lnTo>
                          <a:pt x="221" y="54"/>
                        </a:lnTo>
                        <a:lnTo>
                          <a:pt x="220" y="54"/>
                        </a:lnTo>
                        <a:lnTo>
                          <a:pt x="218" y="57"/>
                        </a:lnTo>
                        <a:lnTo>
                          <a:pt x="214" y="57"/>
                        </a:lnTo>
                        <a:lnTo>
                          <a:pt x="214" y="58"/>
                        </a:lnTo>
                        <a:lnTo>
                          <a:pt x="207" y="54"/>
                        </a:lnTo>
                        <a:lnTo>
                          <a:pt x="205" y="50"/>
                        </a:lnTo>
                        <a:lnTo>
                          <a:pt x="202" y="47"/>
                        </a:lnTo>
                        <a:lnTo>
                          <a:pt x="198" y="47"/>
                        </a:lnTo>
                        <a:lnTo>
                          <a:pt x="198" y="42"/>
                        </a:lnTo>
                        <a:lnTo>
                          <a:pt x="197" y="39"/>
                        </a:lnTo>
                        <a:lnTo>
                          <a:pt x="194" y="38"/>
                        </a:lnTo>
                        <a:lnTo>
                          <a:pt x="191" y="32"/>
                        </a:lnTo>
                        <a:lnTo>
                          <a:pt x="189" y="31"/>
                        </a:lnTo>
                        <a:lnTo>
                          <a:pt x="188" y="30"/>
                        </a:lnTo>
                        <a:lnTo>
                          <a:pt x="187" y="25"/>
                        </a:lnTo>
                        <a:lnTo>
                          <a:pt x="187" y="23"/>
                        </a:lnTo>
                        <a:lnTo>
                          <a:pt x="184" y="22"/>
                        </a:lnTo>
                        <a:lnTo>
                          <a:pt x="173" y="25"/>
                        </a:lnTo>
                        <a:lnTo>
                          <a:pt x="171" y="23"/>
                        </a:lnTo>
                        <a:lnTo>
                          <a:pt x="167" y="17"/>
                        </a:lnTo>
                        <a:lnTo>
                          <a:pt x="165" y="16"/>
                        </a:lnTo>
                        <a:lnTo>
                          <a:pt x="154" y="16"/>
                        </a:lnTo>
                        <a:lnTo>
                          <a:pt x="150" y="16"/>
                        </a:lnTo>
                        <a:lnTo>
                          <a:pt x="148" y="23"/>
                        </a:lnTo>
                        <a:lnTo>
                          <a:pt x="144" y="23"/>
                        </a:lnTo>
                        <a:lnTo>
                          <a:pt x="140" y="27"/>
                        </a:lnTo>
                        <a:lnTo>
                          <a:pt x="130" y="27"/>
                        </a:lnTo>
                        <a:lnTo>
                          <a:pt x="132" y="25"/>
                        </a:lnTo>
                        <a:lnTo>
                          <a:pt x="130" y="14"/>
                        </a:lnTo>
                        <a:lnTo>
                          <a:pt x="129" y="10"/>
                        </a:lnTo>
                        <a:lnTo>
                          <a:pt x="129" y="9"/>
                        </a:lnTo>
                        <a:lnTo>
                          <a:pt x="129" y="4"/>
                        </a:lnTo>
                        <a:lnTo>
                          <a:pt x="127" y="0"/>
                        </a:lnTo>
                        <a:lnTo>
                          <a:pt x="124" y="1"/>
                        </a:lnTo>
                        <a:lnTo>
                          <a:pt x="118" y="1"/>
                        </a:lnTo>
                        <a:lnTo>
                          <a:pt x="116" y="9"/>
                        </a:lnTo>
                        <a:lnTo>
                          <a:pt x="114" y="9"/>
                        </a:lnTo>
                        <a:lnTo>
                          <a:pt x="108" y="5"/>
                        </a:lnTo>
                        <a:lnTo>
                          <a:pt x="106" y="5"/>
                        </a:lnTo>
                        <a:lnTo>
                          <a:pt x="103" y="9"/>
                        </a:lnTo>
                        <a:lnTo>
                          <a:pt x="103" y="12"/>
                        </a:lnTo>
                        <a:lnTo>
                          <a:pt x="105" y="18"/>
                        </a:lnTo>
                        <a:lnTo>
                          <a:pt x="103" y="21"/>
                        </a:lnTo>
                        <a:lnTo>
                          <a:pt x="92" y="21"/>
                        </a:lnTo>
                        <a:lnTo>
                          <a:pt x="86" y="23"/>
                        </a:lnTo>
                        <a:lnTo>
                          <a:pt x="86" y="27"/>
                        </a:lnTo>
                        <a:lnTo>
                          <a:pt x="84" y="32"/>
                        </a:lnTo>
                        <a:lnTo>
                          <a:pt x="80" y="32"/>
                        </a:lnTo>
                        <a:lnTo>
                          <a:pt x="76" y="30"/>
                        </a:lnTo>
                        <a:lnTo>
                          <a:pt x="73" y="25"/>
                        </a:lnTo>
                        <a:lnTo>
                          <a:pt x="70" y="25"/>
                        </a:lnTo>
                        <a:lnTo>
                          <a:pt x="68" y="26"/>
                        </a:lnTo>
                        <a:lnTo>
                          <a:pt x="66" y="27"/>
                        </a:lnTo>
                        <a:lnTo>
                          <a:pt x="65" y="27"/>
                        </a:lnTo>
                        <a:lnTo>
                          <a:pt x="64" y="21"/>
                        </a:lnTo>
                        <a:lnTo>
                          <a:pt x="60" y="16"/>
                        </a:lnTo>
                        <a:lnTo>
                          <a:pt x="57" y="15"/>
                        </a:lnTo>
                        <a:lnTo>
                          <a:pt x="53" y="18"/>
                        </a:lnTo>
                        <a:lnTo>
                          <a:pt x="48" y="17"/>
                        </a:lnTo>
                        <a:lnTo>
                          <a:pt x="46" y="18"/>
                        </a:lnTo>
                        <a:lnTo>
                          <a:pt x="43" y="21"/>
                        </a:lnTo>
                        <a:lnTo>
                          <a:pt x="42" y="25"/>
                        </a:lnTo>
                        <a:lnTo>
                          <a:pt x="39" y="28"/>
                        </a:lnTo>
                        <a:lnTo>
                          <a:pt x="33" y="30"/>
                        </a:lnTo>
                        <a:lnTo>
                          <a:pt x="32" y="32"/>
                        </a:lnTo>
                        <a:lnTo>
                          <a:pt x="26" y="39"/>
                        </a:lnTo>
                        <a:lnTo>
                          <a:pt x="25" y="42"/>
                        </a:lnTo>
                        <a:lnTo>
                          <a:pt x="22" y="44"/>
                        </a:lnTo>
                        <a:lnTo>
                          <a:pt x="24" y="53"/>
                        </a:lnTo>
                        <a:lnTo>
                          <a:pt x="24" y="70"/>
                        </a:lnTo>
                        <a:lnTo>
                          <a:pt x="24" y="73"/>
                        </a:lnTo>
                        <a:lnTo>
                          <a:pt x="31" y="76"/>
                        </a:lnTo>
                        <a:lnTo>
                          <a:pt x="38" y="76"/>
                        </a:lnTo>
                        <a:lnTo>
                          <a:pt x="37" y="90"/>
                        </a:lnTo>
                        <a:lnTo>
                          <a:pt x="41" y="89"/>
                        </a:lnTo>
                        <a:lnTo>
                          <a:pt x="44" y="93"/>
                        </a:lnTo>
                        <a:lnTo>
                          <a:pt x="44" y="96"/>
                        </a:lnTo>
                        <a:lnTo>
                          <a:pt x="42" y="97"/>
                        </a:lnTo>
                        <a:lnTo>
                          <a:pt x="38" y="101"/>
                        </a:lnTo>
                        <a:lnTo>
                          <a:pt x="35" y="109"/>
                        </a:lnTo>
                        <a:lnTo>
                          <a:pt x="37" y="109"/>
                        </a:lnTo>
                        <a:lnTo>
                          <a:pt x="41" y="111"/>
                        </a:lnTo>
                        <a:lnTo>
                          <a:pt x="44" y="111"/>
                        </a:lnTo>
                        <a:lnTo>
                          <a:pt x="44" y="117"/>
                        </a:lnTo>
                        <a:lnTo>
                          <a:pt x="47" y="120"/>
                        </a:lnTo>
                        <a:lnTo>
                          <a:pt x="47" y="125"/>
                        </a:lnTo>
                        <a:lnTo>
                          <a:pt x="48" y="134"/>
                        </a:lnTo>
                        <a:lnTo>
                          <a:pt x="47" y="134"/>
                        </a:lnTo>
                        <a:lnTo>
                          <a:pt x="44" y="128"/>
                        </a:lnTo>
                        <a:lnTo>
                          <a:pt x="41" y="129"/>
                        </a:lnTo>
                        <a:lnTo>
                          <a:pt x="38" y="129"/>
                        </a:lnTo>
                        <a:lnTo>
                          <a:pt x="35" y="125"/>
                        </a:lnTo>
                        <a:lnTo>
                          <a:pt x="26" y="124"/>
                        </a:lnTo>
                        <a:lnTo>
                          <a:pt x="17" y="128"/>
                        </a:lnTo>
                        <a:lnTo>
                          <a:pt x="17" y="129"/>
                        </a:lnTo>
                        <a:lnTo>
                          <a:pt x="19" y="129"/>
                        </a:lnTo>
                        <a:lnTo>
                          <a:pt x="20" y="134"/>
                        </a:lnTo>
                        <a:lnTo>
                          <a:pt x="17" y="139"/>
                        </a:lnTo>
                        <a:lnTo>
                          <a:pt x="20" y="141"/>
                        </a:lnTo>
                        <a:lnTo>
                          <a:pt x="26" y="141"/>
                        </a:lnTo>
                        <a:lnTo>
                          <a:pt x="30" y="141"/>
                        </a:lnTo>
                        <a:lnTo>
                          <a:pt x="31" y="145"/>
                        </a:lnTo>
                        <a:lnTo>
                          <a:pt x="30" y="147"/>
                        </a:lnTo>
                        <a:lnTo>
                          <a:pt x="32" y="147"/>
                        </a:lnTo>
                        <a:lnTo>
                          <a:pt x="33" y="150"/>
                        </a:lnTo>
                        <a:lnTo>
                          <a:pt x="28" y="152"/>
                        </a:lnTo>
                        <a:lnTo>
                          <a:pt x="27" y="157"/>
                        </a:lnTo>
                        <a:lnTo>
                          <a:pt x="27" y="166"/>
                        </a:lnTo>
                        <a:lnTo>
                          <a:pt x="22" y="172"/>
                        </a:lnTo>
                        <a:lnTo>
                          <a:pt x="22" y="177"/>
                        </a:lnTo>
                        <a:lnTo>
                          <a:pt x="9" y="176"/>
                        </a:lnTo>
                        <a:lnTo>
                          <a:pt x="5" y="178"/>
                        </a:lnTo>
                        <a:lnTo>
                          <a:pt x="6" y="183"/>
                        </a:lnTo>
                        <a:lnTo>
                          <a:pt x="8" y="192"/>
                        </a:lnTo>
                        <a:lnTo>
                          <a:pt x="10" y="193"/>
                        </a:lnTo>
                        <a:lnTo>
                          <a:pt x="12" y="197"/>
                        </a:lnTo>
                        <a:lnTo>
                          <a:pt x="12" y="198"/>
                        </a:lnTo>
                        <a:lnTo>
                          <a:pt x="17" y="202"/>
                        </a:lnTo>
                        <a:lnTo>
                          <a:pt x="14" y="217"/>
                        </a:lnTo>
                        <a:lnTo>
                          <a:pt x="12" y="220"/>
                        </a:lnTo>
                        <a:lnTo>
                          <a:pt x="4" y="227"/>
                        </a:lnTo>
                        <a:lnTo>
                          <a:pt x="0" y="233"/>
                        </a:lnTo>
                        <a:lnTo>
                          <a:pt x="0" y="235"/>
                        </a:lnTo>
                        <a:lnTo>
                          <a:pt x="3" y="235"/>
                        </a:lnTo>
                        <a:lnTo>
                          <a:pt x="4" y="237"/>
                        </a:lnTo>
                        <a:lnTo>
                          <a:pt x="8" y="236"/>
                        </a:lnTo>
                        <a:lnTo>
                          <a:pt x="9" y="238"/>
                        </a:lnTo>
                        <a:lnTo>
                          <a:pt x="11" y="240"/>
                        </a:lnTo>
                        <a:lnTo>
                          <a:pt x="15" y="240"/>
                        </a:lnTo>
                        <a:lnTo>
                          <a:pt x="22" y="245"/>
                        </a:lnTo>
                        <a:lnTo>
                          <a:pt x="32" y="245"/>
                        </a:lnTo>
                        <a:lnTo>
                          <a:pt x="35" y="245"/>
                        </a:lnTo>
                        <a:lnTo>
                          <a:pt x="38" y="252"/>
                        </a:lnTo>
                        <a:lnTo>
                          <a:pt x="38" y="256"/>
                        </a:lnTo>
                        <a:lnTo>
                          <a:pt x="41" y="257"/>
                        </a:lnTo>
                        <a:lnTo>
                          <a:pt x="44" y="262"/>
                        </a:lnTo>
                        <a:lnTo>
                          <a:pt x="46" y="265"/>
                        </a:lnTo>
                        <a:lnTo>
                          <a:pt x="52" y="267"/>
                        </a:lnTo>
                        <a:lnTo>
                          <a:pt x="57" y="272"/>
                        </a:lnTo>
                        <a:lnTo>
                          <a:pt x="63" y="270"/>
                        </a:lnTo>
                        <a:lnTo>
                          <a:pt x="63" y="275"/>
                        </a:lnTo>
                        <a:lnTo>
                          <a:pt x="65" y="280"/>
                        </a:lnTo>
                        <a:lnTo>
                          <a:pt x="66" y="286"/>
                        </a:lnTo>
                        <a:lnTo>
                          <a:pt x="64" y="294"/>
                        </a:lnTo>
                        <a:lnTo>
                          <a:pt x="66" y="299"/>
                        </a:lnTo>
                        <a:lnTo>
                          <a:pt x="66" y="300"/>
                        </a:lnTo>
                        <a:lnTo>
                          <a:pt x="62" y="300"/>
                        </a:lnTo>
                        <a:lnTo>
                          <a:pt x="60" y="303"/>
                        </a:lnTo>
                        <a:lnTo>
                          <a:pt x="60" y="311"/>
                        </a:lnTo>
                        <a:lnTo>
                          <a:pt x="57" y="311"/>
                        </a:lnTo>
                        <a:lnTo>
                          <a:pt x="57" y="313"/>
                        </a:lnTo>
                        <a:lnTo>
                          <a:pt x="57" y="318"/>
                        </a:lnTo>
                        <a:lnTo>
                          <a:pt x="55" y="323"/>
                        </a:lnTo>
                        <a:lnTo>
                          <a:pt x="57" y="350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603" name="Freeform 55"/>
                  <p:cNvSpPr>
                    <a:spLocks/>
                  </p:cNvSpPr>
                  <p:nvPr/>
                </p:nvSpPr>
                <p:spPr bwMode="gray">
                  <a:xfrm>
                    <a:off x="2514" y="2364"/>
                    <a:ext cx="24" cy="57"/>
                  </a:xfrm>
                  <a:custGeom>
                    <a:avLst/>
                    <a:gdLst>
                      <a:gd name="T0" fmla="*/ 3 w 120"/>
                      <a:gd name="T1" fmla="*/ 12 h 281"/>
                      <a:gd name="T2" fmla="*/ 3 w 120"/>
                      <a:gd name="T3" fmla="*/ 12 h 281"/>
                      <a:gd name="T4" fmla="*/ 2 w 120"/>
                      <a:gd name="T5" fmla="*/ 11 h 281"/>
                      <a:gd name="T6" fmla="*/ 2 w 120"/>
                      <a:gd name="T7" fmla="*/ 10 h 281"/>
                      <a:gd name="T8" fmla="*/ 2 w 120"/>
                      <a:gd name="T9" fmla="*/ 10 h 281"/>
                      <a:gd name="T10" fmla="*/ 2 w 120"/>
                      <a:gd name="T11" fmla="*/ 10 h 281"/>
                      <a:gd name="T12" fmla="*/ 2 w 120"/>
                      <a:gd name="T13" fmla="*/ 9 h 281"/>
                      <a:gd name="T14" fmla="*/ 2 w 120"/>
                      <a:gd name="T15" fmla="*/ 8 h 281"/>
                      <a:gd name="T16" fmla="*/ 2 w 120"/>
                      <a:gd name="T17" fmla="*/ 6 h 281"/>
                      <a:gd name="T18" fmla="*/ 2 w 120"/>
                      <a:gd name="T19" fmla="*/ 5 h 281"/>
                      <a:gd name="T20" fmla="*/ 2 w 120"/>
                      <a:gd name="T21" fmla="*/ 4 h 281"/>
                      <a:gd name="T22" fmla="*/ 2 w 120"/>
                      <a:gd name="T23" fmla="*/ 4 h 281"/>
                      <a:gd name="T24" fmla="*/ 1 w 120"/>
                      <a:gd name="T25" fmla="*/ 4 h 281"/>
                      <a:gd name="T26" fmla="*/ 1 w 120"/>
                      <a:gd name="T27" fmla="*/ 3 h 281"/>
                      <a:gd name="T28" fmla="*/ 1 w 120"/>
                      <a:gd name="T29" fmla="*/ 2 h 281"/>
                      <a:gd name="T30" fmla="*/ 1 w 120"/>
                      <a:gd name="T31" fmla="*/ 2 h 281"/>
                      <a:gd name="T32" fmla="*/ 1 w 120"/>
                      <a:gd name="T33" fmla="*/ 2 h 281"/>
                      <a:gd name="T34" fmla="*/ 1 w 120"/>
                      <a:gd name="T35" fmla="*/ 1 h 281"/>
                      <a:gd name="T36" fmla="*/ 0 w 120"/>
                      <a:gd name="T37" fmla="*/ 1 h 281"/>
                      <a:gd name="T38" fmla="*/ 0 w 120"/>
                      <a:gd name="T39" fmla="*/ 1 h 281"/>
                      <a:gd name="T40" fmla="*/ 0 w 120"/>
                      <a:gd name="T41" fmla="*/ 1 h 281"/>
                      <a:gd name="T42" fmla="*/ 0 w 120"/>
                      <a:gd name="T43" fmla="*/ 0 h 281"/>
                      <a:gd name="T44" fmla="*/ 0 w 120"/>
                      <a:gd name="T45" fmla="*/ 0 h 281"/>
                      <a:gd name="T46" fmla="*/ 0 w 120"/>
                      <a:gd name="T47" fmla="*/ 0 h 281"/>
                      <a:gd name="T48" fmla="*/ 0 w 120"/>
                      <a:gd name="T49" fmla="*/ 0 h 281"/>
                      <a:gd name="T50" fmla="*/ 0 w 120"/>
                      <a:gd name="T51" fmla="*/ 0 h 281"/>
                      <a:gd name="T52" fmla="*/ 0 w 120"/>
                      <a:gd name="T53" fmla="*/ 0 h 281"/>
                      <a:gd name="T54" fmla="*/ 0 w 120"/>
                      <a:gd name="T55" fmla="*/ 0 h 281"/>
                      <a:gd name="T56" fmla="*/ 1 w 120"/>
                      <a:gd name="T57" fmla="*/ 0 h 281"/>
                      <a:gd name="T58" fmla="*/ 2 w 120"/>
                      <a:gd name="T59" fmla="*/ 0 h 281"/>
                      <a:gd name="T60" fmla="*/ 2 w 120"/>
                      <a:gd name="T61" fmla="*/ 0 h 281"/>
                      <a:gd name="T62" fmla="*/ 2 w 120"/>
                      <a:gd name="T63" fmla="*/ 0 h 281"/>
                      <a:gd name="T64" fmla="*/ 2 w 120"/>
                      <a:gd name="T65" fmla="*/ 0 h 281"/>
                      <a:gd name="T66" fmla="*/ 2 w 120"/>
                      <a:gd name="T67" fmla="*/ 0 h 281"/>
                      <a:gd name="T68" fmla="*/ 2 w 120"/>
                      <a:gd name="T69" fmla="*/ 0 h 281"/>
                      <a:gd name="T70" fmla="*/ 2 w 120"/>
                      <a:gd name="T71" fmla="*/ 1 h 281"/>
                      <a:gd name="T72" fmla="*/ 2 w 120"/>
                      <a:gd name="T73" fmla="*/ 1 h 281"/>
                      <a:gd name="T74" fmla="*/ 2 w 120"/>
                      <a:gd name="T75" fmla="*/ 1 h 281"/>
                      <a:gd name="T76" fmla="*/ 2 w 120"/>
                      <a:gd name="T77" fmla="*/ 2 h 281"/>
                      <a:gd name="T78" fmla="*/ 2 w 120"/>
                      <a:gd name="T79" fmla="*/ 2 h 281"/>
                      <a:gd name="T80" fmla="*/ 3 w 120"/>
                      <a:gd name="T81" fmla="*/ 2 h 281"/>
                      <a:gd name="T82" fmla="*/ 3 w 120"/>
                      <a:gd name="T83" fmla="*/ 2 h 281"/>
                      <a:gd name="T84" fmla="*/ 3 w 120"/>
                      <a:gd name="T85" fmla="*/ 2 h 281"/>
                      <a:gd name="T86" fmla="*/ 3 w 120"/>
                      <a:gd name="T87" fmla="*/ 3 h 281"/>
                      <a:gd name="T88" fmla="*/ 4 w 120"/>
                      <a:gd name="T89" fmla="*/ 4 h 281"/>
                      <a:gd name="T90" fmla="*/ 4 w 120"/>
                      <a:gd name="T91" fmla="*/ 4 h 281"/>
                      <a:gd name="T92" fmla="*/ 4 w 120"/>
                      <a:gd name="T93" fmla="*/ 5 h 281"/>
                      <a:gd name="T94" fmla="*/ 4 w 120"/>
                      <a:gd name="T95" fmla="*/ 5 h 281"/>
                      <a:gd name="T96" fmla="*/ 4 w 120"/>
                      <a:gd name="T97" fmla="*/ 5 h 281"/>
                      <a:gd name="T98" fmla="*/ 4 w 120"/>
                      <a:gd name="T99" fmla="*/ 6 h 281"/>
                      <a:gd name="T100" fmla="*/ 4 w 120"/>
                      <a:gd name="T101" fmla="*/ 7 h 281"/>
                      <a:gd name="T102" fmla="*/ 4 w 120"/>
                      <a:gd name="T103" fmla="*/ 9 h 281"/>
                      <a:gd name="T104" fmla="*/ 4 w 120"/>
                      <a:gd name="T105" fmla="*/ 10 h 281"/>
                      <a:gd name="T106" fmla="*/ 4 w 120"/>
                      <a:gd name="T107" fmla="*/ 10 h 281"/>
                      <a:gd name="T108" fmla="*/ 4 w 120"/>
                      <a:gd name="T109" fmla="*/ 11 h 281"/>
                      <a:gd name="T110" fmla="*/ 4 w 120"/>
                      <a:gd name="T111" fmla="*/ 11 h 281"/>
                      <a:gd name="T112" fmla="*/ 5 w 120"/>
                      <a:gd name="T113" fmla="*/ 11 h 281"/>
                      <a:gd name="T114" fmla="*/ 5 w 120"/>
                      <a:gd name="T115" fmla="*/ 11 h 281"/>
                      <a:gd name="T116" fmla="*/ 4 w 120"/>
                      <a:gd name="T117" fmla="*/ 11 h 281"/>
                      <a:gd name="T118" fmla="*/ 3 w 120"/>
                      <a:gd name="T119" fmla="*/ 12 h 281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w 120"/>
                      <a:gd name="T181" fmla="*/ 0 h 281"/>
                      <a:gd name="T182" fmla="*/ 120 w 120"/>
                      <a:gd name="T183" fmla="*/ 281 h 281"/>
                    </a:gdLst>
                    <a:ahLst/>
                    <a:cxnLst>
                      <a:cxn ang="T120">
                        <a:pos x="T0" y="T1"/>
                      </a:cxn>
                      <a:cxn ang="T121">
                        <a:pos x="T2" y="T3"/>
                      </a:cxn>
                      <a:cxn ang="T122">
                        <a:pos x="T4" y="T5"/>
                      </a:cxn>
                      <a:cxn ang="T123">
                        <a:pos x="T6" y="T7"/>
                      </a:cxn>
                      <a:cxn ang="T124">
                        <a:pos x="T8" y="T9"/>
                      </a:cxn>
                      <a:cxn ang="T125">
                        <a:pos x="T10" y="T11"/>
                      </a:cxn>
                      <a:cxn ang="T126">
                        <a:pos x="T12" y="T13"/>
                      </a:cxn>
                      <a:cxn ang="T127">
                        <a:pos x="T14" y="T15"/>
                      </a:cxn>
                      <a:cxn ang="T128">
                        <a:pos x="T16" y="T17"/>
                      </a:cxn>
                      <a:cxn ang="T129">
                        <a:pos x="T18" y="T19"/>
                      </a:cxn>
                      <a:cxn ang="T130">
                        <a:pos x="T20" y="T21"/>
                      </a:cxn>
                      <a:cxn ang="T131">
                        <a:pos x="T22" y="T23"/>
                      </a:cxn>
                      <a:cxn ang="T132">
                        <a:pos x="T24" y="T25"/>
                      </a:cxn>
                      <a:cxn ang="T133">
                        <a:pos x="T26" y="T27"/>
                      </a:cxn>
                      <a:cxn ang="T134">
                        <a:pos x="T28" y="T29"/>
                      </a:cxn>
                      <a:cxn ang="T135">
                        <a:pos x="T30" y="T31"/>
                      </a:cxn>
                      <a:cxn ang="T136">
                        <a:pos x="T32" y="T33"/>
                      </a:cxn>
                      <a:cxn ang="T137">
                        <a:pos x="T34" y="T35"/>
                      </a:cxn>
                      <a:cxn ang="T138">
                        <a:pos x="T36" y="T37"/>
                      </a:cxn>
                      <a:cxn ang="T139">
                        <a:pos x="T38" y="T39"/>
                      </a:cxn>
                      <a:cxn ang="T140">
                        <a:pos x="T40" y="T41"/>
                      </a:cxn>
                      <a:cxn ang="T141">
                        <a:pos x="T42" y="T43"/>
                      </a:cxn>
                      <a:cxn ang="T142">
                        <a:pos x="T44" y="T45"/>
                      </a:cxn>
                      <a:cxn ang="T143">
                        <a:pos x="T46" y="T47"/>
                      </a:cxn>
                      <a:cxn ang="T144">
                        <a:pos x="T48" y="T49"/>
                      </a:cxn>
                      <a:cxn ang="T145">
                        <a:pos x="T50" y="T51"/>
                      </a:cxn>
                      <a:cxn ang="T146">
                        <a:pos x="T52" y="T53"/>
                      </a:cxn>
                      <a:cxn ang="T147">
                        <a:pos x="T54" y="T55"/>
                      </a:cxn>
                      <a:cxn ang="T148">
                        <a:pos x="T56" y="T57"/>
                      </a:cxn>
                      <a:cxn ang="T149">
                        <a:pos x="T58" y="T59"/>
                      </a:cxn>
                      <a:cxn ang="T150">
                        <a:pos x="T60" y="T61"/>
                      </a:cxn>
                      <a:cxn ang="T151">
                        <a:pos x="T62" y="T63"/>
                      </a:cxn>
                      <a:cxn ang="T152">
                        <a:pos x="T64" y="T65"/>
                      </a:cxn>
                      <a:cxn ang="T153">
                        <a:pos x="T66" y="T67"/>
                      </a:cxn>
                      <a:cxn ang="T154">
                        <a:pos x="T68" y="T69"/>
                      </a:cxn>
                      <a:cxn ang="T155">
                        <a:pos x="T70" y="T71"/>
                      </a:cxn>
                      <a:cxn ang="T156">
                        <a:pos x="T72" y="T73"/>
                      </a:cxn>
                      <a:cxn ang="T157">
                        <a:pos x="T74" y="T75"/>
                      </a:cxn>
                      <a:cxn ang="T158">
                        <a:pos x="T76" y="T77"/>
                      </a:cxn>
                      <a:cxn ang="T159">
                        <a:pos x="T78" y="T79"/>
                      </a:cxn>
                      <a:cxn ang="T160">
                        <a:pos x="T80" y="T81"/>
                      </a:cxn>
                      <a:cxn ang="T161">
                        <a:pos x="T82" y="T83"/>
                      </a:cxn>
                      <a:cxn ang="T162">
                        <a:pos x="T84" y="T85"/>
                      </a:cxn>
                      <a:cxn ang="T163">
                        <a:pos x="T86" y="T87"/>
                      </a:cxn>
                      <a:cxn ang="T164">
                        <a:pos x="T88" y="T89"/>
                      </a:cxn>
                      <a:cxn ang="T165">
                        <a:pos x="T90" y="T91"/>
                      </a:cxn>
                      <a:cxn ang="T166">
                        <a:pos x="T92" y="T93"/>
                      </a:cxn>
                      <a:cxn ang="T167">
                        <a:pos x="T94" y="T95"/>
                      </a:cxn>
                      <a:cxn ang="T168">
                        <a:pos x="T96" y="T97"/>
                      </a:cxn>
                      <a:cxn ang="T169">
                        <a:pos x="T98" y="T99"/>
                      </a:cxn>
                      <a:cxn ang="T170">
                        <a:pos x="T100" y="T101"/>
                      </a:cxn>
                      <a:cxn ang="T171">
                        <a:pos x="T102" y="T103"/>
                      </a:cxn>
                      <a:cxn ang="T172">
                        <a:pos x="T104" y="T105"/>
                      </a:cxn>
                      <a:cxn ang="T173">
                        <a:pos x="T106" y="T107"/>
                      </a:cxn>
                      <a:cxn ang="T174">
                        <a:pos x="T108" y="T109"/>
                      </a:cxn>
                      <a:cxn ang="T175">
                        <a:pos x="T110" y="T111"/>
                      </a:cxn>
                      <a:cxn ang="T176">
                        <a:pos x="T112" y="T113"/>
                      </a:cxn>
                      <a:cxn ang="T177">
                        <a:pos x="T114" y="T115"/>
                      </a:cxn>
                      <a:cxn ang="T178">
                        <a:pos x="T116" y="T117"/>
                      </a:cxn>
                      <a:cxn ang="T179">
                        <a:pos x="T118" y="T119"/>
                      </a:cxn>
                    </a:cxnLst>
                    <a:rect l="T180" t="T181" r="T182" b="T183"/>
                    <a:pathLst>
                      <a:path w="120" h="281">
                        <a:moveTo>
                          <a:pt x="80" y="281"/>
                        </a:moveTo>
                        <a:lnTo>
                          <a:pt x="77" y="279"/>
                        </a:lnTo>
                        <a:lnTo>
                          <a:pt x="61" y="262"/>
                        </a:lnTo>
                        <a:lnTo>
                          <a:pt x="53" y="252"/>
                        </a:lnTo>
                        <a:lnTo>
                          <a:pt x="48" y="241"/>
                        </a:lnTo>
                        <a:lnTo>
                          <a:pt x="47" y="231"/>
                        </a:lnTo>
                        <a:lnTo>
                          <a:pt x="46" y="209"/>
                        </a:lnTo>
                        <a:lnTo>
                          <a:pt x="47" y="188"/>
                        </a:lnTo>
                        <a:lnTo>
                          <a:pt x="43" y="148"/>
                        </a:lnTo>
                        <a:lnTo>
                          <a:pt x="42" y="114"/>
                        </a:lnTo>
                        <a:lnTo>
                          <a:pt x="41" y="101"/>
                        </a:lnTo>
                        <a:lnTo>
                          <a:pt x="38" y="95"/>
                        </a:lnTo>
                        <a:lnTo>
                          <a:pt x="34" y="89"/>
                        </a:lnTo>
                        <a:lnTo>
                          <a:pt x="32" y="68"/>
                        </a:lnTo>
                        <a:lnTo>
                          <a:pt x="29" y="53"/>
                        </a:lnTo>
                        <a:lnTo>
                          <a:pt x="25" y="48"/>
                        </a:lnTo>
                        <a:lnTo>
                          <a:pt x="18" y="41"/>
                        </a:lnTo>
                        <a:lnTo>
                          <a:pt x="14" y="33"/>
                        </a:lnTo>
                        <a:lnTo>
                          <a:pt x="5" y="27"/>
                        </a:lnTo>
                        <a:lnTo>
                          <a:pt x="4" y="21"/>
                        </a:lnTo>
                        <a:lnTo>
                          <a:pt x="8" y="16"/>
                        </a:lnTo>
                        <a:lnTo>
                          <a:pt x="8" y="11"/>
                        </a:lnTo>
                        <a:lnTo>
                          <a:pt x="11" y="6"/>
                        </a:lnTo>
                        <a:lnTo>
                          <a:pt x="10" y="5"/>
                        </a:lnTo>
                        <a:lnTo>
                          <a:pt x="2" y="4"/>
                        </a:lnTo>
                        <a:lnTo>
                          <a:pt x="0" y="3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35" y="6"/>
                        </a:lnTo>
                        <a:lnTo>
                          <a:pt x="38" y="11"/>
                        </a:lnTo>
                        <a:lnTo>
                          <a:pt x="42" y="11"/>
                        </a:lnTo>
                        <a:lnTo>
                          <a:pt x="45" y="8"/>
                        </a:lnTo>
                        <a:lnTo>
                          <a:pt x="59" y="9"/>
                        </a:lnTo>
                        <a:lnTo>
                          <a:pt x="61" y="8"/>
                        </a:lnTo>
                        <a:lnTo>
                          <a:pt x="58" y="10"/>
                        </a:lnTo>
                        <a:lnTo>
                          <a:pt x="57" y="17"/>
                        </a:lnTo>
                        <a:lnTo>
                          <a:pt x="53" y="25"/>
                        </a:lnTo>
                        <a:lnTo>
                          <a:pt x="52" y="35"/>
                        </a:lnTo>
                        <a:lnTo>
                          <a:pt x="52" y="43"/>
                        </a:lnTo>
                        <a:lnTo>
                          <a:pt x="57" y="47"/>
                        </a:lnTo>
                        <a:lnTo>
                          <a:pt x="63" y="51"/>
                        </a:lnTo>
                        <a:lnTo>
                          <a:pt x="67" y="51"/>
                        </a:lnTo>
                        <a:lnTo>
                          <a:pt x="72" y="53"/>
                        </a:lnTo>
                        <a:lnTo>
                          <a:pt x="84" y="69"/>
                        </a:lnTo>
                        <a:lnTo>
                          <a:pt x="93" y="89"/>
                        </a:lnTo>
                        <a:lnTo>
                          <a:pt x="99" y="110"/>
                        </a:lnTo>
                        <a:lnTo>
                          <a:pt x="102" y="119"/>
                        </a:lnTo>
                        <a:lnTo>
                          <a:pt x="104" y="125"/>
                        </a:lnTo>
                        <a:lnTo>
                          <a:pt x="106" y="134"/>
                        </a:lnTo>
                        <a:lnTo>
                          <a:pt x="108" y="145"/>
                        </a:lnTo>
                        <a:lnTo>
                          <a:pt x="110" y="164"/>
                        </a:lnTo>
                        <a:lnTo>
                          <a:pt x="110" y="215"/>
                        </a:lnTo>
                        <a:lnTo>
                          <a:pt x="106" y="238"/>
                        </a:lnTo>
                        <a:lnTo>
                          <a:pt x="106" y="248"/>
                        </a:lnTo>
                        <a:lnTo>
                          <a:pt x="110" y="261"/>
                        </a:lnTo>
                        <a:lnTo>
                          <a:pt x="112" y="268"/>
                        </a:lnTo>
                        <a:lnTo>
                          <a:pt x="113" y="269"/>
                        </a:lnTo>
                        <a:lnTo>
                          <a:pt x="120" y="270"/>
                        </a:lnTo>
                        <a:lnTo>
                          <a:pt x="99" y="275"/>
                        </a:lnTo>
                        <a:lnTo>
                          <a:pt x="80" y="281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604" name="Freeform 56"/>
                  <p:cNvSpPr>
                    <a:spLocks/>
                  </p:cNvSpPr>
                  <p:nvPr/>
                </p:nvSpPr>
                <p:spPr bwMode="gray">
                  <a:xfrm>
                    <a:off x="2650" y="2429"/>
                    <a:ext cx="209" cy="204"/>
                  </a:xfrm>
                  <a:custGeom>
                    <a:avLst/>
                    <a:gdLst>
                      <a:gd name="T0" fmla="*/ 38 w 1045"/>
                      <a:gd name="T1" fmla="*/ 27 h 1018"/>
                      <a:gd name="T2" fmla="*/ 38 w 1045"/>
                      <a:gd name="T3" fmla="*/ 24 h 1018"/>
                      <a:gd name="T4" fmla="*/ 37 w 1045"/>
                      <a:gd name="T5" fmla="*/ 21 h 1018"/>
                      <a:gd name="T6" fmla="*/ 37 w 1045"/>
                      <a:gd name="T7" fmla="*/ 20 h 1018"/>
                      <a:gd name="T8" fmla="*/ 37 w 1045"/>
                      <a:gd name="T9" fmla="*/ 17 h 1018"/>
                      <a:gd name="T10" fmla="*/ 37 w 1045"/>
                      <a:gd name="T11" fmla="*/ 16 h 1018"/>
                      <a:gd name="T12" fmla="*/ 38 w 1045"/>
                      <a:gd name="T13" fmla="*/ 14 h 1018"/>
                      <a:gd name="T14" fmla="*/ 39 w 1045"/>
                      <a:gd name="T15" fmla="*/ 10 h 1018"/>
                      <a:gd name="T16" fmla="*/ 41 w 1045"/>
                      <a:gd name="T17" fmla="*/ 8 h 1018"/>
                      <a:gd name="T18" fmla="*/ 42 w 1045"/>
                      <a:gd name="T19" fmla="*/ 7 h 1018"/>
                      <a:gd name="T20" fmla="*/ 41 w 1045"/>
                      <a:gd name="T21" fmla="*/ 6 h 1018"/>
                      <a:gd name="T22" fmla="*/ 41 w 1045"/>
                      <a:gd name="T23" fmla="*/ 4 h 1018"/>
                      <a:gd name="T24" fmla="*/ 38 w 1045"/>
                      <a:gd name="T25" fmla="*/ 1 h 1018"/>
                      <a:gd name="T26" fmla="*/ 36 w 1045"/>
                      <a:gd name="T27" fmla="*/ 2 h 1018"/>
                      <a:gd name="T28" fmla="*/ 34 w 1045"/>
                      <a:gd name="T29" fmla="*/ 0 h 1018"/>
                      <a:gd name="T30" fmla="*/ 31 w 1045"/>
                      <a:gd name="T31" fmla="*/ 0 h 1018"/>
                      <a:gd name="T32" fmla="*/ 28 w 1045"/>
                      <a:gd name="T33" fmla="*/ 1 h 1018"/>
                      <a:gd name="T34" fmla="*/ 27 w 1045"/>
                      <a:gd name="T35" fmla="*/ 0 h 1018"/>
                      <a:gd name="T36" fmla="*/ 24 w 1045"/>
                      <a:gd name="T37" fmla="*/ 1 h 1018"/>
                      <a:gd name="T38" fmla="*/ 20 w 1045"/>
                      <a:gd name="T39" fmla="*/ 2 h 1018"/>
                      <a:gd name="T40" fmla="*/ 17 w 1045"/>
                      <a:gd name="T41" fmla="*/ 1 h 1018"/>
                      <a:gd name="T42" fmla="*/ 15 w 1045"/>
                      <a:gd name="T43" fmla="*/ 1 h 1018"/>
                      <a:gd name="T44" fmla="*/ 14 w 1045"/>
                      <a:gd name="T45" fmla="*/ 3 h 1018"/>
                      <a:gd name="T46" fmla="*/ 13 w 1045"/>
                      <a:gd name="T47" fmla="*/ 6 h 1018"/>
                      <a:gd name="T48" fmla="*/ 12 w 1045"/>
                      <a:gd name="T49" fmla="*/ 13 h 1018"/>
                      <a:gd name="T50" fmla="*/ 9 w 1045"/>
                      <a:gd name="T51" fmla="*/ 17 h 1018"/>
                      <a:gd name="T52" fmla="*/ 7 w 1045"/>
                      <a:gd name="T53" fmla="*/ 21 h 1018"/>
                      <a:gd name="T54" fmla="*/ 4 w 1045"/>
                      <a:gd name="T55" fmla="*/ 21 h 1018"/>
                      <a:gd name="T56" fmla="*/ 3 w 1045"/>
                      <a:gd name="T57" fmla="*/ 22 h 1018"/>
                      <a:gd name="T58" fmla="*/ 1 w 1045"/>
                      <a:gd name="T59" fmla="*/ 22 h 1018"/>
                      <a:gd name="T60" fmla="*/ 0 w 1045"/>
                      <a:gd name="T61" fmla="*/ 25 h 1018"/>
                      <a:gd name="T62" fmla="*/ 0 w 1045"/>
                      <a:gd name="T63" fmla="*/ 25 h 1018"/>
                      <a:gd name="T64" fmla="*/ 3 w 1045"/>
                      <a:gd name="T65" fmla="*/ 24 h 1018"/>
                      <a:gd name="T66" fmla="*/ 6 w 1045"/>
                      <a:gd name="T67" fmla="*/ 24 h 1018"/>
                      <a:gd name="T68" fmla="*/ 9 w 1045"/>
                      <a:gd name="T69" fmla="*/ 25 h 1018"/>
                      <a:gd name="T70" fmla="*/ 10 w 1045"/>
                      <a:gd name="T71" fmla="*/ 26 h 1018"/>
                      <a:gd name="T72" fmla="*/ 12 w 1045"/>
                      <a:gd name="T73" fmla="*/ 29 h 1018"/>
                      <a:gd name="T74" fmla="*/ 15 w 1045"/>
                      <a:gd name="T75" fmla="*/ 29 h 1018"/>
                      <a:gd name="T76" fmla="*/ 16 w 1045"/>
                      <a:gd name="T77" fmla="*/ 28 h 1018"/>
                      <a:gd name="T78" fmla="*/ 18 w 1045"/>
                      <a:gd name="T79" fmla="*/ 27 h 1018"/>
                      <a:gd name="T80" fmla="*/ 21 w 1045"/>
                      <a:gd name="T81" fmla="*/ 28 h 1018"/>
                      <a:gd name="T82" fmla="*/ 21 w 1045"/>
                      <a:gd name="T83" fmla="*/ 31 h 1018"/>
                      <a:gd name="T84" fmla="*/ 22 w 1045"/>
                      <a:gd name="T85" fmla="*/ 34 h 1018"/>
                      <a:gd name="T86" fmla="*/ 21 w 1045"/>
                      <a:gd name="T87" fmla="*/ 36 h 1018"/>
                      <a:gd name="T88" fmla="*/ 22 w 1045"/>
                      <a:gd name="T89" fmla="*/ 36 h 1018"/>
                      <a:gd name="T90" fmla="*/ 25 w 1045"/>
                      <a:gd name="T91" fmla="*/ 36 h 1018"/>
                      <a:gd name="T92" fmla="*/ 26 w 1045"/>
                      <a:gd name="T93" fmla="*/ 35 h 1018"/>
                      <a:gd name="T94" fmla="*/ 27 w 1045"/>
                      <a:gd name="T95" fmla="*/ 36 h 1018"/>
                      <a:gd name="T96" fmla="*/ 28 w 1045"/>
                      <a:gd name="T97" fmla="*/ 36 h 1018"/>
                      <a:gd name="T98" fmla="*/ 29 w 1045"/>
                      <a:gd name="T99" fmla="*/ 37 h 1018"/>
                      <a:gd name="T100" fmla="*/ 32 w 1045"/>
                      <a:gd name="T101" fmla="*/ 37 h 1018"/>
                      <a:gd name="T102" fmla="*/ 34 w 1045"/>
                      <a:gd name="T103" fmla="*/ 39 h 1018"/>
                      <a:gd name="T104" fmla="*/ 36 w 1045"/>
                      <a:gd name="T105" fmla="*/ 40 h 1018"/>
                      <a:gd name="T106" fmla="*/ 38 w 1045"/>
                      <a:gd name="T107" fmla="*/ 40 h 1018"/>
                      <a:gd name="T108" fmla="*/ 38 w 1045"/>
                      <a:gd name="T109" fmla="*/ 41 h 1018"/>
                      <a:gd name="T110" fmla="*/ 38 w 1045"/>
                      <a:gd name="T111" fmla="*/ 38 h 1018"/>
                      <a:gd name="T112" fmla="*/ 36 w 1045"/>
                      <a:gd name="T113" fmla="*/ 38 h 1018"/>
                      <a:gd name="T114" fmla="*/ 36 w 1045"/>
                      <a:gd name="T115" fmla="*/ 37 h 1018"/>
                      <a:gd name="T116" fmla="*/ 36 w 1045"/>
                      <a:gd name="T117" fmla="*/ 33 h 1018"/>
                      <a:gd name="T118" fmla="*/ 37 w 1045"/>
                      <a:gd name="T119" fmla="*/ 31 h 1018"/>
                      <a:gd name="T120" fmla="*/ 38 w 1045"/>
                      <a:gd name="T121" fmla="*/ 30 h 1018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w 1045"/>
                      <a:gd name="T184" fmla="*/ 0 h 1018"/>
                      <a:gd name="T185" fmla="*/ 1045 w 1045"/>
                      <a:gd name="T186" fmla="*/ 1018 h 1018"/>
                    </a:gdLst>
                    <a:ahLst/>
                    <a:cxnLst>
                      <a:cxn ang="T122">
                        <a:pos x="T0" y="T1"/>
                      </a:cxn>
                      <a:cxn ang="T123">
                        <a:pos x="T2" y="T3"/>
                      </a:cxn>
                      <a:cxn ang="T124">
                        <a:pos x="T4" y="T5"/>
                      </a:cxn>
                      <a:cxn ang="T125">
                        <a:pos x="T6" y="T7"/>
                      </a:cxn>
                      <a:cxn ang="T126">
                        <a:pos x="T8" y="T9"/>
                      </a:cxn>
                      <a:cxn ang="T127">
                        <a:pos x="T10" y="T11"/>
                      </a:cxn>
                      <a:cxn ang="T128">
                        <a:pos x="T12" y="T13"/>
                      </a:cxn>
                      <a:cxn ang="T129">
                        <a:pos x="T14" y="T15"/>
                      </a:cxn>
                      <a:cxn ang="T130">
                        <a:pos x="T16" y="T17"/>
                      </a:cxn>
                      <a:cxn ang="T131">
                        <a:pos x="T18" y="T19"/>
                      </a:cxn>
                      <a:cxn ang="T132">
                        <a:pos x="T20" y="T21"/>
                      </a:cxn>
                      <a:cxn ang="T133">
                        <a:pos x="T22" y="T23"/>
                      </a:cxn>
                      <a:cxn ang="T134">
                        <a:pos x="T24" y="T25"/>
                      </a:cxn>
                      <a:cxn ang="T135">
                        <a:pos x="T26" y="T27"/>
                      </a:cxn>
                      <a:cxn ang="T136">
                        <a:pos x="T28" y="T29"/>
                      </a:cxn>
                      <a:cxn ang="T137">
                        <a:pos x="T30" y="T31"/>
                      </a:cxn>
                      <a:cxn ang="T138">
                        <a:pos x="T32" y="T33"/>
                      </a:cxn>
                      <a:cxn ang="T139">
                        <a:pos x="T34" y="T35"/>
                      </a:cxn>
                      <a:cxn ang="T140">
                        <a:pos x="T36" y="T37"/>
                      </a:cxn>
                      <a:cxn ang="T141">
                        <a:pos x="T38" y="T39"/>
                      </a:cxn>
                      <a:cxn ang="T142">
                        <a:pos x="T40" y="T41"/>
                      </a:cxn>
                      <a:cxn ang="T143">
                        <a:pos x="T42" y="T43"/>
                      </a:cxn>
                      <a:cxn ang="T144">
                        <a:pos x="T44" y="T45"/>
                      </a:cxn>
                      <a:cxn ang="T145">
                        <a:pos x="T46" y="T47"/>
                      </a:cxn>
                      <a:cxn ang="T146">
                        <a:pos x="T48" y="T49"/>
                      </a:cxn>
                      <a:cxn ang="T147">
                        <a:pos x="T50" y="T51"/>
                      </a:cxn>
                      <a:cxn ang="T148">
                        <a:pos x="T52" y="T53"/>
                      </a:cxn>
                      <a:cxn ang="T149">
                        <a:pos x="T54" y="T55"/>
                      </a:cxn>
                      <a:cxn ang="T150">
                        <a:pos x="T56" y="T57"/>
                      </a:cxn>
                      <a:cxn ang="T151">
                        <a:pos x="T58" y="T59"/>
                      </a:cxn>
                      <a:cxn ang="T152">
                        <a:pos x="T60" y="T61"/>
                      </a:cxn>
                      <a:cxn ang="T153">
                        <a:pos x="T62" y="T63"/>
                      </a:cxn>
                      <a:cxn ang="T154">
                        <a:pos x="T64" y="T65"/>
                      </a:cxn>
                      <a:cxn ang="T155">
                        <a:pos x="T66" y="T67"/>
                      </a:cxn>
                      <a:cxn ang="T156">
                        <a:pos x="T68" y="T69"/>
                      </a:cxn>
                      <a:cxn ang="T157">
                        <a:pos x="T70" y="T71"/>
                      </a:cxn>
                      <a:cxn ang="T158">
                        <a:pos x="T72" y="T73"/>
                      </a:cxn>
                      <a:cxn ang="T159">
                        <a:pos x="T74" y="T75"/>
                      </a:cxn>
                      <a:cxn ang="T160">
                        <a:pos x="T76" y="T77"/>
                      </a:cxn>
                      <a:cxn ang="T161">
                        <a:pos x="T78" y="T79"/>
                      </a:cxn>
                      <a:cxn ang="T162">
                        <a:pos x="T80" y="T81"/>
                      </a:cxn>
                      <a:cxn ang="T163">
                        <a:pos x="T82" y="T83"/>
                      </a:cxn>
                      <a:cxn ang="T164">
                        <a:pos x="T84" y="T85"/>
                      </a:cxn>
                      <a:cxn ang="T165">
                        <a:pos x="T86" y="T87"/>
                      </a:cxn>
                      <a:cxn ang="T166">
                        <a:pos x="T88" y="T89"/>
                      </a:cxn>
                      <a:cxn ang="T167">
                        <a:pos x="T90" y="T91"/>
                      </a:cxn>
                      <a:cxn ang="T168">
                        <a:pos x="T92" y="T93"/>
                      </a:cxn>
                      <a:cxn ang="T169">
                        <a:pos x="T94" y="T95"/>
                      </a:cxn>
                      <a:cxn ang="T170">
                        <a:pos x="T96" y="T97"/>
                      </a:cxn>
                      <a:cxn ang="T171">
                        <a:pos x="T98" y="T99"/>
                      </a:cxn>
                      <a:cxn ang="T172">
                        <a:pos x="T100" y="T101"/>
                      </a:cxn>
                      <a:cxn ang="T173">
                        <a:pos x="T102" y="T103"/>
                      </a:cxn>
                      <a:cxn ang="T174">
                        <a:pos x="T104" y="T105"/>
                      </a:cxn>
                      <a:cxn ang="T175">
                        <a:pos x="T106" y="T107"/>
                      </a:cxn>
                      <a:cxn ang="T176">
                        <a:pos x="T108" y="T109"/>
                      </a:cxn>
                      <a:cxn ang="T177">
                        <a:pos x="T110" y="T111"/>
                      </a:cxn>
                      <a:cxn ang="T178">
                        <a:pos x="T112" y="T113"/>
                      </a:cxn>
                      <a:cxn ang="T179">
                        <a:pos x="T114" y="T115"/>
                      </a:cxn>
                      <a:cxn ang="T180">
                        <a:pos x="T116" y="T117"/>
                      </a:cxn>
                      <a:cxn ang="T181">
                        <a:pos x="T118" y="T119"/>
                      </a:cxn>
                      <a:cxn ang="T182">
                        <a:pos x="T120" y="T121"/>
                      </a:cxn>
                    </a:cxnLst>
                    <a:rect l="T183" t="T184" r="T185" b="T186"/>
                    <a:pathLst>
                      <a:path w="1045" h="1018">
                        <a:moveTo>
                          <a:pt x="1003" y="735"/>
                        </a:moveTo>
                        <a:lnTo>
                          <a:pt x="995" y="700"/>
                        </a:lnTo>
                        <a:lnTo>
                          <a:pt x="986" y="688"/>
                        </a:lnTo>
                        <a:lnTo>
                          <a:pt x="972" y="684"/>
                        </a:lnTo>
                        <a:lnTo>
                          <a:pt x="960" y="671"/>
                        </a:lnTo>
                        <a:lnTo>
                          <a:pt x="952" y="662"/>
                        </a:lnTo>
                        <a:lnTo>
                          <a:pt x="945" y="646"/>
                        </a:lnTo>
                        <a:lnTo>
                          <a:pt x="940" y="639"/>
                        </a:lnTo>
                        <a:lnTo>
                          <a:pt x="936" y="622"/>
                        </a:lnTo>
                        <a:lnTo>
                          <a:pt x="939" y="609"/>
                        </a:lnTo>
                        <a:lnTo>
                          <a:pt x="939" y="597"/>
                        </a:lnTo>
                        <a:lnTo>
                          <a:pt x="933" y="585"/>
                        </a:lnTo>
                        <a:lnTo>
                          <a:pt x="927" y="566"/>
                        </a:lnTo>
                        <a:lnTo>
                          <a:pt x="928" y="551"/>
                        </a:lnTo>
                        <a:lnTo>
                          <a:pt x="933" y="528"/>
                        </a:lnTo>
                        <a:lnTo>
                          <a:pt x="932" y="517"/>
                        </a:lnTo>
                        <a:lnTo>
                          <a:pt x="928" y="520"/>
                        </a:lnTo>
                        <a:lnTo>
                          <a:pt x="927" y="515"/>
                        </a:lnTo>
                        <a:lnTo>
                          <a:pt x="928" y="503"/>
                        </a:lnTo>
                        <a:lnTo>
                          <a:pt x="933" y="488"/>
                        </a:lnTo>
                        <a:lnTo>
                          <a:pt x="934" y="478"/>
                        </a:lnTo>
                        <a:lnTo>
                          <a:pt x="938" y="471"/>
                        </a:lnTo>
                        <a:lnTo>
                          <a:pt x="935" y="447"/>
                        </a:lnTo>
                        <a:lnTo>
                          <a:pt x="933" y="441"/>
                        </a:lnTo>
                        <a:lnTo>
                          <a:pt x="927" y="435"/>
                        </a:lnTo>
                        <a:lnTo>
                          <a:pt x="922" y="428"/>
                        </a:lnTo>
                        <a:lnTo>
                          <a:pt x="920" y="424"/>
                        </a:lnTo>
                        <a:lnTo>
                          <a:pt x="920" y="417"/>
                        </a:lnTo>
                        <a:lnTo>
                          <a:pt x="930" y="403"/>
                        </a:lnTo>
                        <a:lnTo>
                          <a:pt x="934" y="392"/>
                        </a:lnTo>
                        <a:lnTo>
                          <a:pt x="941" y="379"/>
                        </a:lnTo>
                        <a:lnTo>
                          <a:pt x="949" y="367"/>
                        </a:lnTo>
                        <a:lnTo>
                          <a:pt x="956" y="360"/>
                        </a:lnTo>
                        <a:lnTo>
                          <a:pt x="959" y="358"/>
                        </a:lnTo>
                        <a:lnTo>
                          <a:pt x="960" y="337"/>
                        </a:lnTo>
                        <a:lnTo>
                          <a:pt x="962" y="309"/>
                        </a:lnTo>
                        <a:lnTo>
                          <a:pt x="962" y="295"/>
                        </a:lnTo>
                        <a:lnTo>
                          <a:pt x="970" y="264"/>
                        </a:lnTo>
                        <a:lnTo>
                          <a:pt x="976" y="253"/>
                        </a:lnTo>
                        <a:lnTo>
                          <a:pt x="979" y="248"/>
                        </a:lnTo>
                        <a:lnTo>
                          <a:pt x="992" y="234"/>
                        </a:lnTo>
                        <a:lnTo>
                          <a:pt x="1003" y="221"/>
                        </a:lnTo>
                        <a:lnTo>
                          <a:pt x="1009" y="215"/>
                        </a:lnTo>
                        <a:lnTo>
                          <a:pt x="1011" y="209"/>
                        </a:lnTo>
                        <a:lnTo>
                          <a:pt x="1015" y="202"/>
                        </a:lnTo>
                        <a:lnTo>
                          <a:pt x="1026" y="197"/>
                        </a:lnTo>
                        <a:lnTo>
                          <a:pt x="1032" y="192"/>
                        </a:lnTo>
                        <a:lnTo>
                          <a:pt x="1041" y="183"/>
                        </a:lnTo>
                        <a:lnTo>
                          <a:pt x="1045" y="175"/>
                        </a:lnTo>
                        <a:lnTo>
                          <a:pt x="1043" y="167"/>
                        </a:lnTo>
                        <a:lnTo>
                          <a:pt x="1041" y="162"/>
                        </a:lnTo>
                        <a:lnTo>
                          <a:pt x="1032" y="160"/>
                        </a:lnTo>
                        <a:lnTo>
                          <a:pt x="1027" y="156"/>
                        </a:lnTo>
                        <a:lnTo>
                          <a:pt x="1022" y="151"/>
                        </a:lnTo>
                        <a:lnTo>
                          <a:pt x="1020" y="143"/>
                        </a:lnTo>
                        <a:lnTo>
                          <a:pt x="1019" y="121"/>
                        </a:lnTo>
                        <a:lnTo>
                          <a:pt x="1022" y="103"/>
                        </a:lnTo>
                        <a:lnTo>
                          <a:pt x="1025" y="94"/>
                        </a:lnTo>
                        <a:lnTo>
                          <a:pt x="1025" y="90"/>
                        </a:lnTo>
                        <a:lnTo>
                          <a:pt x="1019" y="90"/>
                        </a:lnTo>
                        <a:lnTo>
                          <a:pt x="1013" y="85"/>
                        </a:lnTo>
                        <a:lnTo>
                          <a:pt x="1004" y="76"/>
                        </a:lnTo>
                        <a:lnTo>
                          <a:pt x="990" y="68"/>
                        </a:lnTo>
                        <a:lnTo>
                          <a:pt x="966" y="42"/>
                        </a:lnTo>
                        <a:lnTo>
                          <a:pt x="955" y="36"/>
                        </a:lnTo>
                        <a:lnTo>
                          <a:pt x="943" y="46"/>
                        </a:lnTo>
                        <a:lnTo>
                          <a:pt x="932" y="47"/>
                        </a:lnTo>
                        <a:lnTo>
                          <a:pt x="905" y="41"/>
                        </a:lnTo>
                        <a:lnTo>
                          <a:pt x="898" y="49"/>
                        </a:lnTo>
                        <a:lnTo>
                          <a:pt x="892" y="52"/>
                        </a:lnTo>
                        <a:lnTo>
                          <a:pt x="869" y="43"/>
                        </a:lnTo>
                        <a:lnTo>
                          <a:pt x="864" y="33"/>
                        </a:lnTo>
                        <a:lnTo>
                          <a:pt x="858" y="25"/>
                        </a:lnTo>
                        <a:lnTo>
                          <a:pt x="846" y="16"/>
                        </a:lnTo>
                        <a:lnTo>
                          <a:pt x="839" y="5"/>
                        </a:lnTo>
                        <a:lnTo>
                          <a:pt x="811" y="5"/>
                        </a:lnTo>
                        <a:lnTo>
                          <a:pt x="803" y="16"/>
                        </a:lnTo>
                        <a:lnTo>
                          <a:pt x="791" y="9"/>
                        </a:lnTo>
                        <a:lnTo>
                          <a:pt x="784" y="16"/>
                        </a:lnTo>
                        <a:lnTo>
                          <a:pt x="771" y="0"/>
                        </a:lnTo>
                        <a:lnTo>
                          <a:pt x="756" y="5"/>
                        </a:lnTo>
                        <a:lnTo>
                          <a:pt x="733" y="9"/>
                        </a:lnTo>
                        <a:lnTo>
                          <a:pt x="713" y="4"/>
                        </a:lnTo>
                        <a:lnTo>
                          <a:pt x="709" y="16"/>
                        </a:lnTo>
                        <a:lnTo>
                          <a:pt x="697" y="16"/>
                        </a:lnTo>
                        <a:lnTo>
                          <a:pt x="690" y="19"/>
                        </a:lnTo>
                        <a:lnTo>
                          <a:pt x="682" y="16"/>
                        </a:lnTo>
                        <a:lnTo>
                          <a:pt x="683" y="16"/>
                        </a:lnTo>
                        <a:lnTo>
                          <a:pt x="682" y="10"/>
                        </a:lnTo>
                        <a:lnTo>
                          <a:pt x="676" y="10"/>
                        </a:lnTo>
                        <a:lnTo>
                          <a:pt x="665" y="16"/>
                        </a:lnTo>
                        <a:lnTo>
                          <a:pt x="639" y="21"/>
                        </a:lnTo>
                        <a:lnTo>
                          <a:pt x="628" y="27"/>
                        </a:lnTo>
                        <a:lnTo>
                          <a:pt x="610" y="32"/>
                        </a:lnTo>
                        <a:lnTo>
                          <a:pt x="601" y="27"/>
                        </a:lnTo>
                        <a:lnTo>
                          <a:pt x="583" y="24"/>
                        </a:lnTo>
                        <a:lnTo>
                          <a:pt x="569" y="32"/>
                        </a:lnTo>
                        <a:lnTo>
                          <a:pt x="567" y="49"/>
                        </a:lnTo>
                        <a:lnTo>
                          <a:pt x="559" y="53"/>
                        </a:lnTo>
                        <a:lnTo>
                          <a:pt x="509" y="53"/>
                        </a:lnTo>
                        <a:lnTo>
                          <a:pt x="486" y="47"/>
                        </a:lnTo>
                        <a:lnTo>
                          <a:pt x="472" y="37"/>
                        </a:lnTo>
                        <a:lnTo>
                          <a:pt x="465" y="46"/>
                        </a:lnTo>
                        <a:lnTo>
                          <a:pt x="457" y="43"/>
                        </a:lnTo>
                        <a:lnTo>
                          <a:pt x="436" y="25"/>
                        </a:lnTo>
                        <a:lnTo>
                          <a:pt x="434" y="16"/>
                        </a:lnTo>
                        <a:lnTo>
                          <a:pt x="427" y="6"/>
                        </a:lnTo>
                        <a:lnTo>
                          <a:pt x="411" y="5"/>
                        </a:lnTo>
                        <a:lnTo>
                          <a:pt x="397" y="5"/>
                        </a:lnTo>
                        <a:lnTo>
                          <a:pt x="384" y="16"/>
                        </a:lnTo>
                        <a:lnTo>
                          <a:pt x="378" y="22"/>
                        </a:lnTo>
                        <a:lnTo>
                          <a:pt x="371" y="37"/>
                        </a:lnTo>
                        <a:lnTo>
                          <a:pt x="363" y="42"/>
                        </a:lnTo>
                        <a:lnTo>
                          <a:pt x="360" y="56"/>
                        </a:lnTo>
                        <a:lnTo>
                          <a:pt x="359" y="75"/>
                        </a:lnTo>
                        <a:lnTo>
                          <a:pt x="362" y="84"/>
                        </a:lnTo>
                        <a:lnTo>
                          <a:pt x="349" y="86"/>
                        </a:lnTo>
                        <a:lnTo>
                          <a:pt x="352" y="103"/>
                        </a:lnTo>
                        <a:lnTo>
                          <a:pt x="347" y="122"/>
                        </a:lnTo>
                        <a:lnTo>
                          <a:pt x="326" y="159"/>
                        </a:lnTo>
                        <a:lnTo>
                          <a:pt x="316" y="183"/>
                        </a:lnTo>
                        <a:lnTo>
                          <a:pt x="307" y="227"/>
                        </a:lnTo>
                        <a:lnTo>
                          <a:pt x="306" y="293"/>
                        </a:lnTo>
                        <a:lnTo>
                          <a:pt x="299" y="323"/>
                        </a:lnTo>
                        <a:lnTo>
                          <a:pt x="298" y="327"/>
                        </a:lnTo>
                        <a:lnTo>
                          <a:pt x="283" y="340"/>
                        </a:lnTo>
                        <a:lnTo>
                          <a:pt x="264" y="350"/>
                        </a:lnTo>
                        <a:lnTo>
                          <a:pt x="247" y="366"/>
                        </a:lnTo>
                        <a:lnTo>
                          <a:pt x="224" y="402"/>
                        </a:lnTo>
                        <a:lnTo>
                          <a:pt x="217" y="423"/>
                        </a:lnTo>
                        <a:lnTo>
                          <a:pt x="213" y="444"/>
                        </a:lnTo>
                        <a:lnTo>
                          <a:pt x="213" y="462"/>
                        </a:lnTo>
                        <a:lnTo>
                          <a:pt x="209" y="480"/>
                        </a:lnTo>
                        <a:lnTo>
                          <a:pt x="196" y="501"/>
                        </a:lnTo>
                        <a:lnTo>
                          <a:pt x="181" y="516"/>
                        </a:lnTo>
                        <a:lnTo>
                          <a:pt x="167" y="523"/>
                        </a:lnTo>
                        <a:lnTo>
                          <a:pt x="144" y="544"/>
                        </a:lnTo>
                        <a:lnTo>
                          <a:pt x="123" y="552"/>
                        </a:lnTo>
                        <a:lnTo>
                          <a:pt x="113" y="549"/>
                        </a:lnTo>
                        <a:lnTo>
                          <a:pt x="112" y="531"/>
                        </a:lnTo>
                        <a:lnTo>
                          <a:pt x="110" y="526"/>
                        </a:lnTo>
                        <a:lnTo>
                          <a:pt x="96" y="530"/>
                        </a:lnTo>
                        <a:lnTo>
                          <a:pt x="83" y="532"/>
                        </a:lnTo>
                        <a:lnTo>
                          <a:pt x="75" y="538"/>
                        </a:lnTo>
                        <a:lnTo>
                          <a:pt x="68" y="551"/>
                        </a:lnTo>
                        <a:lnTo>
                          <a:pt x="56" y="554"/>
                        </a:lnTo>
                        <a:lnTo>
                          <a:pt x="40" y="544"/>
                        </a:lnTo>
                        <a:lnTo>
                          <a:pt x="36" y="546"/>
                        </a:lnTo>
                        <a:lnTo>
                          <a:pt x="27" y="552"/>
                        </a:lnTo>
                        <a:lnTo>
                          <a:pt x="18" y="560"/>
                        </a:lnTo>
                        <a:lnTo>
                          <a:pt x="14" y="576"/>
                        </a:lnTo>
                        <a:lnTo>
                          <a:pt x="11" y="591"/>
                        </a:lnTo>
                        <a:lnTo>
                          <a:pt x="10" y="603"/>
                        </a:lnTo>
                        <a:lnTo>
                          <a:pt x="2" y="608"/>
                        </a:lnTo>
                        <a:lnTo>
                          <a:pt x="3" y="612"/>
                        </a:lnTo>
                        <a:lnTo>
                          <a:pt x="3" y="619"/>
                        </a:lnTo>
                        <a:lnTo>
                          <a:pt x="0" y="625"/>
                        </a:lnTo>
                        <a:lnTo>
                          <a:pt x="2" y="629"/>
                        </a:lnTo>
                        <a:lnTo>
                          <a:pt x="3" y="627"/>
                        </a:lnTo>
                        <a:lnTo>
                          <a:pt x="9" y="624"/>
                        </a:lnTo>
                        <a:lnTo>
                          <a:pt x="27" y="619"/>
                        </a:lnTo>
                        <a:lnTo>
                          <a:pt x="41" y="612"/>
                        </a:lnTo>
                        <a:lnTo>
                          <a:pt x="54" y="607"/>
                        </a:lnTo>
                        <a:lnTo>
                          <a:pt x="63" y="607"/>
                        </a:lnTo>
                        <a:lnTo>
                          <a:pt x="70" y="606"/>
                        </a:lnTo>
                        <a:lnTo>
                          <a:pt x="94" y="607"/>
                        </a:lnTo>
                        <a:lnTo>
                          <a:pt x="116" y="605"/>
                        </a:lnTo>
                        <a:lnTo>
                          <a:pt x="123" y="607"/>
                        </a:lnTo>
                        <a:lnTo>
                          <a:pt x="142" y="608"/>
                        </a:lnTo>
                        <a:lnTo>
                          <a:pt x="155" y="606"/>
                        </a:lnTo>
                        <a:lnTo>
                          <a:pt x="169" y="606"/>
                        </a:lnTo>
                        <a:lnTo>
                          <a:pt x="202" y="603"/>
                        </a:lnTo>
                        <a:lnTo>
                          <a:pt x="218" y="605"/>
                        </a:lnTo>
                        <a:lnTo>
                          <a:pt x="220" y="606"/>
                        </a:lnTo>
                        <a:lnTo>
                          <a:pt x="225" y="613"/>
                        </a:lnTo>
                        <a:lnTo>
                          <a:pt x="229" y="614"/>
                        </a:lnTo>
                        <a:lnTo>
                          <a:pt x="233" y="613"/>
                        </a:lnTo>
                        <a:lnTo>
                          <a:pt x="237" y="622"/>
                        </a:lnTo>
                        <a:lnTo>
                          <a:pt x="242" y="640"/>
                        </a:lnTo>
                        <a:lnTo>
                          <a:pt x="244" y="654"/>
                        </a:lnTo>
                        <a:lnTo>
                          <a:pt x="245" y="659"/>
                        </a:lnTo>
                        <a:lnTo>
                          <a:pt x="252" y="671"/>
                        </a:lnTo>
                        <a:lnTo>
                          <a:pt x="256" y="687"/>
                        </a:lnTo>
                        <a:lnTo>
                          <a:pt x="268" y="700"/>
                        </a:lnTo>
                        <a:lnTo>
                          <a:pt x="289" y="727"/>
                        </a:lnTo>
                        <a:lnTo>
                          <a:pt x="301" y="732"/>
                        </a:lnTo>
                        <a:lnTo>
                          <a:pt x="315" y="732"/>
                        </a:lnTo>
                        <a:lnTo>
                          <a:pt x="336" y="725"/>
                        </a:lnTo>
                        <a:lnTo>
                          <a:pt x="349" y="722"/>
                        </a:lnTo>
                        <a:lnTo>
                          <a:pt x="366" y="725"/>
                        </a:lnTo>
                        <a:lnTo>
                          <a:pt x="386" y="725"/>
                        </a:lnTo>
                        <a:lnTo>
                          <a:pt x="389" y="710"/>
                        </a:lnTo>
                        <a:lnTo>
                          <a:pt x="390" y="703"/>
                        </a:lnTo>
                        <a:lnTo>
                          <a:pt x="392" y="698"/>
                        </a:lnTo>
                        <a:lnTo>
                          <a:pt x="393" y="694"/>
                        </a:lnTo>
                        <a:lnTo>
                          <a:pt x="395" y="689"/>
                        </a:lnTo>
                        <a:lnTo>
                          <a:pt x="396" y="678"/>
                        </a:lnTo>
                        <a:lnTo>
                          <a:pt x="398" y="670"/>
                        </a:lnTo>
                        <a:lnTo>
                          <a:pt x="441" y="670"/>
                        </a:lnTo>
                        <a:lnTo>
                          <a:pt x="444" y="664"/>
                        </a:lnTo>
                        <a:lnTo>
                          <a:pt x="467" y="664"/>
                        </a:lnTo>
                        <a:lnTo>
                          <a:pt x="466" y="686"/>
                        </a:lnTo>
                        <a:lnTo>
                          <a:pt x="514" y="687"/>
                        </a:lnTo>
                        <a:lnTo>
                          <a:pt x="518" y="691"/>
                        </a:lnTo>
                        <a:lnTo>
                          <a:pt x="520" y="699"/>
                        </a:lnTo>
                        <a:lnTo>
                          <a:pt x="522" y="731"/>
                        </a:lnTo>
                        <a:lnTo>
                          <a:pt x="525" y="743"/>
                        </a:lnTo>
                        <a:lnTo>
                          <a:pt x="525" y="759"/>
                        </a:lnTo>
                        <a:lnTo>
                          <a:pt x="527" y="775"/>
                        </a:lnTo>
                        <a:lnTo>
                          <a:pt x="527" y="781"/>
                        </a:lnTo>
                        <a:lnTo>
                          <a:pt x="524" y="792"/>
                        </a:lnTo>
                        <a:lnTo>
                          <a:pt x="524" y="806"/>
                        </a:lnTo>
                        <a:lnTo>
                          <a:pt x="526" y="815"/>
                        </a:lnTo>
                        <a:lnTo>
                          <a:pt x="535" y="829"/>
                        </a:lnTo>
                        <a:lnTo>
                          <a:pt x="541" y="850"/>
                        </a:lnTo>
                        <a:lnTo>
                          <a:pt x="547" y="866"/>
                        </a:lnTo>
                        <a:lnTo>
                          <a:pt x="547" y="874"/>
                        </a:lnTo>
                        <a:lnTo>
                          <a:pt x="542" y="881"/>
                        </a:lnTo>
                        <a:lnTo>
                          <a:pt x="531" y="892"/>
                        </a:lnTo>
                        <a:lnTo>
                          <a:pt x="531" y="894"/>
                        </a:lnTo>
                        <a:lnTo>
                          <a:pt x="532" y="897"/>
                        </a:lnTo>
                        <a:lnTo>
                          <a:pt x="534" y="898"/>
                        </a:lnTo>
                        <a:lnTo>
                          <a:pt x="537" y="899"/>
                        </a:lnTo>
                        <a:lnTo>
                          <a:pt x="543" y="907"/>
                        </a:lnTo>
                        <a:lnTo>
                          <a:pt x="549" y="908"/>
                        </a:lnTo>
                        <a:lnTo>
                          <a:pt x="552" y="907"/>
                        </a:lnTo>
                        <a:lnTo>
                          <a:pt x="554" y="901"/>
                        </a:lnTo>
                        <a:lnTo>
                          <a:pt x="557" y="893"/>
                        </a:lnTo>
                        <a:lnTo>
                          <a:pt x="562" y="891"/>
                        </a:lnTo>
                        <a:lnTo>
                          <a:pt x="613" y="891"/>
                        </a:lnTo>
                        <a:lnTo>
                          <a:pt x="623" y="887"/>
                        </a:lnTo>
                        <a:lnTo>
                          <a:pt x="632" y="890"/>
                        </a:lnTo>
                        <a:lnTo>
                          <a:pt x="634" y="890"/>
                        </a:lnTo>
                        <a:lnTo>
                          <a:pt x="644" y="882"/>
                        </a:lnTo>
                        <a:lnTo>
                          <a:pt x="645" y="882"/>
                        </a:lnTo>
                        <a:lnTo>
                          <a:pt x="655" y="880"/>
                        </a:lnTo>
                        <a:lnTo>
                          <a:pt x="659" y="880"/>
                        </a:lnTo>
                        <a:lnTo>
                          <a:pt x="661" y="881"/>
                        </a:lnTo>
                        <a:lnTo>
                          <a:pt x="667" y="891"/>
                        </a:lnTo>
                        <a:lnTo>
                          <a:pt x="667" y="903"/>
                        </a:lnTo>
                        <a:lnTo>
                          <a:pt x="669" y="908"/>
                        </a:lnTo>
                        <a:lnTo>
                          <a:pt x="672" y="908"/>
                        </a:lnTo>
                        <a:lnTo>
                          <a:pt x="686" y="902"/>
                        </a:lnTo>
                        <a:lnTo>
                          <a:pt x="691" y="901"/>
                        </a:lnTo>
                        <a:lnTo>
                          <a:pt x="697" y="901"/>
                        </a:lnTo>
                        <a:lnTo>
                          <a:pt x="708" y="896"/>
                        </a:lnTo>
                        <a:lnTo>
                          <a:pt x="714" y="904"/>
                        </a:lnTo>
                        <a:lnTo>
                          <a:pt x="718" y="913"/>
                        </a:lnTo>
                        <a:lnTo>
                          <a:pt x="723" y="919"/>
                        </a:lnTo>
                        <a:lnTo>
                          <a:pt x="736" y="925"/>
                        </a:lnTo>
                        <a:lnTo>
                          <a:pt x="748" y="933"/>
                        </a:lnTo>
                        <a:lnTo>
                          <a:pt x="766" y="940"/>
                        </a:lnTo>
                        <a:lnTo>
                          <a:pt x="778" y="941"/>
                        </a:lnTo>
                        <a:lnTo>
                          <a:pt x="787" y="939"/>
                        </a:lnTo>
                        <a:lnTo>
                          <a:pt x="799" y="934"/>
                        </a:lnTo>
                        <a:lnTo>
                          <a:pt x="809" y="931"/>
                        </a:lnTo>
                        <a:lnTo>
                          <a:pt x="814" y="933"/>
                        </a:lnTo>
                        <a:lnTo>
                          <a:pt x="833" y="951"/>
                        </a:lnTo>
                        <a:lnTo>
                          <a:pt x="847" y="957"/>
                        </a:lnTo>
                        <a:lnTo>
                          <a:pt x="858" y="961"/>
                        </a:lnTo>
                        <a:lnTo>
                          <a:pt x="869" y="962"/>
                        </a:lnTo>
                        <a:lnTo>
                          <a:pt x="876" y="968"/>
                        </a:lnTo>
                        <a:lnTo>
                          <a:pt x="881" y="980"/>
                        </a:lnTo>
                        <a:lnTo>
                          <a:pt x="885" y="987"/>
                        </a:lnTo>
                        <a:lnTo>
                          <a:pt x="898" y="999"/>
                        </a:lnTo>
                        <a:lnTo>
                          <a:pt x="912" y="1007"/>
                        </a:lnTo>
                        <a:lnTo>
                          <a:pt x="922" y="1011"/>
                        </a:lnTo>
                        <a:lnTo>
                          <a:pt x="932" y="1012"/>
                        </a:lnTo>
                        <a:lnTo>
                          <a:pt x="935" y="1012"/>
                        </a:lnTo>
                        <a:lnTo>
                          <a:pt x="941" y="1010"/>
                        </a:lnTo>
                        <a:lnTo>
                          <a:pt x="945" y="1009"/>
                        </a:lnTo>
                        <a:lnTo>
                          <a:pt x="946" y="1010"/>
                        </a:lnTo>
                        <a:lnTo>
                          <a:pt x="951" y="1017"/>
                        </a:lnTo>
                        <a:lnTo>
                          <a:pt x="955" y="1018"/>
                        </a:lnTo>
                        <a:lnTo>
                          <a:pt x="959" y="1018"/>
                        </a:lnTo>
                        <a:lnTo>
                          <a:pt x="961" y="1016"/>
                        </a:lnTo>
                        <a:lnTo>
                          <a:pt x="961" y="1009"/>
                        </a:lnTo>
                        <a:lnTo>
                          <a:pt x="960" y="1001"/>
                        </a:lnTo>
                        <a:lnTo>
                          <a:pt x="959" y="966"/>
                        </a:lnTo>
                        <a:lnTo>
                          <a:pt x="956" y="958"/>
                        </a:lnTo>
                        <a:lnTo>
                          <a:pt x="950" y="957"/>
                        </a:lnTo>
                        <a:lnTo>
                          <a:pt x="941" y="962"/>
                        </a:lnTo>
                        <a:lnTo>
                          <a:pt x="930" y="960"/>
                        </a:lnTo>
                        <a:lnTo>
                          <a:pt x="918" y="960"/>
                        </a:lnTo>
                        <a:lnTo>
                          <a:pt x="911" y="955"/>
                        </a:lnTo>
                        <a:lnTo>
                          <a:pt x="901" y="942"/>
                        </a:lnTo>
                        <a:lnTo>
                          <a:pt x="895" y="936"/>
                        </a:lnTo>
                        <a:lnTo>
                          <a:pt x="893" y="934"/>
                        </a:lnTo>
                        <a:lnTo>
                          <a:pt x="892" y="924"/>
                        </a:lnTo>
                        <a:lnTo>
                          <a:pt x="895" y="917"/>
                        </a:lnTo>
                        <a:lnTo>
                          <a:pt x="897" y="905"/>
                        </a:lnTo>
                        <a:lnTo>
                          <a:pt x="912" y="866"/>
                        </a:lnTo>
                        <a:lnTo>
                          <a:pt x="913" y="859"/>
                        </a:lnTo>
                        <a:lnTo>
                          <a:pt x="914" y="834"/>
                        </a:lnTo>
                        <a:lnTo>
                          <a:pt x="912" y="820"/>
                        </a:lnTo>
                        <a:lnTo>
                          <a:pt x="905" y="801"/>
                        </a:lnTo>
                        <a:lnTo>
                          <a:pt x="905" y="791"/>
                        </a:lnTo>
                        <a:lnTo>
                          <a:pt x="907" y="788"/>
                        </a:lnTo>
                        <a:lnTo>
                          <a:pt x="909" y="779"/>
                        </a:lnTo>
                        <a:lnTo>
                          <a:pt x="914" y="772"/>
                        </a:lnTo>
                        <a:lnTo>
                          <a:pt x="922" y="758"/>
                        </a:lnTo>
                        <a:lnTo>
                          <a:pt x="924" y="756"/>
                        </a:lnTo>
                        <a:lnTo>
                          <a:pt x="929" y="752"/>
                        </a:lnTo>
                        <a:lnTo>
                          <a:pt x="932" y="752"/>
                        </a:lnTo>
                        <a:lnTo>
                          <a:pt x="941" y="748"/>
                        </a:lnTo>
                        <a:lnTo>
                          <a:pt x="1003" y="735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</p:grpSp>
            <p:grpSp>
              <p:nvGrpSpPr>
                <p:cNvPr id="423" name="Group 69"/>
                <p:cNvGrpSpPr>
                  <a:grpSpLocks/>
                </p:cNvGrpSpPr>
                <p:nvPr/>
              </p:nvGrpSpPr>
              <p:grpSpPr bwMode="auto">
                <a:xfrm>
                  <a:off x="4861439" y="2133548"/>
                  <a:ext cx="719516" cy="649582"/>
                  <a:chOff x="2802" y="1979"/>
                  <a:chExt cx="408" cy="369"/>
                </a:xfrm>
                <a:solidFill>
                  <a:srgbClr val="D9D9D9"/>
                </a:solidFill>
              </p:grpSpPr>
              <p:sp>
                <p:nvSpPr>
                  <p:cNvPr id="528" name="Freeform 70"/>
                  <p:cNvSpPr>
                    <a:spLocks/>
                  </p:cNvSpPr>
                  <p:nvPr/>
                </p:nvSpPr>
                <p:spPr bwMode="gray">
                  <a:xfrm>
                    <a:off x="2899" y="2082"/>
                    <a:ext cx="19" cy="23"/>
                  </a:xfrm>
                  <a:custGeom>
                    <a:avLst/>
                    <a:gdLst>
                      <a:gd name="T0" fmla="*/ 2 w 95"/>
                      <a:gd name="T1" fmla="*/ 4 h 116"/>
                      <a:gd name="T2" fmla="*/ 2 w 95"/>
                      <a:gd name="T3" fmla="*/ 4 h 116"/>
                      <a:gd name="T4" fmla="*/ 2 w 95"/>
                      <a:gd name="T5" fmla="*/ 3 h 116"/>
                      <a:gd name="T6" fmla="*/ 2 w 95"/>
                      <a:gd name="T7" fmla="*/ 3 h 116"/>
                      <a:gd name="T8" fmla="*/ 2 w 95"/>
                      <a:gd name="T9" fmla="*/ 3 h 116"/>
                      <a:gd name="T10" fmla="*/ 2 w 95"/>
                      <a:gd name="T11" fmla="*/ 3 h 116"/>
                      <a:gd name="T12" fmla="*/ 3 w 95"/>
                      <a:gd name="T13" fmla="*/ 2 h 116"/>
                      <a:gd name="T14" fmla="*/ 3 w 95"/>
                      <a:gd name="T15" fmla="*/ 2 h 116"/>
                      <a:gd name="T16" fmla="*/ 3 w 95"/>
                      <a:gd name="T17" fmla="*/ 2 h 116"/>
                      <a:gd name="T18" fmla="*/ 3 w 95"/>
                      <a:gd name="T19" fmla="*/ 2 h 116"/>
                      <a:gd name="T20" fmla="*/ 3 w 95"/>
                      <a:gd name="T21" fmla="*/ 2 h 116"/>
                      <a:gd name="T22" fmla="*/ 3 w 95"/>
                      <a:gd name="T23" fmla="*/ 2 h 116"/>
                      <a:gd name="T24" fmla="*/ 4 w 95"/>
                      <a:gd name="T25" fmla="*/ 2 h 116"/>
                      <a:gd name="T26" fmla="*/ 4 w 95"/>
                      <a:gd name="T27" fmla="*/ 1 h 116"/>
                      <a:gd name="T28" fmla="*/ 4 w 95"/>
                      <a:gd name="T29" fmla="*/ 1 h 116"/>
                      <a:gd name="T30" fmla="*/ 3 w 95"/>
                      <a:gd name="T31" fmla="*/ 1 h 116"/>
                      <a:gd name="T32" fmla="*/ 3 w 95"/>
                      <a:gd name="T33" fmla="*/ 1 h 116"/>
                      <a:gd name="T34" fmla="*/ 3 w 95"/>
                      <a:gd name="T35" fmla="*/ 0 h 116"/>
                      <a:gd name="T36" fmla="*/ 3 w 95"/>
                      <a:gd name="T37" fmla="*/ 0 h 116"/>
                      <a:gd name="T38" fmla="*/ 3 w 95"/>
                      <a:gd name="T39" fmla="*/ 0 h 116"/>
                      <a:gd name="T40" fmla="*/ 3 w 95"/>
                      <a:gd name="T41" fmla="*/ 0 h 116"/>
                      <a:gd name="T42" fmla="*/ 3 w 95"/>
                      <a:gd name="T43" fmla="*/ 0 h 116"/>
                      <a:gd name="T44" fmla="*/ 2 w 95"/>
                      <a:gd name="T45" fmla="*/ 1 h 116"/>
                      <a:gd name="T46" fmla="*/ 2 w 95"/>
                      <a:gd name="T47" fmla="*/ 1 h 116"/>
                      <a:gd name="T48" fmla="*/ 1 w 95"/>
                      <a:gd name="T49" fmla="*/ 2 h 116"/>
                      <a:gd name="T50" fmla="*/ 1 w 95"/>
                      <a:gd name="T51" fmla="*/ 2 h 116"/>
                      <a:gd name="T52" fmla="*/ 1 w 95"/>
                      <a:gd name="T53" fmla="*/ 3 h 116"/>
                      <a:gd name="T54" fmla="*/ 0 w 95"/>
                      <a:gd name="T55" fmla="*/ 3 h 116"/>
                      <a:gd name="T56" fmla="*/ 0 w 95"/>
                      <a:gd name="T57" fmla="*/ 4 h 116"/>
                      <a:gd name="T58" fmla="*/ 0 w 95"/>
                      <a:gd name="T59" fmla="*/ 4 h 116"/>
                      <a:gd name="T60" fmla="*/ 1 w 95"/>
                      <a:gd name="T61" fmla="*/ 5 h 116"/>
                      <a:gd name="T62" fmla="*/ 1 w 95"/>
                      <a:gd name="T63" fmla="*/ 4 h 116"/>
                      <a:gd name="T64" fmla="*/ 1 w 95"/>
                      <a:gd name="T65" fmla="*/ 4 h 116"/>
                      <a:gd name="T66" fmla="*/ 1 w 95"/>
                      <a:gd name="T67" fmla="*/ 4 h 11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w 95"/>
                      <a:gd name="T103" fmla="*/ 0 h 116"/>
                      <a:gd name="T104" fmla="*/ 95 w 95"/>
                      <a:gd name="T105" fmla="*/ 116 h 116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T102" t="T103" r="T104" b="T105"/>
                    <a:pathLst>
                      <a:path w="95" h="116">
                        <a:moveTo>
                          <a:pt x="32" y="102"/>
                        </a:moveTo>
                        <a:lnTo>
                          <a:pt x="39" y="96"/>
                        </a:lnTo>
                        <a:lnTo>
                          <a:pt x="44" y="95"/>
                        </a:lnTo>
                        <a:lnTo>
                          <a:pt x="45" y="93"/>
                        </a:lnTo>
                        <a:lnTo>
                          <a:pt x="52" y="88"/>
                        </a:lnTo>
                        <a:lnTo>
                          <a:pt x="55" y="83"/>
                        </a:lnTo>
                        <a:lnTo>
                          <a:pt x="58" y="83"/>
                        </a:lnTo>
                        <a:lnTo>
                          <a:pt x="58" y="78"/>
                        </a:lnTo>
                        <a:lnTo>
                          <a:pt x="53" y="75"/>
                        </a:lnTo>
                        <a:lnTo>
                          <a:pt x="55" y="69"/>
                        </a:lnTo>
                        <a:lnTo>
                          <a:pt x="58" y="68"/>
                        </a:lnTo>
                        <a:lnTo>
                          <a:pt x="59" y="63"/>
                        </a:lnTo>
                        <a:lnTo>
                          <a:pt x="72" y="62"/>
                        </a:lnTo>
                        <a:lnTo>
                          <a:pt x="77" y="63"/>
                        </a:lnTo>
                        <a:lnTo>
                          <a:pt x="79" y="62"/>
                        </a:lnTo>
                        <a:lnTo>
                          <a:pt x="80" y="62"/>
                        </a:lnTo>
                        <a:lnTo>
                          <a:pt x="77" y="59"/>
                        </a:lnTo>
                        <a:lnTo>
                          <a:pt x="72" y="56"/>
                        </a:lnTo>
                        <a:lnTo>
                          <a:pt x="74" y="53"/>
                        </a:lnTo>
                        <a:lnTo>
                          <a:pt x="77" y="52"/>
                        </a:lnTo>
                        <a:lnTo>
                          <a:pt x="77" y="48"/>
                        </a:lnTo>
                        <a:lnTo>
                          <a:pt x="82" y="47"/>
                        </a:lnTo>
                        <a:lnTo>
                          <a:pt x="87" y="42"/>
                        </a:lnTo>
                        <a:lnTo>
                          <a:pt x="90" y="42"/>
                        </a:lnTo>
                        <a:lnTo>
                          <a:pt x="91" y="38"/>
                        </a:lnTo>
                        <a:lnTo>
                          <a:pt x="95" y="36"/>
                        </a:lnTo>
                        <a:lnTo>
                          <a:pt x="91" y="34"/>
                        </a:lnTo>
                        <a:lnTo>
                          <a:pt x="92" y="30"/>
                        </a:lnTo>
                        <a:lnTo>
                          <a:pt x="88" y="25"/>
                        </a:lnTo>
                        <a:lnTo>
                          <a:pt x="90" y="21"/>
                        </a:lnTo>
                        <a:lnTo>
                          <a:pt x="85" y="19"/>
                        </a:lnTo>
                        <a:lnTo>
                          <a:pt x="84" y="15"/>
                        </a:lnTo>
                        <a:lnTo>
                          <a:pt x="77" y="15"/>
                        </a:lnTo>
                        <a:lnTo>
                          <a:pt x="77" y="13"/>
                        </a:lnTo>
                        <a:lnTo>
                          <a:pt x="81" y="10"/>
                        </a:lnTo>
                        <a:lnTo>
                          <a:pt x="81" y="9"/>
                        </a:lnTo>
                        <a:lnTo>
                          <a:pt x="85" y="9"/>
                        </a:lnTo>
                        <a:lnTo>
                          <a:pt x="85" y="7"/>
                        </a:lnTo>
                        <a:lnTo>
                          <a:pt x="84" y="4"/>
                        </a:lnTo>
                        <a:lnTo>
                          <a:pt x="79" y="4"/>
                        </a:lnTo>
                        <a:lnTo>
                          <a:pt x="77" y="0"/>
                        </a:lnTo>
                        <a:lnTo>
                          <a:pt x="75" y="0"/>
                        </a:lnTo>
                        <a:lnTo>
                          <a:pt x="72" y="4"/>
                        </a:lnTo>
                        <a:lnTo>
                          <a:pt x="55" y="4"/>
                        </a:lnTo>
                        <a:lnTo>
                          <a:pt x="58" y="14"/>
                        </a:lnTo>
                        <a:lnTo>
                          <a:pt x="48" y="21"/>
                        </a:lnTo>
                        <a:lnTo>
                          <a:pt x="41" y="29"/>
                        </a:lnTo>
                        <a:lnTo>
                          <a:pt x="33" y="53"/>
                        </a:lnTo>
                        <a:lnTo>
                          <a:pt x="27" y="54"/>
                        </a:lnTo>
                        <a:lnTo>
                          <a:pt x="27" y="58"/>
                        </a:lnTo>
                        <a:lnTo>
                          <a:pt x="25" y="58"/>
                        </a:lnTo>
                        <a:lnTo>
                          <a:pt x="22" y="63"/>
                        </a:lnTo>
                        <a:lnTo>
                          <a:pt x="17" y="73"/>
                        </a:lnTo>
                        <a:lnTo>
                          <a:pt x="16" y="77"/>
                        </a:lnTo>
                        <a:lnTo>
                          <a:pt x="11" y="85"/>
                        </a:lnTo>
                        <a:lnTo>
                          <a:pt x="6" y="99"/>
                        </a:lnTo>
                        <a:lnTo>
                          <a:pt x="1" y="106"/>
                        </a:lnTo>
                        <a:lnTo>
                          <a:pt x="0" y="111"/>
                        </a:lnTo>
                        <a:lnTo>
                          <a:pt x="2" y="113"/>
                        </a:lnTo>
                        <a:lnTo>
                          <a:pt x="14" y="112"/>
                        </a:lnTo>
                        <a:lnTo>
                          <a:pt x="16" y="116"/>
                        </a:lnTo>
                        <a:lnTo>
                          <a:pt x="18" y="116"/>
                        </a:lnTo>
                        <a:lnTo>
                          <a:pt x="21" y="113"/>
                        </a:lnTo>
                        <a:lnTo>
                          <a:pt x="26" y="115"/>
                        </a:lnTo>
                        <a:lnTo>
                          <a:pt x="27" y="101"/>
                        </a:lnTo>
                        <a:lnTo>
                          <a:pt x="29" y="99"/>
                        </a:lnTo>
                        <a:lnTo>
                          <a:pt x="31" y="100"/>
                        </a:lnTo>
                        <a:lnTo>
                          <a:pt x="32" y="102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grpSp>
                <p:nvGrpSpPr>
                  <p:cNvPr id="529" name="Group 71"/>
                  <p:cNvGrpSpPr>
                    <a:grpSpLocks/>
                  </p:cNvGrpSpPr>
                  <p:nvPr/>
                </p:nvGrpSpPr>
                <p:grpSpPr bwMode="auto">
                  <a:xfrm>
                    <a:off x="2889" y="2101"/>
                    <a:ext cx="17" cy="51"/>
                    <a:chOff x="2889" y="2101"/>
                    <a:chExt cx="17" cy="51"/>
                  </a:xfrm>
                  <a:grpFill/>
                </p:grpSpPr>
                <p:sp>
                  <p:nvSpPr>
                    <p:cNvPr id="554" name="Freeform 72"/>
                    <p:cNvSpPr>
                      <a:spLocks/>
                    </p:cNvSpPr>
                    <p:nvPr/>
                  </p:nvSpPr>
                  <p:spPr bwMode="gray">
                    <a:xfrm>
                      <a:off x="2897" y="2111"/>
                      <a:ext cx="8" cy="16"/>
                    </a:xfrm>
                    <a:custGeom>
                      <a:avLst/>
                      <a:gdLst>
                        <a:gd name="T0" fmla="*/ 1 w 37"/>
                        <a:gd name="T1" fmla="*/ 3 h 80"/>
                        <a:gd name="T2" fmla="*/ 2 w 37"/>
                        <a:gd name="T3" fmla="*/ 3 h 80"/>
                        <a:gd name="T4" fmla="*/ 2 w 37"/>
                        <a:gd name="T5" fmla="*/ 2 h 80"/>
                        <a:gd name="T6" fmla="*/ 2 w 37"/>
                        <a:gd name="T7" fmla="*/ 2 h 80"/>
                        <a:gd name="T8" fmla="*/ 2 w 37"/>
                        <a:gd name="T9" fmla="*/ 2 h 80"/>
                        <a:gd name="T10" fmla="*/ 2 w 37"/>
                        <a:gd name="T11" fmla="*/ 1 h 80"/>
                        <a:gd name="T12" fmla="*/ 2 w 37"/>
                        <a:gd name="T13" fmla="*/ 1 h 80"/>
                        <a:gd name="T14" fmla="*/ 2 w 37"/>
                        <a:gd name="T15" fmla="*/ 0 h 80"/>
                        <a:gd name="T16" fmla="*/ 2 w 37"/>
                        <a:gd name="T17" fmla="*/ 0 h 80"/>
                        <a:gd name="T18" fmla="*/ 2 w 37"/>
                        <a:gd name="T19" fmla="*/ 0 h 80"/>
                        <a:gd name="T20" fmla="*/ 2 w 37"/>
                        <a:gd name="T21" fmla="*/ 0 h 80"/>
                        <a:gd name="T22" fmla="*/ 1 w 37"/>
                        <a:gd name="T23" fmla="*/ 0 h 80"/>
                        <a:gd name="T24" fmla="*/ 1 w 37"/>
                        <a:gd name="T25" fmla="*/ 0 h 80"/>
                        <a:gd name="T26" fmla="*/ 1 w 37"/>
                        <a:gd name="T27" fmla="*/ 0 h 80"/>
                        <a:gd name="T28" fmla="*/ 1 w 37"/>
                        <a:gd name="T29" fmla="*/ 0 h 80"/>
                        <a:gd name="T30" fmla="*/ 1 w 37"/>
                        <a:gd name="T31" fmla="*/ 0 h 80"/>
                        <a:gd name="T32" fmla="*/ 0 w 37"/>
                        <a:gd name="T33" fmla="*/ 0 h 80"/>
                        <a:gd name="T34" fmla="*/ 0 w 37"/>
                        <a:gd name="T35" fmla="*/ 1 h 80"/>
                        <a:gd name="T36" fmla="*/ 0 w 37"/>
                        <a:gd name="T37" fmla="*/ 1 h 80"/>
                        <a:gd name="T38" fmla="*/ 0 w 37"/>
                        <a:gd name="T39" fmla="*/ 1 h 80"/>
                        <a:gd name="T40" fmla="*/ 0 w 37"/>
                        <a:gd name="T41" fmla="*/ 2 h 80"/>
                        <a:gd name="T42" fmla="*/ 0 w 37"/>
                        <a:gd name="T43" fmla="*/ 2 h 80"/>
                        <a:gd name="T44" fmla="*/ 1 w 37"/>
                        <a:gd name="T45" fmla="*/ 2 h 80"/>
                        <a:gd name="T46" fmla="*/ 1 w 37"/>
                        <a:gd name="T47" fmla="*/ 2 h 80"/>
                        <a:gd name="T48" fmla="*/ 1 w 37"/>
                        <a:gd name="T49" fmla="*/ 2 h 80"/>
                        <a:gd name="T50" fmla="*/ 1 w 37"/>
                        <a:gd name="T51" fmla="*/ 2 h 80"/>
                        <a:gd name="T52" fmla="*/ 0 w 37"/>
                        <a:gd name="T53" fmla="*/ 2 h 80"/>
                        <a:gd name="T54" fmla="*/ 0 w 37"/>
                        <a:gd name="T55" fmla="*/ 2 h 80"/>
                        <a:gd name="T56" fmla="*/ 0 w 37"/>
                        <a:gd name="T57" fmla="*/ 2 h 80"/>
                        <a:gd name="T58" fmla="*/ 0 w 37"/>
                        <a:gd name="T59" fmla="*/ 3 h 80"/>
                        <a:gd name="T60" fmla="*/ 0 w 37"/>
                        <a:gd name="T61" fmla="*/ 3 h 80"/>
                        <a:gd name="T62" fmla="*/ 0 w 37"/>
                        <a:gd name="T63" fmla="*/ 3 h 80"/>
                        <a:gd name="T64" fmla="*/ 0 w 37"/>
                        <a:gd name="T65" fmla="*/ 3 h 80"/>
                        <a:gd name="T66" fmla="*/ 0 w 37"/>
                        <a:gd name="T67" fmla="*/ 3 h 80"/>
                        <a:gd name="T68" fmla="*/ 1 w 37"/>
                        <a:gd name="T69" fmla="*/ 3 h 80"/>
                        <a:gd name="T70" fmla="*/ 1 w 37"/>
                        <a:gd name="T71" fmla="*/ 3 h 80"/>
                        <a:gd name="T72" fmla="*/ 1 w 37"/>
                        <a:gd name="T73" fmla="*/ 3 h 80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w 37"/>
                        <a:gd name="T112" fmla="*/ 0 h 80"/>
                        <a:gd name="T113" fmla="*/ 37 w 37"/>
                        <a:gd name="T114" fmla="*/ 80 h 80"/>
                      </a:gdLst>
                      <a:ahLst/>
                      <a:cxnLst>
                        <a:cxn ang="T74">
                          <a:pos x="T0" y="T1"/>
                        </a:cxn>
                        <a:cxn ang="T75">
                          <a:pos x="T2" y="T3"/>
                        </a:cxn>
                        <a:cxn ang="T76">
                          <a:pos x="T4" y="T5"/>
                        </a:cxn>
                        <a:cxn ang="T77">
                          <a:pos x="T6" y="T7"/>
                        </a:cxn>
                        <a:cxn ang="T78">
                          <a:pos x="T8" y="T9"/>
                        </a:cxn>
                        <a:cxn ang="T79">
                          <a:pos x="T10" y="T11"/>
                        </a:cxn>
                        <a:cxn ang="T80">
                          <a:pos x="T12" y="T13"/>
                        </a:cxn>
                        <a:cxn ang="T81">
                          <a:pos x="T14" y="T15"/>
                        </a:cxn>
                        <a:cxn ang="T82">
                          <a:pos x="T16" y="T17"/>
                        </a:cxn>
                        <a:cxn ang="T83">
                          <a:pos x="T18" y="T19"/>
                        </a:cxn>
                        <a:cxn ang="T84">
                          <a:pos x="T20" y="T21"/>
                        </a:cxn>
                        <a:cxn ang="T85">
                          <a:pos x="T22" y="T23"/>
                        </a:cxn>
                        <a:cxn ang="T86">
                          <a:pos x="T24" y="T25"/>
                        </a:cxn>
                        <a:cxn ang="T87">
                          <a:pos x="T26" y="T27"/>
                        </a:cxn>
                        <a:cxn ang="T88">
                          <a:pos x="T28" y="T29"/>
                        </a:cxn>
                        <a:cxn ang="T89">
                          <a:pos x="T30" y="T31"/>
                        </a:cxn>
                        <a:cxn ang="T90">
                          <a:pos x="T32" y="T33"/>
                        </a:cxn>
                        <a:cxn ang="T91">
                          <a:pos x="T34" y="T35"/>
                        </a:cxn>
                        <a:cxn ang="T92">
                          <a:pos x="T36" y="T37"/>
                        </a:cxn>
                        <a:cxn ang="T93">
                          <a:pos x="T38" y="T39"/>
                        </a:cxn>
                        <a:cxn ang="T94">
                          <a:pos x="T40" y="T41"/>
                        </a:cxn>
                        <a:cxn ang="T95">
                          <a:pos x="T42" y="T43"/>
                        </a:cxn>
                        <a:cxn ang="T96">
                          <a:pos x="T44" y="T45"/>
                        </a:cxn>
                        <a:cxn ang="T97">
                          <a:pos x="T46" y="T47"/>
                        </a:cxn>
                        <a:cxn ang="T98">
                          <a:pos x="T48" y="T49"/>
                        </a:cxn>
                        <a:cxn ang="T99">
                          <a:pos x="T50" y="T51"/>
                        </a:cxn>
                        <a:cxn ang="T100">
                          <a:pos x="T52" y="T53"/>
                        </a:cxn>
                        <a:cxn ang="T101">
                          <a:pos x="T54" y="T55"/>
                        </a:cxn>
                        <a:cxn ang="T102">
                          <a:pos x="T56" y="T57"/>
                        </a:cxn>
                        <a:cxn ang="T103">
                          <a:pos x="T58" y="T59"/>
                        </a:cxn>
                        <a:cxn ang="T104">
                          <a:pos x="T60" y="T61"/>
                        </a:cxn>
                        <a:cxn ang="T105">
                          <a:pos x="T62" y="T63"/>
                        </a:cxn>
                        <a:cxn ang="T106">
                          <a:pos x="T64" y="T65"/>
                        </a:cxn>
                        <a:cxn ang="T107">
                          <a:pos x="T66" y="T67"/>
                        </a:cxn>
                        <a:cxn ang="T108">
                          <a:pos x="T68" y="T69"/>
                        </a:cxn>
                        <a:cxn ang="T109">
                          <a:pos x="T70" y="T71"/>
                        </a:cxn>
                        <a:cxn ang="T110">
                          <a:pos x="T72" y="T73"/>
                        </a:cxn>
                      </a:cxnLst>
                      <a:rect l="T111" t="T112" r="T113" b="T114"/>
                      <a:pathLst>
                        <a:path w="37" h="80">
                          <a:moveTo>
                            <a:pt x="30" y="66"/>
                          </a:moveTo>
                          <a:lnTo>
                            <a:pt x="32" y="64"/>
                          </a:lnTo>
                          <a:lnTo>
                            <a:pt x="33" y="55"/>
                          </a:lnTo>
                          <a:lnTo>
                            <a:pt x="36" y="49"/>
                          </a:lnTo>
                          <a:lnTo>
                            <a:pt x="33" y="40"/>
                          </a:lnTo>
                          <a:lnTo>
                            <a:pt x="35" y="29"/>
                          </a:lnTo>
                          <a:lnTo>
                            <a:pt x="36" y="21"/>
                          </a:lnTo>
                          <a:lnTo>
                            <a:pt x="37" y="12"/>
                          </a:lnTo>
                          <a:lnTo>
                            <a:pt x="37" y="10"/>
                          </a:lnTo>
                          <a:lnTo>
                            <a:pt x="33" y="10"/>
                          </a:lnTo>
                          <a:lnTo>
                            <a:pt x="30" y="7"/>
                          </a:lnTo>
                          <a:lnTo>
                            <a:pt x="28" y="0"/>
                          </a:lnTo>
                          <a:lnTo>
                            <a:pt x="24" y="1"/>
                          </a:lnTo>
                          <a:lnTo>
                            <a:pt x="16" y="0"/>
                          </a:lnTo>
                          <a:lnTo>
                            <a:pt x="12" y="1"/>
                          </a:lnTo>
                          <a:lnTo>
                            <a:pt x="10" y="3"/>
                          </a:lnTo>
                          <a:lnTo>
                            <a:pt x="10" y="13"/>
                          </a:lnTo>
                          <a:lnTo>
                            <a:pt x="4" y="19"/>
                          </a:lnTo>
                          <a:lnTo>
                            <a:pt x="4" y="34"/>
                          </a:lnTo>
                          <a:lnTo>
                            <a:pt x="6" y="39"/>
                          </a:lnTo>
                          <a:lnTo>
                            <a:pt x="5" y="45"/>
                          </a:lnTo>
                          <a:lnTo>
                            <a:pt x="15" y="44"/>
                          </a:lnTo>
                          <a:lnTo>
                            <a:pt x="19" y="45"/>
                          </a:lnTo>
                          <a:lnTo>
                            <a:pt x="19" y="48"/>
                          </a:lnTo>
                          <a:lnTo>
                            <a:pt x="17" y="49"/>
                          </a:lnTo>
                          <a:lnTo>
                            <a:pt x="11" y="50"/>
                          </a:lnTo>
                          <a:lnTo>
                            <a:pt x="8" y="53"/>
                          </a:lnTo>
                          <a:lnTo>
                            <a:pt x="6" y="56"/>
                          </a:lnTo>
                          <a:lnTo>
                            <a:pt x="4" y="65"/>
                          </a:lnTo>
                          <a:lnTo>
                            <a:pt x="0" y="69"/>
                          </a:lnTo>
                          <a:lnTo>
                            <a:pt x="0" y="75"/>
                          </a:lnTo>
                          <a:lnTo>
                            <a:pt x="4" y="80"/>
                          </a:lnTo>
                          <a:lnTo>
                            <a:pt x="4" y="76"/>
                          </a:lnTo>
                          <a:lnTo>
                            <a:pt x="16" y="75"/>
                          </a:lnTo>
                          <a:lnTo>
                            <a:pt x="26" y="66"/>
                          </a:lnTo>
                          <a:lnTo>
                            <a:pt x="30" y="66"/>
                          </a:lnTo>
                          <a:close/>
                        </a:path>
                      </a:pathLst>
                    </a:custGeom>
                    <a:grpFill/>
                    <a:ln w="6350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txBody>
                    <a:bodyPr/>
                    <a:lstStyle/>
                    <a:p>
                      <a:endParaRPr lang="ru-RU" sz="1400"/>
                    </a:p>
                  </p:txBody>
                </p:sp>
                <p:sp>
                  <p:nvSpPr>
                    <p:cNvPr id="555" name="Freeform 73"/>
                    <p:cNvSpPr>
                      <a:spLocks/>
                    </p:cNvSpPr>
                    <p:nvPr/>
                  </p:nvSpPr>
                  <p:spPr bwMode="gray">
                    <a:xfrm>
                      <a:off x="2889" y="2124"/>
                      <a:ext cx="4" cy="5"/>
                    </a:xfrm>
                    <a:custGeom>
                      <a:avLst/>
                      <a:gdLst>
                        <a:gd name="T0" fmla="*/ 0 w 18"/>
                        <a:gd name="T1" fmla="*/ 1 h 24"/>
                        <a:gd name="T2" fmla="*/ 0 w 18"/>
                        <a:gd name="T3" fmla="*/ 1 h 24"/>
                        <a:gd name="T4" fmla="*/ 0 w 18"/>
                        <a:gd name="T5" fmla="*/ 1 h 24"/>
                        <a:gd name="T6" fmla="*/ 1 w 18"/>
                        <a:gd name="T7" fmla="*/ 0 h 24"/>
                        <a:gd name="T8" fmla="*/ 1 w 18"/>
                        <a:gd name="T9" fmla="*/ 0 h 24"/>
                        <a:gd name="T10" fmla="*/ 0 w 18"/>
                        <a:gd name="T11" fmla="*/ 1 h 24"/>
                        <a:gd name="T12" fmla="*/ 0 w 18"/>
                        <a:gd name="T13" fmla="*/ 1 h 24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  <a:gd name="T18" fmla="*/ 0 60000 65536"/>
                        <a:gd name="T19" fmla="*/ 0 60000 65536"/>
                        <a:gd name="T20" fmla="*/ 0 60000 65536"/>
                        <a:gd name="T21" fmla="*/ 0 w 18"/>
                        <a:gd name="T22" fmla="*/ 0 h 24"/>
                        <a:gd name="T23" fmla="*/ 18 w 18"/>
                        <a:gd name="T24" fmla="*/ 24 h 24"/>
                      </a:gdLst>
                      <a:ahLst/>
                      <a:cxnLst>
                        <a:cxn ang="T14">
                          <a:pos x="T0" y="T1"/>
                        </a:cxn>
                        <a:cxn ang="T15">
                          <a:pos x="T2" y="T3"/>
                        </a:cxn>
                        <a:cxn ang="T16">
                          <a:pos x="T4" y="T5"/>
                        </a:cxn>
                        <a:cxn ang="T17">
                          <a:pos x="T6" y="T7"/>
                        </a:cxn>
                        <a:cxn ang="T18">
                          <a:pos x="T8" y="T9"/>
                        </a:cxn>
                        <a:cxn ang="T19">
                          <a:pos x="T10" y="T11"/>
                        </a:cxn>
                        <a:cxn ang="T20">
                          <a:pos x="T12" y="T13"/>
                        </a:cxn>
                      </a:cxnLst>
                      <a:rect l="T21" t="T22" r="T23" b="T24"/>
                      <a:pathLst>
                        <a:path w="18" h="24">
                          <a:moveTo>
                            <a:pt x="1" y="24"/>
                          </a:moveTo>
                          <a:lnTo>
                            <a:pt x="8" y="21"/>
                          </a:lnTo>
                          <a:lnTo>
                            <a:pt x="7" y="16"/>
                          </a:lnTo>
                          <a:lnTo>
                            <a:pt x="18" y="5"/>
                          </a:lnTo>
                          <a:lnTo>
                            <a:pt x="14" y="0"/>
                          </a:lnTo>
                          <a:lnTo>
                            <a:pt x="0" y="14"/>
                          </a:lnTo>
                          <a:lnTo>
                            <a:pt x="1" y="24"/>
                          </a:lnTo>
                          <a:close/>
                        </a:path>
                      </a:pathLst>
                    </a:custGeom>
                    <a:grpFill/>
                    <a:ln w="6350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txBody>
                    <a:bodyPr/>
                    <a:lstStyle/>
                    <a:p>
                      <a:endParaRPr lang="ru-RU" sz="1400"/>
                    </a:p>
                  </p:txBody>
                </p:sp>
                <p:sp>
                  <p:nvSpPr>
                    <p:cNvPr id="556" name="Freeform 74"/>
                    <p:cNvSpPr>
                      <a:spLocks/>
                    </p:cNvSpPr>
                    <p:nvPr/>
                  </p:nvSpPr>
                  <p:spPr bwMode="gray">
                    <a:xfrm>
                      <a:off x="2890" y="2101"/>
                      <a:ext cx="16" cy="51"/>
                    </a:xfrm>
                    <a:custGeom>
                      <a:avLst/>
                      <a:gdLst>
                        <a:gd name="T0" fmla="*/ 2 w 81"/>
                        <a:gd name="T1" fmla="*/ 10 h 251"/>
                        <a:gd name="T2" fmla="*/ 2 w 81"/>
                        <a:gd name="T3" fmla="*/ 7 h 251"/>
                        <a:gd name="T4" fmla="*/ 3 w 81"/>
                        <a:gd name="T5" fmla="*/ 6 h 251"/>
                        <a:gd name="T6" fmla="*/ 3 w 81"/>
                        <a:gd name="T7" fmla="*/ 5 h 251"/>
                        <a:gd name="T8" fmla="*/ 3 w 81"/>
                        <a:gd name="T9" fmla="*/ 5 h 251"/>
                        <a:gd name="T10" fmla="*/ 2 w 81"/>
                        <a:gd name="T11" fmla="*/ 5 h 251"/>
                        <a:gd name="T12" fmla="*/ 2 w 81"/>
                        <a:gd name="T13" fmla="*/ 5 h 251"/>
                        <a:gd name="T14" fmla="*/ 2 w 81"/>
                        <a:gd name="T15" fmla="*/ 5 h 251"/>
                        <a:gd name="T16" fmla="*/ 2 w 81"/>
                        <a:gd name="T17" fmla="*/ 4 h 251"/>
                        <a:gd name="T18" fmla="*/ 2 w 81"/>
                        <a:gd name="T19" fmla="*/ 4 h 251"/>
                        <a:gd name="T20" fmla="*/ 2 w 81"/>
                        <a:gd name="T21" fmla="*/ 4 h 251"/>
                        <a:gd name="T22" fmla="*/ 2 w 81"/>
                        <a:gd name="T23" fmla="*/ 4 h 251"/>
                        <a:gd name="T24" fmla="*/ 2 w 81"/>
                        <a:gd name="T25" fmla="*/ 3 h 251"/>
                        <a:gd name="T26" fmla="*/ 2 w 81"/>
                        <a:gd name="T27" fmla="*/ 3 h 251"/>
                        <a:gd name="T28" fmla="*/ 2 w 81"/>
                        <a:gd name="T29" fmla="*/ 2 h 251"/>
                        <a:gd name="T30" fmla="*/ 2 w 81"/>
                        <a:gd name="T31" fmla="*/ 2 h 251"/>
                        <a:gd name="T32" fmla="*/ 3 w 81"/>
                        <a:gd name="T33" fmla="*/ 2 h 251"/>
                        <a:gd name="T34" fmla="*/ 3 w 81"/>
                        <a:gd name="T35" fmla="*/ 2 h 251"/>
                        <a:gd name="T36" fmla="*/ 3 w 81"/>
                        <a:gd name="T37" fmla="*/ 1 h 251"/>
                        <a:gd name="T38" fmla="*/ 3 w 81"/>
                        <a:gd name="T39" fmla="*/ 1 h 251"/>
                        <a:gd name="T40" fmla="*/ 3 w 81"/>
                        <a:gd name="T41" fmla="*/ 1 h 251"/>
                        <a:gd name="T42" fmla="*/ 3 w 81"/>
                        <a:gd name="T43" fmla="*/ 0 h 251"/>
                        <a:gd name="T44" fmla="*/ 3 w 81"/>
                        <a:gd name="T45" fmla="*/ 0 h 251"/>
                        <a:gd name="T46" fmla="*/ 3 w 81"/>
                        <a:gd name="T47" fmla="*/ 1 h 251"/>
                        <a:gd name="T48" fmla="*/ 3 w 81"/>
                        <a:gd name="T49" fmla="*/ 1 h 251"/>
                        <a:gd name="T50" fmla="*/ 2 w 81"/>
                        <a:gd name="T51" fmla="*/ 1 h 251"/>
                        <a:gd name="T52" fmla="*/ 2 w 81"/>
                        <a:gd name="T53" fmla="*/ 1 h 251"/>
                        <a:gd name="T54" fmla="*/ 2 w 81"/>
                        <a:gd name="T55" fmla="*/ 2 h 251"/>
                        <a:gd name="T56" fmla="*/ 1 w 81"/>
                        <a:gd name="T57" fmla="*/ 3 h 251"/>
                        <a:gd name="T58" fmla="*/ 1 w 81"/>
                        <a:gd name="T59" fmla="*/ 5 h 251"/>
                        <a:gd name="T60" fmla="*/ 0 w 81"/>
                        <a:gd name="T61" fmla="*/ 5 h 251"/>
                        <a:gd name="T62" fmla="*/ 0 w 81"/>
                        <a:gd name="T63" fmla="*/ 6 h 251"/>
                        <a:gd name="T64" fmla="*/ 0 w 81"/>
                        <a:gd name="T65" fmla="*/ 6 h 251"/>
                        <a:gd name="T66" fmla="*/ 2 w 81"/>
                        <a:gd name="T67" fmla="*/ 10 h 251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w 81"/>
                        <a:gd name="T103" fmla="*/ 0 h 251"/>
                        <a:gd name="T104" fmla="*/ 81 w 81"/>
                        <a:gd name="T105" fmla="*/ 251 h 251"/>
                      </a:gdLst>
                      <a:ahLst/>
                      <a:cxnLst>
                        <a:cxn ang="T68">
                          <a:pos x="T0" y="T1"/>
                        </a:cxn>
                        <a:cxn ang="T69">
                          <a:pos x="T2" y="T3"/>
                        </a:cxn>
                        <a:cxn ang="T70">
                          <a:pos x="T4" y="T5"/>
                        </a:cxn>
                        <a:cxn ang="T71">
                          <a:pos x="T6" y="T7"/>
                        </a:cxn>
                        <a:cxn ang="T72">
                          <a:pos x="T8" y="T9"/>
                        </a:cxn>
                        <a:cxn ang="T73">
                          <a:pos x="T10" y="T11"/>
                        </a:cxn>
                        <a:cxn ang="T74">
                          <a:pos x="T12" y="T13"/>
                        </a:cxn>
                        <a:cxn ang="T75">
                          <a:pos x="T14" y="T15"/>
                        </a:cxn>
                        <a:cxn ang="T76">
                          <a:pos x="T16" y="T17"/>
                        </a:cxn>
                        <a:cxn ang="T77">
                          <a:pos x="T18" y="T19"/>
                        </a:cxn>
                        <a:cxn ang="T78">
                          <a:pos x="T20" y="T21"/>
                        </a:cxn>
                        <a:cxn ang="T79">
                          <a:pos x="T22" y="T23"/>
                        </a:cxn>
                        <a:cxn ang="T80">
                          <a:pos x="T24" y="T25"/>
                        </a:cxn>
                        <a:cxn ang="T81">
                          <a:pos x="T26" y="T27"/>
                        </a:cxn>
                        <a:cxn ang="T82">
                          <a:pos x="T28" y="T29"/>
                        </a:cxn>
                        <a:cxn ang="T83">
                          <a:pos x="T30" y="T31"/>
                        </a:cxn>
                        <a:cxn ang="T84">
                          <a:pos x="T32" y="T33"/>
                        </a:cxn>
                        <a:cxn ang="T85">
                          <a:pos x="T34" y="T35"/>
                        </a:cxn>
                        <a:cxn ang="T86">
                          <a:pos x="T36" y="T37"/>
                        </a:cxn>
                        <a:cxn ang="T87">
                          <a:pos x="T38" y="T39"/>
                        </a:cxn>
                        <a:cxn ang="T88">
                          <a:pos x="T40" y="T41"/>
                        </a:cxn>
                        <a:cxn ang="T89">
                          <a:pos x="T42" y="T43"/>
                        </a:cxn>
                        <a:cxn ang="T90">
                          <a:pos x="T44" y="T45"/>
                        </a:cxn>
                        <a:cxn ang="T91">
                          <a:pos x="T46" y="T47"/>
                        </a:cxn>
                        <a:cxn ang="T92">
                          <a:pos x="T48" y="T49"/>
                        </a:cxn>
                        <a:cxn ang="T93">
                          <a:pos x="T50" y="T51"/>
                        </a:cxn>
                        <a:cxn ang="T94">
                          <a:pos x="T52" y="T53"/>
                        </a:cxn>
                        <a:cxn ang="T95">
                          <a:pos x="T54" y="T55"/>
                        </a:cxn>
                        <a:cxn ang="T96">
                          <a:pos x="T56" y="T57"/>
                        </a:cxn>
                        <a:cxn ang="T97">
                          <a:pos x="T58" y="T59"/>
                        </a:cxn>
                        <a:cxn ang="T98">
                          <a:pos x="T60" y="T61"/>
                        </a:cxn>
                        <a:cxn ang="T99">
                          <a:pos x="T62" y="T63"/>
                        </a:cxn>
                        <a:cxn ang="T100">
                          <a:pos x="T64" y="T65"/>
                        </a:cxn>
                        <a:cxn ang="T101">
                          <a:pos x="T66" y="T67"/>
                        </a:cxn>
                      </a:cxnLst>
                      <a:rect l="T102" t="T103" r="T104" b="T105"/>
                      <a:pathLst>
                        <a:path w="81" h="251">
                          <a:moveTo>
                            <a:pt x="44" y="248"/>
                          </a:moveTo>
                          <a:lnTo>
                            <a:pt x="45" y="242"/>
                          </a:lnTo>
                          <a:lnTo>
                            <a:pt x="49" y="232"/>
                          </a:lnTo>
                          <a:lnTo>
                            <a:pt x="55" y="178"/>
                          </a:lnTo>
                          <a:lnTo>
                            <a:pt x="61" y="158"/>
                          </a:lnTo>
                          <a:lnTo>
                            <a:pt x="70" y="140"/>
                          </a:lnTo>
                          <a:lnTo>
                            <a:pt x="67" y="132"/>
                          </a:lnTo>
                          <a:lnTo>
                            <a:pt x="71" y="119"/>
                          </a:lnTo>
                          <a:lnTo>
                            <a:pt x="69" y="115"/>
                          </a:lnTo>
                          <a:lnTo>
                            <a:pt x="65" y="115"/>
                          </a:lnTo>
                          <a:lnTo>
                            <a:pt x="55" y="124"/>
                          </a:lnTo>
                          <a:lnTo>
                            <a:pt x="43" y="125"/>
                          </a:lnTo>
                          <a:lnTo>
                            <a:pt x="43" y="129"/>
                          </a:lnTo>
                          <a:lnTo>
                            <a:pt x="39" y="124"/>
                          </a:lnTo>
                          <a:lnTo>
                            <a:pt x="39" y="118"/>
                          </a:lnTo>
                          <a:lnTo>
                            <a:pt x="43" y="114"/>
                          </a:lnTo>
                          <a:lnTo>
                            <a:pt x="45" y="105"/>
                          </a:lnTo>
                          <a:lnTo>
                            <a:pt x="47" y="102"/>
                          </a:lnTo>
                          <a:lnTo>
                            <a:pt x="50" y="99"/>
                          </a:lnTo>
                          <a:lnTo>
                            <a:pt x="56" y="98"/>
                          </a:lnTo>
                          <a:lnTo>
                            <a:pt x="58" y="97"/>
                          </a:lnTo>
                          <a:lnTo>
                            <a:pt x="58" y="94"/>
                          </a:lnTo>
                          <a:lnTo>
                            <a:pt x="54" y="93"/>
                          </a:lnTo>
                          <a:lnTo>
                            <a:pt x="44" y="94"/>
                          </a:lnTo>
                          <a:lnTo>
                            <a:pt x="45" y="88"/>
                          </a:lnTo>
                          <a:lnTo>
                            <a:pt x="43" y="83"/>
                          </a:lnTo>
                          <a:lnTo>
                            <a:pt x="43" y="68"/>
                          </a:lnTo>
                          <a:lnTo>
                            <a:pt x="49" y="62"/>
                          </a:lnTo>
                          <a:lnTo>
                            <a:pt x="49" y="52"/>
                          </a:lnTo>
                          <a:lnTo>
                            <a:pt x="51" y="50"/>
                          </a:lnTo>
                          <a:lnTo>
                            <a:pt x="55" y="49"/>
                          </a:lnTo>
                          <a:lnTo>
                            <a:pt x="63" y="50"/>
                          </a:lnTo>
                          <a:lnTo>
                            <a:pt x="67" y="49"/>
                          </a:lnTo>
                          <a:lnTo>
                            <a:pt x="69" y="56"/>
                          </a:lnTo>
                          <a:lnTo>
                            <a:pt x="72" y="59"/>
                          </a:lnTo>
                          <a:lnTo>
                            <a:pt x="76" y="59"/>
                          </a:lnTo>
                          <a:lnTo>
                            <a:pt x="76" y="39"/>
                          </a:lnTo>
                          <a:lnTo>
                            <a:pt x="81" y="33"/>
                          </a:lnTo>
                          <a:lnTo>
                            <a:pt x="78" y="27"/>
                          </a:lnTo>
                          <a:lnTo>
                            <a:pt x="80" y="22"/>
                          </a:lnTo>
                          <a:lnTo>
                            <a:pt x="78" y="17"/>
                          </a:lnTo>
                          <a:lnTo>
                            <a:pt x="81" y="13"/>
                          </a:lnTo>
                          <a:lnTo>
                            <a:pt x="81" y="3"/>
                          </a:lnTo>
                          <a:lnTo>
                            <a:pt x="80" y="1"/>
                          </a:lnTo>
                          <a:lnTo>
                            <a:pt x="78" y="0"/>
                          </a:lnTo>
                          <a:lnTo>
                            <a:pt x="76" y="2"/>
                          </a:lnTo>
                          <a:lnTo>
                            <a:pt x="75" y="16"/>
                          </a:lnTo>
                          <a:lnTo>
                            <a:pt x="70" y="14"/>
                          </a:lnTo>
                          <a:lnTo>
                            <a:pt x="67" y="17"/>
                          </a:lnTo>
                          <a:lnTo>
                            <a:pt x="65" y="17"/>
                          </a:lnTo>
                          <a:lnTo>
                            <a:pt x="63" y="13"/>
                          </a:lnTo>
                          <a:lnTo>
                            <a:pt x="51" y="14"/>
                          </a:lnTo>
                          <a:lnTo>
                            <a:pt x="49" y="12"/>
                          </a:lnTo>
                          <a:lnTo>
                            <a:pt x="47" y="17"/>
                          </a:lnTo>
                          <a:lnTo>
                            <a:pt x="47" y="27"/>
                          </a:lnTo>
                          <a:lnTo>
                            <a:pt x="39" y="41"/>
                          </a:lnTo>
                          <a:lnTo>
                            <a:pt x="38" y="49"/>
                          </a:lnTo>
                          <a:lnTo>
                            <a:pt x="29" y="80"/>
                          </a:lnTo>
                          <a:lnTo>
                            <a:pt x="22" y="104"/>
                          </a:lnTo>
                          <a:lnTo>
                            <a:pt x="13" y="113"/>
                          </a:lnTo>
                          <a:lnTo>
                            <a:pt x="17" y="118"/>
                          </a:lnTo>
                          <a:lnTo>
                            <a:pt x="6" y="129"/>
                          </a:lnTo>
                          <a:lnTo>
                            <a:pt x="7" y="134"/>
                          </a:lnTo>
                          <a:lnTo>
                            <a:pt x="0" y="137"/>
                          </a:lnTo>
                          <a:lnTo>
                            <a:pt x="1" y="142"/>
                          </a:lnTo>
                          <a:lnTo>
                            <a:pt x="4" y="148"/>
                          </a:lnTo>
                          <a:lnTo>
                            <a:pt x="23" y="206"/>
                          </a:lnTo>
                          <a:lnTo>
                            <a:pt x="39" y="251"/>
                          </a:lnTo>
                          <a:lnTo>
                            <a:pt x="44" y="248"/>
                          </a:lnTo>
                          <a:close/>
                        </a:path>
                      </a:pathLst>
                    </a:custGeom>
                    <a:grpFill/>
                    <a:ln w="6350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txBody>
                    <a:bodyPr/>
                    <a:lstStyle/>
                    <a:p>
                      <a:endParaRPr lang="ru-RU" sz="1400"/>
                    </a:p>
                  </p:txBody>
                </p:sp>
              </p:grpSp>
              <p:sp>
                <p:nvSpPr>
                  <p:cNvPr id="530" name="Freeform 75"/>
                  <p:cNvSpPr>
                    <a:spLocks/>
                  </p:cNvSpPr>
                  <p:nvPr/>
                </p:nvSpPr>
                <p:spPr bwMode="gray">
                  <a:xfrm>
                    <a:off x="3027" y="2143"/>
                    <a:ext cx="19" cy="19"/>
                  </a:xfrm>
                  <a:custGeom>
                    <a:avLst/>
                    <a:gdLst>
                      <a:gd name="T0" fmla="*/ 4 w 96"/>
                      <a:gd name="T1" fmla="*/ 4 h 95"/>
                      <a:gd name="T2" fmla="*/ 4 w 96"/>
                      <a:gd name="T3" fmla="*/ 3 h 95"/>
                      <a:gd name="T4" fmla="*/ 4 w 96"/>
                      <a:gd name="T5" fmla="*/ 3 h 95"/>
                      <a:gd name="T6" fmla="*/ 3 w 96"/>
                      <a:gd name="T7" fmla="*/ 3 h 95"/>
                      <a:gd name="T8" fmla="*/ 3 w 96"/>
                      <a:gd name="T9" fmla="*/ 2 h 95"/>
                      <a:gd name="T10" fmla="*/ 3 w 96"/>
                      <a:gd name="T11" fmla="*/ 2 h 95"/>
                      <a:gd name="T12" fmla="*/ 2 w 96"/>
                      <a:gd name="T13" fmla="*/ 2 h 95"/>
                      <a:gd name="T14" fmla="*/ 3 w 96"/>
                      <a:gd name="T15" fmla="*/ 2 h 95"/>
                      <a:gd name="T16" fmla="*/ 3 w 96"/>
                      <a:gd name="T17" fmla="*/ 2 h 95"/>
                      <a:gd name="T18" fmla="*/ 3 w 96"/>
                      <a:gd name="T19" fmla="*/ 1 h 95"/>
                      <a:gd name="T20" fmla="*/ 3 w 96"/>
                      <a:gd name="T21" fmla="*/ 1 h 95"/>
                      <a:gd name="T22" fmla="*/ 4 w 96"/>
                      <a:gd name="T23" fmla="*/ 1 h 95"/>
                      <a:gd name="T24" fmla="*/ 4 w 96"/>
                      <a:gd name="T25" fmla="*/ 1 h 95"/>
                      <a:gd name="T26" fmla="*/ 4 w 96"/>
                      <a:gd name="T27" fmla="*/ 1 h 95"/>
                      <a:gd name="T28" fmla="*/ 3 w 96"/>
                      <a:gd name="T29" fmla="*/ 0 h 95"/>
                      <a:gd name="T30" fmla="*/ 3 w 96"/>
                      <a:gd name="T31" fmla="*/ 0 h 95"/>
                      <a:gd name="T32" fmla="*/ 3 w 96"/>
                      <a:gd name="T33" fmla="*/ 0 h 95"/>
                      <a:gd name="T34" fmla="*/ 3 w 96"/>
                      <a:gd name="T35" fmla="*/ 0 h 95"/>
                      <a:gd name="T36" fmla="*/ 2 w 96"/>
                      <a:gd name="T37" fmla="*/ 0 h 95"/>
                      <a:gd name="T38" fmla="*/ 2 w 96"/>
                      <a:gd name="T39" fmla="*/ 0 h 95"/>
                      <a:gd name="T40" fmla="*/ 1 w 96"/>
                      <a:gd name="T41" fmla="*/ 1 h 95"/>
                      <a:gd name="T42" fmla="*/ 1 w 96"/>
                      <a:gd name="T43" fmla="*/ 2 h 95"/>
                      <a:gd name="T44" fmla="*/ 0 w 96"/>
                      <a:gd name="T45" fmla="*/ 2 h 95"/>
                      <a:gd name="T46" fmla="*/ 0 w 96"/>
                      <a:gd name="T47" fmla="*/ 2 h 95"/>
                      <a:gd name="T48" fmla="*/ 1 w 96"/>
                      <a:gd name="T49" fmla="*/ 3 h 95"/>
                      <a:gd name="T50" fmla="*/ 2 w 96"/>
                      <a:gd name="T51" fmla="*/ 3 h 95"/>
                      <a:gd name="T52" fmla="*/ 2 w 96"/>
                      <a:gd name="T53" fmla="*/ 3 h 95"/>
                      <a:gd name="T54" fmla="*/ 2 w 96"/>
                      <a:gd name="T55" fmla="*/ 4 h 95"/>
                      <a:gd name="T56" fmla="*/ 4 w 96"/>
                      <a:gd name="T57" fmla="*/ 4 h 95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w 96"/>
                      <a:gd name="T88" fmla="*/ 0 h 95"/>
                      <a:gd name="T89" fmla="*/ 96 w 96"/>
                      <a:gd name="T90" fmla="*/ 95 h 95"/>
                    </a:gdLst>
                    <a:ahLst/>
                    <a:cxnLst>
                      <a:cxn ang="T58">
                        <a:pos x="T0" y="T1"/>
                      </a:cxn>
                      <a:cxn ang="T59">
                        <a:pos x="T2" y="T3"/>
                      </a:cxn>
                      <a:cxn ang="T60">
                        <a:pos x="T4" y="T5"/>
                      </a:cxn>
                      <a:cxn ang="T61">
                        <a:pos x="T6" y="T7"/>
                      </a:cxn>
                      <a:cxn ang="T62">
                        <a:pos x="T8" y="T9"/>
                      </a:cxn>
                      <a:cxn ang="T63">
                        <a:pos x="T10" y="T11"/>
                      </a:cxn>
                      <a:cxn ang="T64">
                        <a:pos x="T12" y="T13"/>
                      </a:cxn>
                      <a:cxn ang="T65">
                        <a:pos x="T14" y="T15"/>
                      </a:cxn>
                      <a:cxn ang="T66">
                        <a:pos x="T16" y="T17"/>
                      </a:cxn>
                      <a:cxn ang="T67">
                        <a:pos x="T18" y="T19"/>
                      </a:cxn>
                      <a:cxn ang="T68">
                        <a:pos x="T20" y="T21"/>
                      </a:cxn>
                      <a:cxn ang="T69">
                        <a:pos x="T22" y="T23"/>
                      </a:cxn>
                      <a:cxn ang="T70">
                        <a:pos x="T24" y="T25"/>
                      </a:cxn>
                      <a:cxn ang="T71">
                        <a:pos x="T26" y="T27"/>
                      </a:cxn>
                      <a:cxn ang="T72">
                        <a:pos x="T28" y="T29"/>
                      </a:cxn>
                      <a:cxn ang="T73">
                        <a:pos x="T30" y="T31"/>
                      </a:cxn>
                      <a:cxn ang="T74">
                        <a:pos x="T32" y="T33"/>
                      </a:cxn>
                      <a:cxn ang="T75">
                        <a:pos x="T34" y="T35"/>
                      </a:cxn>
                      <a:cxn ang="T76">
                        <a:pos x="T36" y="T37"/>
                      </a:cxn>
                      <a:cxn ang="T77">
                        <a:pos x="T38" y="T39"/>
                      </a:cxn>
                      <a:cxn ang="T78">
                        <a:pos x="T40" y="T41"/>
                      </a:cxn>
                      <a:cxn ang="T79">
                        <a:pos x="T42" y="T43"/>
                      </a:cxn>
                      <a:cxn ang="T80">
                        <a:pos x="T44" y="T45"/>
                      </a:cxn>
                      <a:cxn ang="T81">
                        <a:pos x="T46" y="T47"/>
                      </a:cxn>
                      <a:cxn ang="T82">
                        <a:pos x="T48" y="T49"/>
                      </a:cxn>
                      <a:cxn ang="T83">
                        <a:pos x="T50" y="T51"/>
                      </a:cxn>
                      <a:cxn ang="T84">
                        <a:pos x="T52" y="T53"/>
                      </a:cxn>
                      <a:cxn ang="T85">
                        <a:pos x="T54" y="T55"/>
                      </a:cxn>
                      <a:cxn ang="T86">
                        <a:pos x="T56" y="T57"/>
                      </a:cxn>
                    </a:cxnLst>
                    <a:rect l="T87" t="T88" r="T89" b="T90"/>
                    <a:pathLst>
                      <a:path w="96" h="95">
                        <a:moveTo>
                          <a:pt x="96" y="95"/>
                        </a:moveTo>
                        <a:lnTo>
                          <a:pt x="94" y="84"/>
                        </a:lnTo>
                        <a:lnTo>
                          <a:pt x="90" y="81"/>
                        </a:lnTo>
                        <a:lnTo>
                          <a:pt x="86" y="73"/>
                        </a:lnTo>
                        <a:lnTo>
                          <a:pt x="81" y="52"/>
                        </a:lnTo>
                        <a:lnTo>
                          <a:pt x="73" y="48"/>
                        </a:lnTo>
                        <a:lnTo>
                          <a:pt x="62" y="47"/>
                        </a:lnTo>
                        <a:lnTo>
                          <a:pt x="64" y="42"/>
                        </a:lnTo>
                        <a:lnTo>
                          <a:pt x="67" y="39"/>
                        </a:lnTo>
                        <a:lnTo>
                          <a:pt x="73" y="36"/>
                        </a:lnTo>
                        <a:lnTo>
                          <a:pt x="85" y="33"/>
                        </a:lnTo>
                        <a:lnTo>
                          <a:pt x="92" y="26"/>
                        </a:lnTo>
                        <a:lnTo>
                          <a:pt x="92" y="22"/>
                        </a:lnTo>
                        <a:lnTo>
                          <a:pt x="90" y="18"/>
                        </a:lnTo>
                        <a:lnTo>
                          <a:pt x="79" y="11"/>
                        </a:lnTo>
                        <a:lnTo>
                          <a:pt x="78" y="6"/>
                        </a:lnTo>
                        <a:lnTo>
                          <a:pt x="79" y="5"/>
                        </a:lnTo>
                        <a:lnTo>
                          <a:pt x="67" y="1"/>
                        </a:lnTo>
                        <a:lnTo>
                          <a:pt x="53" y="0"/>
                        </a:lnTo>
                        <a:lnTo>
                          <a:pt x="38" y="6"/>
                        </a:lnTo>
                        <a:lnTo>
                          <a:pt x="26" y="23"/>
                        </a:lnTo>
                        <a:lnTo>
                          <a:pt x="16" y="43"/>
                        </a:lnTo>
                        <a:lnTo>
                          <a:pt x="0" y="59"/>
                        </a:lnTo>
                        <a:lnTo>
                          <a:pt x="4" y="61"/>
                        </a:lnTo>
                        <a:lnTo>
                          <a:pt x="26" y="65"/>
                        </a:lnTo>
                        <a:lnTo>
                          <a:pt x="46" y="73"/>
                        </a:lnTo>
                        <a:lnTo>
                          <a:pt x="53" y="80"/>
                        </a:lnTo>
                        <a:lnTo>
                          <a:pt x="63" y="95"/>
                        </a:lnTo>
                        <a:lnTo>
                          <a:pt x="96" y="95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grpSp>
                <p:nvGrpSpPr>
                  <p:cNvPr id="531" name="Group 76"/>
                  <p:cNvGrpSpPr>
                    <a:grpSpLocks/>
                  </p:cNvGrpSpPr>
                  <p:nvPr/>
                </p:nvGrpSpPr>
                <p:grpSpPr bwMode="auto">
                  <a:xfrm>
                    <a:off x="2896" y="2116"/>
                    <a:ext cx="231" cy="189"/>
                    <a:chOff x="2896" y="2116"/>
                    <a:chExt cx="231" cy="189"/>
                  </a:xfrm>
                  <a:grpFill/>
                </p:grpSpPr>
                <p:sp>
                  <p:nvSpPr>
                    <p:cNvPr id="552" name="Freeform 77"/>
                    <p:cNvSpPr>
                      <a:spLocks/>
                    </p:cNvSpPr>
                    <p:nvPr/>
                  </p:nvSpPr>
                  <p:spPr bwMode="gray">
                    <a:xfrm>
                      <a:off x="2896" y="2116"/>
                      <a:ext cx="231" cy="189"/>
                    </a:xfrm>
                    <a:custGeom>
                      <a:avLst/>
                      <a:gdLst>
                        <a:gd name="T0" fmla="*/ 2 w 15957"/>
                        <a:gd name="T1" fmla="*/ 1 h 13229"/>
                        <a:gd name="T2" fmla="*/ 2 w 15957"/>
                        <a:gd name="T3" fmla="*/ 1 h 13229"/>
                        <a:gd name="T4" fmla="*/ 2 w 15957"/>
                        <a:gd name="T5" fmla="*/ 1 h 13229"/>
                        <a:gd name="T6" fmla="*/ 2 w 15957"/>
                        <a:gd name="T7" fmla="*/ 1 h 13229"/>
                        <a:gd name="T8" fmla="*/ 2 w 15957"/>
                        <a:gd name="T9" fmla="*/ 1 h 13229"/>
                        <a:gd name="T10" fmla="*/ 2 w 15957"/>
                        <a:gd name="T11" fmla="*/ 1 h 13229"/>
                        <a:gd name="T12" fmla="*/ 2 w 15957"/>
                        <a:gd name="T13" fmla="*/ 1 h 13229"/>
                        <a:gd name="T14" fmla="*/ 2 w 15957"/>
                        <a:gd name="T15" fmla="*/ 1 h 13229"/>
                        <a:gd name="T16" fmla="*/ 3 w 15957"/>
                        <a:gd name="T17" fmla="*/ 1 h 13229"/>
                        <a:gd name="T18" fmla="*/ 3 w 15957"/>
                        <a:gd name="T19" fmla="*/ 1 h 13229"/>
                        <a:gd name="T20" fmla="*/ 3 w 15957"/>
                        <a:gd name="T21" fmla="*/ 2 h 13229"/>
                        <a:gd name="T22" fmla="*/ 3 w 15957"/>
                        <a:gd name="T23" fmla="*/ 2 h 13229"/>
                        <a:gd name="T24" fmla="*/ 2 w 15957"/>
                        <a:gd name="T25" fmla="*/ 2 h 13229"/>
                        <a:gd name="T26" fmla="*/ 2 w 15957"/>
                        <a:gd name="T27" fmla="*/ 3 h 13229"/>
                        <a:gd name="T28" fmla="*/ 2 w 15957"/>
                        <a:gd name="T29" fmla="*/ 3 h 13229"/>
                        <a:gd name="T30" fmla="*/ 1 w 15957"/>
                        <a:gd name="T31" fmla="*/ 3 h 13229"/>
                        <a:gd name="T32" fmla="*/ 1 w 15957"/>
                        <a:gd name="T33" fmla="*/ 3 h 13229"/>
                        <a:gd name="T34" fmla="*/ 1 w 15957"/>
                        <a:gd name="T35" fmla="*/ 3 h 13229"/>
                        <a:gd name="T36" fmla="*/ 1 w 15957"/>
                        <a:gd name="T37" fmla="*/ 3 h 13229"/>
                        <a:gd name="T38" fmla="*/ 1 w 15957"/>
                        <a:gd name="T39" fmla="*/ 3 h 13229"/>
                        <a:gd name="T40" fmla="*/ 1 w 15957"/>
                        <a:gd name="T41" fmla="*/ 3 h 13229"/>
                        <a:gd name="T42" fmla="*/ 1 w 15957"/>
                        <a:gd name="T43" fmla="*/ 3 h 13229"/>
                        <a:gd name="T44" fmla="*/ 1 w 15957"/>
                        <a:gd name="T45" fmla="*/ 3 h 13229"/>
                        <a:gd name="T46" fmla="*/ 1 w 15957"/>
                        <a:gd name="T47" fmla="*/ 3 h 13229"/>
                        <a:gd name="T48" fmla="*/ 1 w 15957"/>
                        <a:gd name="T49" fmla="*/ 3 h 13229"/>
                        <a:gd name="T50" fmla="*/ 1 w 15957"/>
                        <a:gd name="T51" fmla="*/ 3 h 13229"/>
                        <a:gd name="T52" fmla="*/ 1 w 15957"/>
                        <a:gd name="T53" fmla="*/ 2 h 13229"/>
                        <a:gd name="T54" fmla="*/ 1 w 15957"/>
                        <a:gd name="T55" fmla="*/ 2 h 13229"/>
                        <a:gd name="T56" fmla="*/ 1 w 15957"/>
                        <a:gd name="T57" fmla="*/ 2 h 13229"/>
                        <a:gd name="T58" fmla="*/ 1 w 15957"/>
                        <a:gd name="T59" fmla="*/ 2 h 13229"/>
                        <a:gd name="T60" fmla="*/ 1 w 15957"/>
                        <a:gd name="T61" fmla="*/ 2 h 13229"/>
                        <a:gd name="T62" fmla="*/ 1 w 15957"/>
                        <a:gd name="T63" fmla="*/ 2 h 13229"/>
                        <a:gd name="T64" fmla="*/ 1 w 15957"/>
                        <a:gd name="T65" fmla="*/ 2 h 13229"/>
                        <a:gd name="T66" fmla="*/ 1 w 15957"/>
                        <a:gd name="T67" fmla="*/ 2 h 13229"/>
                        <a:gd name="T68" fmla="*/ 1 w 15957"/>
                        <a:gd name="T69" fmla="*/ 2 h 13229"/>
                        <a:gd name="T70" fmla="*/ 1 w 15957"/>
                        <a:gd name="T71" fmla="*/ 2 h 13229"/>
                        <a:gd name="T72" fmla="*/ 1 w 15957"/>
                        <a:gd name="T73" fmla="*/ 1 h 13229"/>
                        <a:gd name="T74" fmla="*/ 0 w 15957"/>
                        <a:gd name="T75" fmla="*/ 1 h 13229"/>
                        <a:gd name="T76" fmla="*/ 0 w 15957"/>
                        <a:gd name="T77" fmla="*/ 1 h 13229"/>
                        <a:gd name="T78" fmla="*/ 0 w 15957"/>
                        <a:gd name="T79" fmla="*/ 1 h 13229"/>
                        <a:gd name="T80" fmla="*/ 0 w 15957"/>
                        <a:gd name="T81" fmla="*/ 1 h 13229"/>
                        <a:gd name="T82" fmla="*/ 0 w 15957"/>
                        <a:gd name="T83" fmla="*/ 1 h 13229"/>
                        <a:gd name="T84" fmla="*/ 0 w 15957"/>
                        <a:gd name="T85" fmla="*/ 1 h 13229"/>
                        <a:gd name="T86" fmla="*/ 0 w 15957"/>
                        <a:gd name="T87" fmla="*/ 1 h 13229"/>
                        <a:gd name="T88" fmla="*/ 0 w 15957"/>
                        <a:gd name="T89" fmla="*/ 1 h 13229"/>
                        <a:gd name="T90" fmla="*/ 0 w 15957"/>
                        <a:gd name="T91" fmla="*/ 1 h 13229"/>
                        <a:gd name="T92" fmla="*/ 0 w 15957"/>
                        <a:gd name="T93" fmla="*/ 1 h 13229"/>
                        <a:gd name="T94" fmla="*/ 0 w 15957"/>
                        <a:gd name="T95" fmla="*/ 0 h 13229"/>
                        <a:gd name="T96" fmla="*/ 0 w 15957"/>
                        <a:gd name="T97" fmla="*/ 0 h 13229"/>
                        <a:gd name="T98" fmla="*/ 1 w 15957"/>
                        <a:gd name="T99" fmla="*/ 0 h 13229"/>
                        <a:gd name="T100" fmla="*/ 1 w 15957"/>
                        <a:gd name="T101" fmla="*/ 0 h 13229"/>
                        <a:gd name="T102" fmla="*/ 1 w 15957"/>
                        <a:gd name="T103" fmla="*/ 0 h 13229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w 15957"/>
                        <a:gd name="T157" fmla="*/ 0 h 13229"/>
                        <a:gd name="T158" fmla="*/ 15957 w 15957"/>
                        <a:gd name="T159" fmla="*/ 13229 h 13229"/>
                      </a:gdLst>
                      <a:ahLst/>
                      <a:cxnLst>
                        <a:cxn ang="T104">
                          <a:pos x="T0" y="T1"/>
                        </a:cxn>
                        <a:cxn ang="T105">
                          <a:pos x="T2" y="T3"/>
                        </a:cxn>
                        <a:cxn ang="T106">
                          <a:pos x="T4" y="T5"/>
                        </a:cxn>
                        <a:cxn ang="T107">
                          <a:pos x="T6" y="T7"/>
                        </a:cxn>
                        <a:cxn ang="T108">
                          <a:pos x="T8" y="T9"/>
                        </a:cxn>
                        <a:cxn ang="T109">
                          <a:pos x="T10" y="T11"/>
                        </a:cxn>
                        <a:cxn ang="T110">
                          <a:pos x="T12" y="T13"/>
                        </a:cxn>
                        <a:cxn ang="T111">
                          <a:pos x="T14" y="T15"/>
                        </a:cxn>
                        <a:cxn ang="T112">
                          <a:pos x="T16" y="T17"/>
                        </a:cxn>
                        <a:cxn ang="T113">
                          <a:pos x="T18" y="T19"/>
                        </a:cxn>
                        <a:cxn ang="T114">
                          <a:pos x="T20" y="T21"/>
                        </a:cxn>
                        <a:cxn ang="T115">
                          <a:pos x="T22" y="T23"/>
                        </a:cxn>
                        <a:cxn ang="T116">
                          <a:pos x="T24" y="T25"/>
                        </a:cxn>
                        <a:cxn ang="T117">
                          <a:pos x="T26" y="T27"/>
                        </a:cxn>
                        <a:cxn ang="T118">
                          <a:pos x="T28" y="T29"/>
                        </a:cxn>
                        <a:cxn ang="T119">
                          <a:pos x="T30" y="T31"/>
                        </a:cxn>
                        <a:cxn ang="T120">
                          <a:pos x="T32" y="T33"/>
                        </a:cxn>
                        <a:cxn ang="T121">
                          <a:pos x="T34" y="T35"/>
                        </a:cxn>
                        <a:cxn ang="T122">
                          <a:pos x="T36" y="T37"/>
                        </a:cxn>
                        <a:cxn ang="T123">
                          <a:pos x="T38" y="T39"/>
                        </a:cxn>
                        <a:cxn ang="T124">
                          <a:pos x="T40" y="T41"/>
                        </a:cxn>
                        <a:cxn ang="T125">
                          <a:pos x="T42" y="T43"/>
                        </a:cxn>
                        <a:cxn ang="T126">
                          <a:pos x="T44" y="T45"/>
                        </a:cxn>
                        <a:cxn ang="T127">
                          <a:pos x="T46" y="T47"/>
                        </a:cxn>
                        <a:cxn ang="T128">
                          <a:pos x="T48" y="T49"/>
                        </a:cxn>
                        <a:cxn ang="T129">
                          <a:pos x="T50" y="T51"/>
                        </a:cxn>
                        <a:cxn ang="T130">
                          <a:pos x="T52" y="T53"/>
                        </a:cxn>
                        <a:cxn ang="T131">
                          <a:pos x="T54" y="T55"/>
                        </a:cxn>
                        <a:cxn ang="T132">
                          <a:pos x="T56" y="T57"/>
                        </a:cxn>
                        <a:cxn ang="T133">
                          <a:pos x="T58" y="T59"/>
                        </a:cxn>
                        <a:cxn ang="T134">
                          <a:pos x="T60" y="T61"/>
                        </a:cxn>
                        <a:cxn ang="T135">
                          <a:pos x="T62" y="T63"/>
                        </a:cxn>
                        <a:cxn ang="T136">
                          <a:pos x="T64" y="T65"/>
                        </a:cxn>
                        <a:cxn ang="T137">
                          <a:pos x="T66" y="T67"/>
                        </a:cxn>
                        <a:cxn ang="T138">
                          <a:pos x="T68" y="T69"/>
                        </a:cxn>
                        <a:cxn ang="T139">
                          <a:pos x="T70" y="T71"/>
                        </a:cxn>
                        <a:cxn ang="T140">
                          <a:pos x="T72" y="T73"/>
                        </a:cxn>
                        <a:cxn ang="T141">
                          <a:pos x="T74" y="T75"/>
                        </a:cxn>
                        <a:cxn ang="T142">
                          <a:pos x="T76" y="T77"/>
                        </a:cxn>
                        <a:cxn ang="T143">
                          <a:pos x="T78" y="T79"/>
                        </a:cxn>
                        <a:cxn ang="T144">
                          <a:pos x="T80" y="T81"/>
                        </a:cxn>
                        <a:cxn ang="T145">
                          <a:pos x="T82" y="T83"/>
                        </a:cxn>
                        <a:cxn ang="T146">
                          <a:pos x="T84" y="T85"/>
                        </a:cxn>
                        <a:cxn ang="T147">
                          <a:pos x="T86" y="T87"/>
                        </a:cxn>
                        <a:cxn ang="T148">
                          <a:pos x="T88" y="T89"/>
                        </a:cxn>
                        <a:cxn ang="T149">
                          <a:pos x="T90" y="T91"/>
                        </a:cxn>
                        <a:cxn ang="T150">
                          <a:pos x="T92" y="T93"/>
                        </a:cxn>
                        <a:cxn ang="T151">
                          <a:pos x="T94" y="T95"/>
                        </a:cxn>
                        <a:cxn ang="T152">
                          <a:pos x="T96" y="T97"/>
                        </a:cxn>
                        <a:cxn ang="T153">
                          <a:pos x="T98" y="T99"/>
                        </a:cxn>
                        <a:cxn ang="T154">
                          <a:pos x="T100" y="T101"/>
                        </a:cxn>
                        <a:cxn ang="T155">
                          <a:pos x="T102" y="T103"/>
                        </a:cxn>
                      </a:cxnLst>
                      <a:rect l="T156" t="T157" r="T158" b="T159"/>
                      <a:pathLst>
                        <a:path w="15957" h="13229">
                          <a:moveTo>
                            <a:pt x="9071" y="2723"/>
                          </a:moveTo>
                          <a:lnTo>
                            <a:pt x="9131" y="2757"/>
                          </a:lnTo>
                          <a:lnTo>
                            <a:pt x="9432" y="2810"/>
                          </a:lnTo>
                          <a:lnTo>
                            <a:pt x="9706" y="2910"/>
                          </a:lnTo>
                          <a:lnTo>
                            <a:pt x="9809" y="2999"/>
                          </a:lnTo>
                          <a:lnTo>
                            <a:pt x="9934" y="3216"/>
                          </a:lnTo>
                          <a:lnTo>
                            <a:pt x="10393" y="3219"/>
                          </a:lnTo>
                          <a:lnTo>
                            <a:pt x="10455" y="3296"/>
                          </a:lnTo>
                          <a:lnTo>
                            <a:pt x="10504" y="3434"/>
                          </a:lnTo>
                          <a:lnTo>
                            <a:pt x="10545" y="3497"/>
                          </a:lnTo>
                          <a:lnTo>
                            <a:pt x="10573" y="3599"/>
                          </a:lnTo>
                          <a:lnTo>
                            <a:pt x="10697" y="3824"/>
                          </a:lnTo>
                          <a:lnTo>
                            <a:pt x="10817" y="3869"/>
                          </a:lnTo>
                          <a:lnTo>
                            <a:pt x="10903" y="4039"/>
                          </a:lnTo>
                          <a:lnTo>
                            <a:pt x="11097" y="4175"/>
                          </a:lnTo>
                          <a:lnTo>
                            <a:pt x="11100" y="4189"/>
                          </a:lnTo>
                          <a:lnTo>
                            <a:pt x="11062" y="4232"/>
                          </a:lnTo>
                          <a:lnTo>
                            <a:pt x="11097" y="4290"/>
                          </a:lnTo>
                          <a:lnTo>
                            <a:pt x="11134" y="4426"/>
                          </a:lnTo>
                          <a:lnTo>
                            <a:pt x="11258" y="4460"/>
                          </a:lnTo>
                          <a:lnTo>
                            <a:pt x="11313" y="4512"/>
                          </a:lnTo>
                          <a:lnTo>
                            <a:pt x="11537" y="4658"/>
                          </a:lnTo>
                          <a:lnTo>
                            <a:pt x="11613" y="4723"/>
                          </a:lnTo>
                          <a:lnTo>
                            <a:pt x="11663" y="4798"/>
                          </a:lnTo>
                          <a:lnTo>
                            <a:pt x="11680" y="4839"/>
                          </a:lnTo>
                          <a:lnTo>
                            <a:pt x="11658" y="4977"/>
                          </a:lnTo>
                          <a:lnTo>
                            <a:pt x="11764" y="5127"/>
                          </a:lnTo>
                          <a:lnTo>
                            <a:pt x="11788" y="5234"/>
                          </a:lnTo>
                          <a:lnTo>
                            <a:pt x="11781" y="5294"/>
                          </a:lnTo>
                          <a:lnTo>
                            <a:pt x="11711" y="5381"/>
                          </a:lnTo>
                          <a:lnTo>
                            <a:pt x="11715" y="5546"/>
                          </a:lnTo>
                          <a:lnTo>
                            <a:pt x="11824" y="5695"/>
                          </a:lnTo>
                          <a:lnTo>
                            <a:pt x="12016" y="5908"/>
                          </a:lnTo>
                          <a:lnTo>
                            <a:pt x="12063" y="6177"/>
                          </a:lnTo>
                          <a:lnTo>
                            <a:pt x="12135" y="6264"/>
                          </a:lnTo>
                          <a:lnTo>
                            <a:pt x="12147" y="6336"/>
                          </a:lnTo>
                          <a:lnTo>
                            <a:pt x="12184" y="6371"/>
                          </a:lnTo>
                          <a:lnTo>
                            <a:pt x="12207" y="6448"/>
                          </a:lnTo>
                          <a:lnTo>
                            <a:pt x="12243" y="6448"/>
                          </a:lnTo>
                          <a:lnTo>
                            <a:pt x="12348" y="6619"/>
                          </a:lnTo>
                          <a:lnTo>
                            <a:pt x="12423" y="6638"/>
                          </a:lnTo>
                          <a:lnTo>
                            <a:pt x="12480" y="6842"/>
                          </a:lnTo>
                          <a:lnTo>
                            <a:pt x="12935" y="7241"/>
                          </a:lnTo>
                          <a:lnTo>
                            <a:pt x="13158" y="7915"/>
                          </a:lnTo>
                          <a:lnTo>
                            <a:pt x="15429" y="8331"/>
                          </a:lnTo>
                          <a:lnTo>
                            <a:pt x="15576" y="8167"/>
                          </a:lnTo>
                          <a:lnTo>
                            <a:pt x="15957" y="8740"/>
                          </a:lnTo>
                          <a:lnTo>
                            <a:pt x="15424" y="10363"/>
                          </a:lnTo>
                          <a:lnTo>
                            <a:pt x="13158" y="11166"/>
                          </a:lnTo>
                          <a:lnTo>
                            <a:pt x="11049" y="11512"/>
                          </a:lnTo>
                          <a:lnTo>
                            <a:pt x="10746" y="11729"/>
                          </a:lnTo>
                          <a:lnTo>
                            <a:pt x="10244" y="11935"/>
                          </a:lnTo>
                          <a:lnTo>
                            <a:pt x="9691" y="12918"/>
                          </a:lnTo>
                          <a:lnTo>
                            <a:pt x="9503" y="13060"/>
                          </a:lnTo>
                          <a:lnTo>
                            <a:pt x="9370" y="13076"/>
                          </a:lnTo>
                          <a:lnTo>
                            <a:pt x="9104" y="12745"/>
                          </a:lnTo>
                          <a:lnTo>
                            <a:pt x="8174" y="12657"/>
                          </a:lnTo>
                          <a:lnTo>
                            <a:pt x="8036" y="12551"/>
                          </a:lnTo>
                          <a:lnTo>
                            <a:pt x="7547" y="12502"/>
                          </a:lnTo>
                          <a:lnTo>
                            <a:pt x="7168" y="12457"/>
                          </a:lnTo>
                          <a:lnTo>
                            <a:pt x="6859" y="12543"/>
                          </a:lnTo>
                          <a:lnTo>
                            <a:pt x="6711" y="12286"/>
                          </a:lnTo>
                          <a:lnTo>
                            <a:pt x="6580" y="12452"/>
                          </a:lnTo>
                          <a:lnTo>
                            <a:pt x="6570" y="12466"/>
                          </a:lnTo>
                          <a:lnTo>
                            <a:pt x="6560" y="12481"/>
                          </a:lnTo>
                          <a:lnTo>
                            <a:pt x="6551" y="12499"/>
                          </a:lnTo>
                          <a:lnTo>
                            <a:pt x="6542" y="12517"/>
                          </a:lnTo>
                          <a:lnTo>
                            <a:pt x="6524" y="12554"/>
                          </a:lnTo>
                          <a:lnTo>
                            <a:pt x="6507" y="12592"/>
                          </a:lnTo>
                          <a:lnTo>
                            <a:pt x="6492" y="12625"/>
                          </a:lnTo>
                          <a:lnTo>
                            <a:pt x="6480" y="12652"/>
                          </a:lnTo>
                          <a:lnTo>
                            <a:pt x="6474" y="12661"/>
                          </a:lnTo>
                          <a:lnTo>
                            <a:pt x="6468" y="12668"/>
                          </a:lnTo>
                          <a:lnTo>
                            <a:pt x="6466" y="12670"/>
                          </a:lnTo>
                          <a:lnTo>
                            <a:pt x="6464" y="12671"/>
                          </a:lnTo>
                          <a:lnTo>
                            <a:pt x="6461" y="12671"/>
                          </a:lnTo>
                          <a:lnTo>
                            <a:pt x="6460" y="12670"/>
                          </a:lnTo>
                          <a:lnTo>
                            <a:pt x="6452" y="12667"/>
                          </a:lnTo>
                          <a:lnTo>
                            <a:pt x="6447" y="12665"/>
                          </a:lnTo>
                          <a:lnTo>
                            <a:pt x="6442" y="12664"/>
                          </a:lnTo>
                          <a:lnTo>
                            <a:pt x="6439" y="12665"/>
                          </a:lnTo>
                          <a:lnTo>
                            <a:pt x="6436" y="12666"/>
                          </a:lnTo>
                          <a:lnTo>
                            <a:pt x="6435" y="12669"/>
                          </a:lnTo>
                          <a:lnTo>
                            <a:pt x="6434" y="12672"/>
                          </a:lnTo>
                          <a:lnTo>
                            <a:pt x="6434" y="12676"/>
                          </a:lnTo>
                          <a:lnTo>
                            <a:pt x="6437" y="12688"/>
                          </a:lnTo>
                          <a:lnTo>
                            <a:pt x="6442" y="12702"/>
                          </a:lnTo>
                          <a:lnTo>
                            <a:pt x="6449" y="12718"/>
                          </a:lnTo>
                          <a:lnTo>
                            <a:pt x="6457" y="12735"/>
                          </a:lnTo>
                          <a:lnTo>
                            <a:pt x="6474" y="12773"/>
                          </a:lnTo>
                          <a:lnTo>
                            <a:pt x="6488" y="12807"/>
                          </a:lnTo>
                          <a:lnTo>
                            <a:pt x="6493" y="12822"/>
                          </a:lnTo>
                          <a:lnTo>
                            <a:pt x="6495" y="12835"/>
                          </a:lnTo>
                          <a:lnTo>
                            <a:pt x="6495" y="12841"/>
                          </a:lnTo>
                          <a:lnTo>
                            <a:pt x="6495" y="12845"/>
                          </a:lnTo>
                          <a:lnTo>
                            <a:pt x="6493" y="12849"/>
                          </a:lnTo>
                          <a:lnTo>
                            <a:pt x="6490" y="12851"/>
                          </a:lnTo>
                          <a:lnTo>
                            <a:pt x="6442" y="13138"/>
                          </a:lnTo>
                          <a:lnTo>
                            <a:pt x="6289" y="13180"/>
                          </a:lnTo>
                          <a:lnTo>
                            <a:pt x="6127" y="13229"/>
                          </a:lnTo>
                          <a:lnTo>
                            <a:pt x="6092" y="13137"/>
                          </a:lnTo>
                          <a:lnTo>
                            <a:pt x="6092" y="13002"/>
                          </a:lnTo>
                          <a:lnTo>
                            <a:pt x="5928" y="12707"/>
                          </a:lnTo>
                          <a:lnTo>
                            <a:pt x="5877" y="12675"/>
                          </a:lnTo>
                          <a:lnTo>
                            <a:pt x="5820" y="12590"/>
                          </a:lnTo>
                          <a:lnTo>
                            <a:pt x="5760" y="12346"/>
                          </a:lnTo>
                          <a:lnTo>
                            <a:pt x="5511" y="12104"/>
                          </a:lnTo>
                          <a:lnTo>
                            <a:pt x="5396" y="12043"/>
                          </a:lnTo>
                          <a:lnTo>
                            <a:pt x="5329" y="11966"/>
                          </a:lnTo>
                          <a:lnTo>
                            <a:pt x="5175" y="11749"/>
                          </a:lnTo>
                          <a:lnTo>
                            <a:pt x="5026" y="11439"/>
                          </a:lnTo>
                          <a:lnTo>
                            <a:pt x="4967" y="11398"/>
                          </a:lnTo>
                          <a:lnTo>
                            <a:pt x="4943" y="11357"/>
                          </a:lnTo>
                          <a:lnTo>
                            <a:pt x="4900" y="11197"/>
                          </a:lnTo>
                          <a:lnTo>
                            <a:pt x="4893" y="11035"/>
                          </a:lnTo>
                          <a:lnTo>
                            <a:pt x="4842" y="10911"/>
                          </a:lnTo>
                          <a:lnTo>
                            <a:pt x="4758" y="10766"/>
                          </a:lnTo>
                          <a:lnTo>
                            <a:pt x="4661" y="10672"/>
                          </a:lnTo>
                          <a:lnTo>
                            <a:pt x="4617" y="10581"/>
                          </a:lnTo>
                          <a:lnTo>
                            <a:pt x="4559" y="10532"/>
                          </a:lnTo>
                          <a:lnTo>
                            <a:pt x="4443" y="10363"/>
                          </a:lnTo>
                          <a:lnTo>
                            <a:pt x="4361" y="10288"/>
                          </a:lnTo>
                          <a:lnTo>
                            <a:pt x="4157" y="10146"/>
                          </a:lnTo>
                          <a:lnTo>
                            <a:pt x="4050" y="10087"/>
                          </a:lnTo>
                          <a:lnTo>
                            <a:pt x="4015" y="10102"/>
                          </a:lnTo>
                          <a:lnTo>
                            <a:pt x="3932" y="10071"/>
                          </a:lnTo>
                          <a:lnTo>
                            <a:pt x="3740" y="9952"/>
                          </a:lnTo>
                          <a:lnTo>
                            <a:pt x="3642" y="9870"/>
                          </a:lnTo>
                          <a:lnTo>
                            <a:pt x="3582" y="9793"/>
                          </a:lnTo>
                          <a:lnTo>
                            <a:pt x="3491" y="9608"/>
                          </a:lnTo>
                          <a:lnTo>
                            <a:pt x="3451" y="9466"/>
                          </a:lnTo>
                          <a:lnTo>
                            <a:pt x="3359" y="8893"/>
                          </a:lnTo>
                          <a:lnTo>
                            <a:pt x="3309" y="8803"/>
                          </a:lnTo>
                          <a:lnTo>
                            <a:pt x="3299" y="8728"/>
                          </a:lnTo>
                          <a:lnTo>
                            <a:pt x="3333" y="8694"/>
                          </a:lnTo>
                          <a:lnTo>
                            <a:pt x="3366" y="8593"/>
                          </a:lnTo>
                          <a:lnTo>
                            <a:pt x="3383" y="8406"/>
                          </a:lnTo>
                          <a:lnTo>
                            <a:pt x="3326" y="8203"/>
                          </a:lnTo>
                          <a:lnTo>
                            <a:pt x="3283" y="8114"/>
                          </a:lnTo>
                          <a:lnTo>
                            <a:pt x="3225" y="8044"/>
                          </a:lnTo>
                          <a:lnTo>
                            <a:pt x="3174" y="7927"/>
                          </a:lnTo>
                          <a:lnTo>
                            <a:pt x="3141" y="7785"/>
                          </a:lnTo>
                          <a:lnTo>
                            <a:pt x="3091" y="7700"/>
                          </a:lnTo>
                          <a:lnTo>
                            <a:pt x="3034" y="7550"/>
                          </a:lnTo>
                          <a:lnTo>
                            <a:pt x="2859" y="7241"/>
                          </a:lnTo>
                          <a:lnTo>
                            <a:pt x="2650" y="7038"/>
                          </a:lnTo>
                          <a:lnTo>
                            <a:pt x="2518" y="6946"/>
                          </a:lnTo>
                          <a:lnTo>
                            <a:pt x="2492" y="6909"/>
                          </a:lnTo>
                          <a:lnTo>
                            <a:pt x="2451" y="6902"/>
                          </a:lnTo>
                          <a:lnTo>
                            <a:pt x="2435" y="6861"/>
                          </a:lnTo>
                          <a:lnTo>
                            <a:pt x="2326" y="6803"/>
                          </a:lnTo>
                          <a:lnTo>
                            <a:pt x="2243" y="6803"/>
                          </a:lnTo>
                          <a:lnTo>
                            <a:pt x="2193" y="6818"/>
                          </a:lnTo>
                          <a:lnTo>
                            <a:pt x="2135" y="6791"/>
                          </a:lnTo>
                          <a:lnTo>
                            <a:pt x="2108" y="6692"/>
                          </a:lnTo>
                          <a:lnTo>
                            <a:pt x="2042" y="6580"/>
                          </a:lnTo>
                          <a:lnTo>
                            <a:pt x="1949" y="6472"/>
                          </a:lnTo>
                          <a:lnTo>
                            <a:pt x="1949" y="6336"/>
                          </a:lnTo>
                          <a:lnTo>
                            <a:pt x="1965" y="6312"/>
                          </a:lnTo>
                          <a:lnTo>
                            <a:pt x="1833" y="5901"/>
                          </a:lnTo>
                          <a:lnTo>
                            <a:pt x="1757" y="5789"/>
                          </a:lnTo>
                          <a:lnTo>
                            <a:pt x="1665" y="5616"/>
                          </a:lnTo>
                          <a:lnTo>
                            <a:pt x="1549" y="5562"/>
                          </a:lnTo>
                          <a:lnTo>
                            <a:pt x="1507" y="5504"/>
                          </a:lnTo>
                          <a:lnTo>
                            <a:pt x="1483" y="5405"/>
                          </a:lnTo>
                          <a:lnTo>
                            <a:pt x="1326" y="5202"/>
                          </a:lnTo>
                          <a:lnTo>
                            <a:pt x="1198" y="4866"/>
                          </a:lnTo>
                          <a:lnTo>
                            <a:pt x="1117" y="4757"/>
                          </a:lnTo>
                          <a:lnTo>
                            <a:pt x="1016" y="4682"/>
                          </a:lnTo>
                          <a:lnTo>
                            <a:pt x="841" y="4447"/>
                          </a:lnTo>
                          <a:lnTo>
                            <a:pt x="824" y="4372"/>
                          </a:lnTo>
                          <a:lnTo>
                            <a:pt x="724" y="4245"/>
                          </a:lnTo>
                          <a:lnTo>
                            <a:pt x="625" y="4019"/>
                          </a:lnTo>
                          <a:lnTo>
                            <a:pt x="434" y="3656"/>
                          </a:lnTo>
                          <a:lnTo>
                            <a:pt x="357" y="3599"/>
                          </a:lnTo>
                          <a:lnTo>
                            <a:pt x="242" y="3599"/>
                          </a:lnTo>
                          <a:lnTo>
                            <a:pt x="125" y="3581"/>
                          </a:lnTo>
                          <a:lnTo>
                            <a:pt x="101" y="3565"/>
                          </a:lnTo>
                          <a:lnTo>
                            <a:pt x="34" y="3581"/>
                          </a:lnTo>
                          <a:lnTo>
                            <a:pt x="0" y="3649"/>
                          </a:lnTo>
                          <a:lnTo>
                            <a:pt x="159" y="3246"/>
                          </a:lnTo>
                          <a:lnTo>
                            <a:pt x="168" y="2943"/>
                          </a:lnTo>
                          <a:lnTo>
                            <a:pt x="192" y="2825"/>
                          </a:lnTo>
                          <a:lnTo>
                            <a:pt x="249" y="2682"/>
                          </a:lnTo>
                          <a:lnTo>
                            <a:pt x="242" y="2477"/>
                          </a:lnTo>
                          <a:lnTo>
                            <a:pt x="276" y="2595"/>
                          </a:lnTo>
                          <a:lnTo>
                            <a:pt x="1117" y="2702"/>
                          </a:lnTo>
                          <a:lnTo>
                            <a:pt x="1352" y="2467"/>
                          </a:lnTo>
                          <a:lnTo>
                            <a:pt x="1366" y="2419"/>
                          </a:lnTo>
                          <a:lnTo>
                            <a:pt x="1567" y="2061"/>
                          </a:lnTo>
                          <a:lnTo>
                            <a:pt x="2145" y="1974"/>
                          </a:lnTo>
                          <a:lnTo>
                            <a:pt x="2171" y="1850"/>
                          </a:lnTo>
                          <a:lnTo>
                            <a:pt x="2255" y="1618"/>
                          </a:lnTo>
                          <a:lnTo>
                            <a:pt x="2560" y="1448"/>
                          </a:lnTo>
                          <a:lnTo>
                            <a:pt x="2569" y="1429"/>
                          </a:lnTo>
                          <a:lnTo>
                            <a:pt x="1840" y="685"/>
                          </a:lnTo>
                          <a:lnTo>
                            <a:pt x="1731" y="590"/>
                          </a:lnTo>
                          <a:lnTo>
                            <a:pt x="2281" y="464"/>
                          </a:lnTo>
                          <a:lnTo>
                            <a:pt x="3197" y="281"/>
                          </a:lnTo>
                          <a:lnTo>
                            <a:pt x="3424" y="0"/>
                          </a:lnTo>
                          <a:lnTo>
                            <a:pt x="4576" y="321"/>
                          </a:lnTo>
                          <a:lnTo>
                            <a:pt x="5434" y="970"/>
                          </a:lnTo>
                          <a:lnTo>
                            <a:pt x="6203" y="1265"/>
                          </a:lnTo>
                          <a:lnTo>
                            <a:pt x="6284" y="1324"/>
                          </a:lnTo>
                          <a:lnTo>
                            <a:pt x="6395" y="1591"/>
                          </a:lnTo>
                          <a:lnTo>
                            <a:pt x="6793" y="1625"/>
                          </a:lnTo>
                          <a:lnTo>
                            <a:pt x="6826" y="1659"/>
                          </a:lnTo>
                          <a:lnTo>
                            <a:pt x="6826" y="2203"/>
                          </a:lnTo>
                          <a:lnTo>
                            <a:pt x="6859" y="2247"/>
                          </a:lnTo>
                          <a:lnTo>
                            <a:pt x="7719" y="2641"/>
                          </a:lnTo>
                          <a:lnTo>
                            <a:pt x="9071" y="2723"/>
                          </a:lnTo>
                          <a:close/>
                        </a:path>
                      </a:pathLst>
                    </a:custGeom>
                    <a:grpFill/>
                    <a:ln w="6350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ru-RU" sz="1400"/>
                    </a:p>
                  </p:txBody>
                </p:sp>
                <p:sp>
                  <p:nvSpPr>
                    <p:cNvPr id="553" name="Freeform 78"/>
                    <p:cNvSpPr>
                      <a:spLocks/>
                    </p:cNvSpPr>
                    <p:nvPr/>
                  </p:nvSpPr>
                  <p:spPr bwMode="gray">
                    <a:xfrm>
                      <a:off x="2896" y="2116"/>
                      <a:ext cx="231" cy="189"/>
                    </a:xfrm>
                    <a:custGeom>
                      <a:avLst/>
                      <a:gdLst>
                        <a:gd name="T0" fmla="*/ 2 w 15957"/>
                        <a:gd name="T1" fmla="*/ 1 h 13229"/>
                        <a:gd name="T2" fmla="*/ 2 w 15957"/>
                        <a:gd name="T3" fmla="*/ 1 h 13229"/>
                        <a:gd name="T4" fmla="*/ 2 w 15957"/>
                        <a:gd name="T5" fmla="*/ 1 h 13229"/>
                        <a:gd name="T6" fmla="*/ 2 w 15957"/>
                        <a:gd name="T7" fmla="*/ 1 h 13229"/>
                        <a:gd name="T8" fmla="*/ 2 w 15957"/>
                        <a:gd name="T9" fmla="*/ 1 h 13229"/>
                        <a:gd name="T10" fmla="*/ 2 w 15957"/>
                        <a:gd name="T11" fmla="*/ 1 h 13229"/>
                        <a:gd name="T12" fmla="*/ 2 w 15957"/>
                        <a:gd name="T13" fmla="*/ 1 h 13229"/>
                        <a:gd name="T14" fmla="*/ 2 w 15957"/>
                        <a:gd name="T15" fmla="*/ 1 h 13229"/>
                        <a:gd name="T16" fmla="*/ 3 w 15957"/>
                        <a:gd name="T17" fmla="*/ 1 h 13229"/>
                        <a:gd name="T18" fmla="*/ 3 w 15957"/>
                        <a:gd name="T19" fmla="*/ 1 h 13229"/>
                        <a:gd name="T20" fmla="*/ 3 w 15957"/>
                        <a:gd name="T21" fmla="*/ 2 h 13229"/>
                        <a:gd name="T22" fmla="*/ 3 w 15957"/>
                        <a:gd name="T23" fmla="*/ 2 h 13229"/>
                        <a:gd name="T24" fmla="*/ 2 w 15957"/>
                        <a:gd name="T25" fmla="*/ 2 h 13229"/>
                        <a:gd name="T26" fmla="*/ 2 w 15957"/>
                        <a:gd name="T27" fmla="*/ 3 h 13229"/>
                        <a:gd name="T28" fmla="*/ 2 w 15957"/>
                        <a:gd name="T29" fmla="*/ 3 h 13229"/>
                        <a:gd name="T30" fmla="*/ 1 w 15957"/>
                        <a:gd name="T31" fmla="*/ 3 h 13229"/>
                        <a:gd name="T32" fmla="*/ 1 w 15957"/>
                        <a:gd name="T33" fmla="*/ 3 h 13229"/>
                        <a:gd name="T34" fmla="*/ 1 w 15957"/>
                        <a:gd name="T35" fmla="*/ 3 h 13229"/>
                        <a:gd name="T36" fmla="*/ 1 w 15957"/>
                        <a:gd name="T37" fmla="*/ 3 h 13229"/>
                        <a:gd name="T38" fmla="*/ 1 w 15957"/>
                        <a:gd name="T39" fmla="*/ 3 h 13229"/>
                        <a:gd name="T40" fmla="*/ 1 w 15957"/>
                        <a:gd name="T41" fmla="*/ 3 h 13229"/>
                        <a:gd name="T42" fmla="*/ 1 w 15957"/>
                        <a:gd name="T43" fmla="*/ 3 h 13229"/>
                        <a:gd name="T44" fmla="*/ 1 w 15957"/>
                        <a:gd name="T45" fmla="*/ 3 h 13229"/>
                        <a:gd name="T46" fmla="*/ 1 w 15957"/>
                        <a:gd name="T47" fmla="*/ 3 h 13229"/>
                        <a:gd name="T48" fmla="*/ 1 w 15957"/>
                        <a:gd name="T49" fmla="*/ 3 h 13229"/>
                        <a:gd name="T50" fmla="*/ 1 w 15957"/>
                        <a:gd name="T51" fmla="*/ 3 h 13229"/>
                        <a:gd name="T52" fmla="*/ 1 w 15957"/>
                        <a:gd name="T53" fmla="*/ 2 h 13229"/>
                        <a:gd name="T54" fmla="*/ 1 w 15957"/>
                        <a:gd name="T55" fmla="*/ 2 h 13229"/>
                        <a:gd name="T56" fmla="*/ 1 w 15957"/>
                        <a:gd name="T57" fmla="*/ 2 h 13229"/>
                        <a:gd name="T58" fmla="*/ 1 w 15957"/>
                        <a:gd name="T59" fmla="*/ 2 h 13229"/>
                        <a:gd name="T60" fmla="*/ 1 w 15957"/>
                        <a:gd name="T61" fmla="*/ 2 h 13229"/>
                        <a:gd name="T62" fmla="*/ 1 w 15957"/>
                        <a:gd name="T63" fmla="*/ 2 h 13229"/>
                        <a:gd name="T64" fmla="*/ 1 w 15957"/>
                        <a:gd name="T65" fmla="*/ 2 h 13229"/>
                        <a:gd name="T66" fmla="*/ 1 w 15957"/>
                        <a:gd name="T67" fmla="*/ 2 h 13229"/>
                        <a:gd name="T68" fmla="*/ 1 w 15957"/>
                        <a:gd name="T69" fmla="*/ 2 h 13229"/>
                        <a:gd name="T70" fmla="*/ 1 w 15957"/>
                        <a:gd name="T71" fmla="*/ 2 h 13229"/>
                        <a:gd name="T72" fmla="*/ 1 w 15957"/>
                        <a:gd name="T73" fmla="*/ 1 h 13229"/>
                        <a:gd name="T74" fmla="*/ 0 w 15957"/>
                        <a:gd name="T75" fmla="*/ 1 h 13229"/>
                        <a:gd name="T76" fmla="*/ 0 w 15957"/>
                        <a:gd name="T77" fmla="*/ 1 h 13229"/>
                        <a:gd name="T78" fmla="*/ 0 w 15957"/>
                        <a:gd name="T79" fmla="*/ 1 h 13229"/>
                        <a:gd name="T80" fmla="*/ 0 w 15957"/>
                        <a:gd name="T81" fmla="*/ 1 h 13229"/>
                        <a:gd name="T82" fmla="*/ 0 w 15957"/>
                        <a:gd name="T83" fmla="*/ 1 h 13229"/>
                        <a:gd name="T84" fmla="*/ 0 w 15957"/>
                        <a:gd name="T85" fmla="*/ 1 h 13229"/>
                        <a:gd name="T86" fmla="*/ 0 w 15957"/>
                        <a:gd name="T87" fmla="*/ 1 h 13229"/>
                        <a:gd name="T88" fmla="*/ 0 w 15957"/>
                        <a:gd name="T89" fmla="*/ 1 h 13229"/>
                        <a:gd name="T90" fmla="*/ 0 w 15957"/>
                        <a:gd name="T91" fmla="*/ 1 h 13229"/>
                        <a:gd name="T92" fmla="*/ 0 w 15957"/>
                        <a:gd name="T93" fmla="*/ 1 h 13229"/>
                        <a:gd name="T94" fmla="*/ 0 w 15957"/>
                        <a:gd name="T95" fmla="*/ 0 h 13229"/>
                        <a:gd name="T96" fmla="*/ 0 w 15957"/>
                        <a:gd name="T97" fmla="*/ 0 h 13229"/>
                        <a:gd name="T98" fmla="*/ 1 w 15957"/>
                        <a:gd name="T99" fmla="*/ 0 h 13229"/>
                        <a:gd name="T100" fmla="*/ 1 w 15957"/>
                        <a:gd name="T101" fmla="*/ 0 h 13229"/>
                        <a:gd name="T102" fmla="*/ 1 w 15957"/>
                        <a:gd name="T103" fmla="*/ 0 h 13229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w 15957"/>
                        <a:gd name="T157" fmla="*/ 0 h 13229"/>
                        <a:gd name="T158" fmla="*/ 15957 w 15957"/>
                        <a:gd name="T159" fmla="*/ 13229 h 13229"/>
                      </a:gdLst>
                      <a:ahLst/>
                      <a:cxnLst>
                        <a:cxn ang="T104">
                          <a:pos x="T0" y="T1"/>
                        </a:cxn>
                        <a:cxn ang="T105">
                          <a:pos x="T2" y="T3"/>
                        </a:cxn>
                        <a:cxn ang="T106">
                          <a:pos x="T4" y="T5"/>
                        </a:cxn>
                        <a:cxn ang="T107">
                          <a:pos x="T6" y="T7"/>
                        </a:cxn>
                        <a:cxn ang="T108">
                          <a:pos x="T8" y="T9"/>
                        </a:cxn>
                        <a:cxn ang="T109">
                          <a:pos x="T10" y="T11"/>
                        </a:cxn>
                        <a:cxn ang="T110">
                          <a:pos x="T12" y="T13"/>
                        </a:cxn>
                        <a:cxn ang="T111">
                          <a:pos x="T14" y="T15"/>
                        </a:cxn>
                        <a:cxn ang="T112">
                          <a:pos x="T16" y="T17"/>
                        </a:cxn>
                        <a:cxn ang="T113">
                          <a:pos x="T18" y="T19"/>
                        </a:cxn>
                        <a:cxn ang="T114">
                          <a:pos x="T20" y="T21"/>
                        </a:cxn>
                        <a:cxn ang="T115">
                          <a:pos x="T22" y="T23"/>
                        </a:cxn>
                        <a:cxn ang="T116">
                          <a:pos x="T24" y="T25"/>
                        </a:cxn>
                        <a:cxn ang="T117">
                          <a:pos x="T26" y="T27"/>
                        </a:cxn>
                        <a:cxn ang="T118">
                          <a:pos x="T28" y="T29"/>
                        </a:cxn>
                        <a:cxn ang="T119">
                          <a:pos x="T30" y="T31"/>
                        </a:cxn>
                        <a:cxn ang="T120">
                          <a:pos x="T32" y="T33"/>
                        </a:cxn>
                        <a:cxn ang="T121">
                          <a:pos x="T34" y="T35"/>
                        </a:cxn>
                        <a:cxn ang="T122">
                          <a:pos x="T36" y="T37"/>
                        </a:cxn>
                        <a:cxn ang="T123">
                          <a:pos x="T38" y="T39"/>
                        </a:cxn>
                        <a:cxn ang="T124">
                          <a:pos x="T40" y="T41"/>
                        </a:cxn>
                        <a:cxn ang="T125">
                          <a:pos x="T42" y="T43"/>
                        </a:cxn>
                        <a:cxn ang="T126">
                          <a:pos x="T44" y="T45"/>
                        </a:cxn>
                        <a:cxn ang="T127">
                          <a:pos x="T46" y="T47"/>
                        </a:cxn>
                        <a:cxn ang="T128">
                          <a:pos x="T48" y="T49"/>
                        </a:cxn>
                        <a:cxn ang="T129">
                          <a:pos x="T50" y="T51"/>
                        </a:cxn>
                        <a:cxn ang="T130">
                          <a:pos x="T52" y="T53"/>
                        </a:cxn>
                        <a:cxn ang="T131">
                          <a:pos x="T54" y="T55"/>
                        </a:cxn>
                        <a:cxn ang="T132">
                          <a:pos x="T56" y="T57"/>
                        </a:cxn>
                        <a:cxn ang="T133">
                          <a:pos x="T58" y="T59"/>
                        </a:cxn>
                        <a:cxn ang="T134">
                          <a:pos x="T60" y="T61"/>
                        </a:cxn>
                        <a:cxn ang="T135">
                          <a:pos x="T62" y="T63"/>
                        </a:cxn>
                        <a:cxn ang="T136">
                          <a:pos x="T64" y="T65"/>
                        </a:cxn>
                        <a:cxn ang="T137">
                          <a:pos x="T66" y="T67"/>
                        </a:cxn>
                        <a:cxn ang="T138">
                          <a:pos x="T68" y="T69"/>
                        </a:cxn>
                        <a:cxn ang="T139">
                          <a:pos x="T70" y="T71"/>
                        </a:cxn>
                        <a:cxn ang="T140">
                          <a:pos x="T72" y="T73"/>
                        </a:cxn>
                        <a:cxn ang="T141">
                          <a:pos x="T74" y="T75"/>
                        </a:cxn>
                        <a:cxn ang="T142">
                          <a:pos x="T76" y="T77"/>
                        </a:cxn>
                        <a:cxn ang="T143">
                          <a:pos x="T78" y="T79"/>
                        </a:cxn>
                        <a:cxn ang="T144">
                          <a:pos x="T80" y="T81"/>
                        </a:cxn>
                        <a:cxn ang="T145">
                          <a:pos x="T82" y="T83"/>
                        </a:cxn>
                        <a:cxn ang="T146">
                          <a:pos x="T84" y="T85"/>
                        </a:cxn>
                        <a:cxn ang="T147">
                          <a:pos x="T86" y="T87"/>
                        </a:cxn>
                        <a:cxn ang="T148">
                          <a:pos x="T88" y="T89"/>
                        </a:cxn>
                        <a:cxn ang="T149">
                          <a:pos x="T90" y="T91"/>
                        </a:cxn>
                        <a:cxn ang="T150">
                          <a:pos x="T92" y="T93"/>
                        </a:cxn>
                        <a:cxn ang="T151">
                          <a:pos x="T94" y="T95"/>
                        </a:cxn>
                        <a:cxn ang="T152">
                          <a:pos x="T96" y="T97"/>
                        </a:cxn>
                        <a:cxn ang="T153">
                          <a:pos x="T98" y="T99"/>
                        </a:cxn>
                        <a:cxn ang="T154">
                          <a:pos x="T100" y="T101"/>
                        </a:cxn>
                        <a:cxn ang="T155">
                          <a:pos x="T102" y="T103"/>
                        </a:cxn>
                      </a:cxnLst>
                      <a:rect l="T156" t="T157" r="T158" b="T159"/>
                      <a:pathLst>
                        <a:path w="15957" h="13229">
                          <a:moveTo>
                            <a:pt x="9071" y="2723"/>
                          </a:moveTo>
                          <a:lnTo>
                            <a:pt x="9131" y="2757"/>
                          </a:lnTo>
                          <a:lnTo>
                            <a:pt x="9432" y="2810"/>
                          </a:lnTo>
                          <a:lnTo>
                            <a:pt x="9706" y="2910"/>
                          </a:lnTo>
                          <a:lnTo>
                            <a:pt x="9809" y="2999"/>
                          </a:lnTo>
                          <a:lnTo>
                            <a:pt x="9934" y="3216"/>
                          </a:lnTo>
                          <a:lnTo>
                            <a:pt x="10393" y="3219"/>
                          </a:lnTo>
                          <a:lnTo>
                            <a:pt x="10455" y="3296"/>
                          </a:lnTo>
                          <a:lnTo>
                            <a:pt x="10504" y="3434"/>
                          </a:lnTo>
                          <a:lnTo>
                            <a:pt x="10545" y="3497"/>
                          </a:lnTo>
                          <a:lnTo>
                            <a:pt x="10573" y="3599"/>
                          </a:lnTo>
                          <a:lnTo>
                            <a:pt x="10697" y="3824"/>
                          </a:lnTo>
                          <a:lnTo>
                            <a:pt x="10817" y="3869"/>
                          </a:lnTo>
                          <a:lnTo>
                            <a:pt x="10903" y="4039"/>
                          </a:lnTo>
                          <a:lnTo>
                            <a:pt x="11097" y="4175"/>
                          </a:lnTo>
                          <a:lnTo>
                            <a:pt x="11100" y="4189"/>
                          </a:lnTo>
                          <a:lnTo>
                            <a:pt x="11062" y="4232"/>
                          </a:lnTo>
                          <a:lnTo>
                            <a:pt x="11097" y="4290"/>
                          </a:lnTo>
                          <a:lnTo>
                            <a:pt x="11134" y="4426"/>
                          </a:lnTo>
                          <a:lnTo>
                            <a:pt x="11258" y="4460"/>
                          </a:lnTo>
                          <a:lnTo>
                            <a:pt x="11313" y="4512"/>
                          </a:lnTo>
                          <a:lnTo>
                            <a:pt x="11537" y="4658"/>
                          </a:lnTo>
                          <a:lnTo>
                            <a:pt x="11613" y="4723"/>
                          </a:lnTo>
                          <a:lnTo>
                            <a:pt x="11663" y="4798"/>
                          </a:lnTo>
                          <a:lnTo>
                            <a:pt x="11680" y="4839"/>
                          </a:lnTo>
                          <a:lnTo>
                            <a:pt x="11658" y="4977"/>
                          </a:lnTo>
                          <a:lnTo>
                            <a:pt x="11764" y="5127"/>
                          </a:lnTo>
                          <a:lnTo>
                            <a:pt x="11788" y="5234"/>
                          </a:lnTo>
                          <a:lnTo>
                            <a:pt x="11781" y="5294"/>
                          </a:lnTo>
                          <a:lnTo>
                            <a:pt x="11711" y="5381"/>
                          </a:lnTo>
                          <a:lnTo>
                            <a:pt x="11715" y="5546"/>
                          </a:lnTo>
                          <a:lnTo>
                            <a:pt x="11824" y="5695"/>
                          </a:lnTo>
                          <a:lnTo>
                            <a:pt x="12016" y="5908"/>
                          </a:lnTo>
                          <a:lnTo>
                            <a:pt x="12063" y="6177"/>
                          </a:lnTo>
                          <a:lnTo>
                            <a:pt x="12135" y="6264"/>
                          </a:lnTo>
                          <a:lnTo>
                            <a:pt x="12147" y="6336"/>
                          </a:lnTo>
                          <a:lnTo>
                            <a:pt x="12184" y="6371"/>
                          </a:lnTo>
                          <a:lnTo>
                            <a:pt x="12207" y="6448"/>
                          </a:lnTo>
                          <a:lnTo>
                            <a:pt x="12243" y="6448"/>
                          </a:lnTo>
                          <a:lnTo>
                            <a:pt x="12348" y="6619"/>
                          </a:lnTo>
                          <a:lnTo>
                            <a:pt x="12423" y="6638"/>
                          </a:lnTo>
                          <a:lnTo>
                            <a:pt x="12480" y="6842"/>
                          </a:lnTo>
                          <a:lnTo>
                            <a:pt x="12935" y="7241"/>
                          </a:lnTo>
                          <a:lnTo>
                            <a:pt x="13158" y="7915"/>
                          </a:lnTo>
                          <a:lnTo>
                            <a:pt x="15429" y="8331"/>
                          </a:lnTo>
                          <a:lnTo>
                            <a:pt x="15576" y="8167"/>
                          </a:lnTo>
                          <a:lnTo>
                            <a:pt x="15957" y="8740"/>
                          </a:lnTo>
                          <a:lnTo>
                            <a:pt x="15424" y="10363"/>
                          </a:lnTo>
                          <a:lnTo>
                            <a:pt x="13158" y="11166"/>
                          </a:lnTo>
                          <a:lnTo>
                            <a:pt x="11049" y="11512"/>
                          </a:lnTo>
                          <a:lnTo>
                            <a:pt x="10746" y="11729"/>
                          </a:lnTo>
                          <a:lnTo>
                            <a:pt x="10244" y="11935"/>
                          </a:lnTo>
                          <a:lnTo>
                            <a:pt x="9691" y="12918"/>
                          </a:lnTo>
                          <a:lnTo>
                            <a:pt x="9503" y="13060"/>
                          </a:lnTo>
                          <a:lnTo>
                            <a:pt x="9370" y="13076"/>
                          </a:lnTo>
                          <a:lnTo>
                            <a:pt x="9104" y="12745"/>
                          </a:lnTo>
                          <a:lnTo>
                            <a:pt x="8174" y="12657"/>
                          </a:lnTo>
                          <a:lnTo>
                            <a:pt x="8036" y="12551"/>
                          </a:lnTo>
                          <a:lnTo>
                            <a:pt x="7547" y="12502"/>
                          </a:lnTo>
                          <a:lnTo>
                            <a:pt x="7168" y="12457"/>
                          </a:lnTo>
                          <a:lnTo>
                            <a:pt x="6859" y="12543"/>
                          </a:lnTo>
                          <a:lnTo>
                            <a:pt x="6711" y="12286"/>
                          </a:lnTo>
                          <a:lnTo>
                            <a:pt x="6580" y="12452"/>
                          </a:lnTo>
                          <a:lnTo>
                            <a:pt x="6570" y="12466"/>
                          </a:lnTo>
                          <a:lnTo>
                            <a:pt x="6560" y="12481"/>
                          </a:lnTo>
                          <a:lnTo>
                            <a:pt x="6551" y="12499"/>
                          </a:lnTo>
                          <a:lnTo>
                            <a:pt x="6542" y="12517"/>
                          </a:lnTo>
                          <a:lnTo>
                            <a:pt x="6524" y="12554"/>
                          </a:lnTo>
                          <a:lnTo>
                            <a:pt x="6507" y="12592"/>
                          </a:lnTo>
                          <a:lnTo>
                            <a:pt x="6492" y="12625"/>
                          </a:lnTo>
                          <a:lnTo>
                            <a:pt x="6480" y="12652"/>
                          </a:lnTo>
                          <a:lnTo>
                            <a:pt x="6474" y="12661"/>
                          </a:lnTo>
                          <a:lnTo>
                            <a:pt x="6468" y="12668"/>
                          </a:lnTo>
                          <a:lnTo>
                            <a:pt x="6466" y="12670"/>
                          </a:lnTo>
                          <a:lnTo>
                            <a:pt x="6464" y="12671"/>
                          </a:lnTo>
                          <a:lnTo>
                            <a:pt x="6461" y="12671"/>
                          </a:lnTo>
                          <a:lnTo>
                            <a:pt x="6460" y="12670"/>
                          </a:lnTo>
                          <a:lnTo>
                            <a:pt x="6452" y="12667"/>
                          </a:lnTo>
                          <a:lnTo>
                            <a:pt x="6447" y="12665"/>
                          </a:lnTo>
                          <a:lnTo>
                            <a:pt x="6442" y="12664"/>
                          </a:lnTo>
                          <a:lnTo>
                            <a:pt x="6439" y="12665"/>
                          </a:lnTo>
                          <a:lnTo>
                            <a:pt x="6436" y="12666"/>
                          </a:lnTo>
                          <a:lnTo>
                            <a:pt x="6435" y="12669"/>
                          </a:lnTo>
                          <a:lnTo>
                            <a:pt x="6434" y="12672"/>
                          </a:lnTo>
                          <a:lnTo>
                            <a:pt x="6434" y="12676"/>
                          </a:lnTo>
                          <a:lnTo>
                            <a:pt x="6437" y="12688"/>
                          </a:lnTo>
                          <a:lnTo>
                            <a:pt x="6442" y="12702"/>
                          </a:lnTo>
                          <a:lnTo>
                            <a:pt x="6449" y="12718"/>
                          </a:lnTo>
                          <a:lnTo>
                            <a:pt x="6457" y="12735"/>
                          </a:lnTo>
                          <a:lnTo>
                            <a:pt x="6474" y="12773"/>
                          </a:lnTo>
                          <a:lnTo>
                            <a:pt x="6488" y="12807"/>
                          </a:lnTo>
                          <a:lnTo>
                            <a:pt x="6493" y="12822"/>
                          </a:lnTo>
                          <a:lnTo>
                            <a:pt x="6495" y="12835"/>
                          </a:lnTo>
                          <a:lnTo>
                            <a:pt x="6495" y="12841"/>
                          </a:lnTo>
                          <a:lnTo>
                            <a:pt x="6495" y="12845"/>
                          </a:lnTo>
                          <a:lnTo>
                            <a:pt x="6493" y="12849"/>
                          </a:lnTo>
                          <a:lnTo>
                            <a:pt x="6490" y="12851"/>
                          </a:lnTo>
                          <a:lnTo>
                            <a:pt x="6442" y="13138"/>
                          </a:lnTo>
                          <a:lnTo>
                            <a:pt x="6289" y="13180"/>
                          </a:lnTo>
                          <a:lnTo>
                            <a:pt x="6127" y="13229"/>
                          </a:lnTo>
                          <a:lnTo>
                            <a:pt x="6092" y="13137"/>
                          </a:lnTo>
                          <a:lnTo>
                            <a:pt x="6092" y="13002"/>
                          </a:lnTo>
                          <a:lnTo>
                            <a:pt x="5928" y="12707"/>
                          </a:lnTo>
                          <a:lnTo>
                            <a:pt x="5877" y="12675"/>
                          </a:lnTo>
                          <a:lnTo>
                            <a:pt x="5820" y="12590"/>
                          </a:lnTo>
                          <a:lnTo>
                            <a:pt x="5760" y="12346"/>
                          </a:lnTo>
                          <a:lnTo>
                            <a:pt x="5511" y="12104"/>
                          </a:lnTo>
                          <a:lnTo>
                            <a:pt x="5396" y="12043"/>
                          </a:lnTo>
                          <a:lnTo>
                            <a:pt x="5329" y="11966"/>
                          </a:lnTo>
                          <a:lnTo>
                            <a:pt x="5175" y="11749"/>
                          </a:lnTo>
                          <a:lnTo>
                            <a:pt x="5026" y="11439"/>
                          </a:lnTo>
                          <a:lnTo>
                            <a:pt x="4967" y="11398"/>
                          </a:lnTo>
                          <a:lnTo>
                            <a:pt x="4943" y="11357"/>
                          </a:lnTo>
                          <a:lnTo>
                            <a:pt x="4900" y="11197"/>
                          </a:lnTo>
                          <a:lnTo>
                            <a:pt x="4893" y="11035"/>
                          </a:lnTo>
                          <a:lnTo>
                            <a:pt x="4842" y="10911"/>
                          </a:lnTo>
                          <a:lnTo>
                            <a:pt x="4758" y="10766"/>
                          </a:lnTo>
                          <a:lnTo>
                            <a:pt x="4661" y="10672"/>
                          </a:lnTo>
                          <a:lnTo>
                            <a:pt x="4617" y="10581"/>
                          </a:lnTo>
                          <a:lnTo>
                            <a:pt x="4559" y="10532"/>
                          </a:lnTo>
                          <a:lnTo>
                            <a:pt x="4443" y="10363"/>
                          </a:lnTo>
                          <a:lnTo>
                            <a:pt x="4361" y="10288"/>
                          </a:lnTo>
                          <a:lnTo>
                            <a:pt x="4157" y="10146"/>
                          </a:lnTo>
                          <a:lnTo>
                            <a:pt x="4050" y="10087"/>
                          </a:lnTo>
                          <a:lnTo>
                            <a:pt x="4015" y="10102"/>
                          </a:lnTo>
                          <a:lnTo>
                            <a:pt x="3932" y="10071"/>
                          </a:lnTo>
                          <a:lnTo>
                            <a:pt x="3740" y="9952"/>
                          </a:lnTo>
                          <a:lnTo>
                            <a:pt x="3642" y="9870"/>
                          </a:lnTo>
                          <a:lnTo>
                            <a:pt x="3582" y="9793"/>
                          </a:lnTo>
                          <a:lnTo>
                            <a:pt x="3491" y="9608"/>
                          </a:lnTo>
                          <a:lnTo>
                            <a:pt x="3451" y="9466"/>
                          </a:lnTo>
                          <a:lnTo>
                            <a:pt x="3359" y="8893"/>
                          </a:lnTo>
                          <a:lnTo>
                            <a:pt x="3309" y="8803"/>
                          </a:lnTo>
                          <a:lnTo>
                            <a:pt x="3299" y="8728"/>
                          </a:lnTo>
                          <a:lnTo>
                            <a:pt x="3333" y="8694"/>
                          </a:lnTo>
                          <a:lnTo>
                            <a:pt x="3366" y="8593"/>
                          </a:lnTo>
                          <a:lnTo>
                            <a:pt x="3383" y="8406"/>
                          </a:lnTo>
                          <a:lnTo>
                            <a:pt x="3326" y="8203"/>
                          </a:lnTo>
                          <a:lnTo>
                            <a:pt x="3283" y="8114"/>
                          </a:lnTo>
                          <a:lnTo>
                            <a:pt x="3225" y="8044"/>
                          </a:lnTo>
                          <a:lnTo>
                            <a:pt x="3174" y="7927"/>
                          </a:lnTo>
                          <a:lnTo>
                            <a:pt x="3141" y="7785"/>
                          </a:lnTo>
                          <a:lnTo>
                            <a:pt x="3091" y="7700"/>
                          </a:lnTo>
                          <a:lnTo>
                            <a:pt x="3034" y="7550"/>
                          </a:lnTo>
                          <a:lnTo>
                            <a:pt x="2859" y="7241"/>
                          </a:lnTo>
                          <a:lnTo>
                            <a:pt x="2650" y="7038"/>
                          </a:lnTo>
                          <a:lnTo>
                            <a:pt x="2518" y="6946"/>
                          </a:lnTo>
                          <a:lnTo>
                            <a:pt x="2492" y="6909"/>
                          </a:lnTo>
                          <a:lnTo>
                            <a:pt x="2451" y="6902"/>
                          </a:lnTo>
                          <a:lnTo>
                            <a:pt x="2435" y="6861"/>
                          </a:lnTo>
                          <a:lnTo>
                            <a:pt x="2326" y="6803"/>
                          </a:lnTo>
                          <a:lnTo>
                            <a:pt x="2243" y="6803"/>
                          </a:lnTo>
                          <a:lnTo>
                            <a:pt x="2193" y="6818"/>
                          </a:lnTo>
                          <a:lnTo>
                            <a:pt x="2135" y="6791"/>
                          </a:lnTo>
                          <a:lnTo>
                            <a:pt x="2108" y="6692"/>
                          </a:lnTo>
                          <a:lnTo>
                            <a:pt x="2042" y="6580"/>
                          </a:lnTo>
                          <a:lnTo>
                            <a:pt x="1949" y="6472"/>
                          </a:lnTo>
                          <a:lnTo>
                            <a:pt x="1949" y="6336"/>
                          </a:lnTo>
                          <a:lnTo>
                            <a:pt x="1965" y="6312"/>
                          </a:lnTo>
                          <a:lnTo>
                            <a:pt x="1833" y="5901"/>
                          </a:lnTo>
                          <a:lnTo>
                            <a:pt x="1757" y="5789"/>
                          </a:lnTo>
                          <a:lnTo>
                            <a:pt x="1665" y="5616"/>
                          </a:lnTo>
                          <a:lnTo>
                            <a:pt x="1549" y="5562"/>
                          </a:lnTo>
                          <a:lnTo>
                            <a:pt x="1507" y="5504"/>
                          </a:lnTo>
                          <a:lnTo>
                            <a:pt x="1483" y="5405"/>
                          </a:lnTo>
                          <a:lnTo>
                            <a:pt x="1326" y="5202"/>
                          </a:lnTo>
                          <a:lnTo>
                            <a:pt x="1198" y="4866"/>
                          </a:lnTo>
                          <a:lnTo>
                            <a:pt x="1117" y="4757"/>
                          </a:lnTo>
                          <a:lnTo>
                            <a:pt x="1016" y="4682"/>
                          </a:lnTo>
                          <a:lnTo>
                            <a:pt x="841" y="4447"/>
                          </a:lnTo>
                          <a:lnTo>
                            <a:pt x="824" y="4372"/>
                          </a:lnTo>
                          <a:lnTo>
                            <a:pt x="724" y="4245"/>
                          </a:lnTo>
                          <a:lnTo>
                            <a:pt x="625" y="4019"/>
                          </a:lnTo>
                          <a:lnTo>
                            <a:pt x="434" y="3656"/>
                          </a:lnTo>
                          <a:lnTo>
                            <a:pt x="357" y="3599"/>
                          </a:lnTo>
                          <a:lnTo>
                            <a:pt x="242" y="3599"/>
                          </a:lnTo>
                          <a:lnTo>
                            <a:pt x="125" y="3581"/>
                          </a:lnTo>
                          <a:lnTo>
                            <a:pt x="101" y="3565"/>
                          </a:lnTo>
                          <a:lnTo>
                            <a:pt x="34" y="3581"/>
                          </a:lnTo>
                          <a:lnTo>
                            <a:pt x="0" y="3649"/>
                          </a:lnTo>
                          <a:lnTo>
                            <a:pt x="159" y="3246"/>
                          </a:lnTo>
                          <a:lnTo>
                            <a:pt x="168" y="2943"/>
                          </a:lnTo>
                          <a:lnTo>
                            <a:pt x="192" y="2825"/>
                          </a:lnTo>
                          <a:lnTo>
                            <a:pt x="249" y="2682"/>
                          </a:lnTo>
                          <a:lnTo>
                            <a:pt x="242" y="2477"/>
                          </a:lnTo>
                          <a:lnTo>
                            <a:pt x="276" y="2595"/>
                          </a:lnTo>
                          <a:lnTo>
                            <a:pt x="1117" y="2702"/>
                          </a:lnTo>
                          <a:lnTo>
                            <a:pt x="1352" y="2467"/>
                          </a:lnTo>
                          <a:lnTo>
                            <a:pt x="1366" y="2419"/>
                          </a:lnTo>
                          <a:lnTo>
                            <a:pt x="1567" y="2061"/>
                          </a:lnTo>
                          <a:lnTo>
                            <a:pt x="2145" y="1974"/>
                          </a:lnTo>
                          <a:lnTo>
                            <a:pt x="2171" y="1850"/>
                          </a:lnTo>
                          <a:lnTo>
                            <a:pt x="2255" y="1618"/>
                          </a:lnTo>
                          <a:lnTo>
                            <a:pt x="2560" y="1448"/>
                          </a:lnTo>
                          <a:lnTo>
                            <a:pt x="2569" y="1429"/>
                          </a:lnTo>
                          <a:lnTo>
                            <a:pt x="1840" y="685"/>
                          </a:lnTo>
                          <a:lnTo>
                            <a:pt x="1731" y="590"/>
                          </a:lnTo>
                          <a:lnTo>
                            <a:pt x="2281" y="464"/>
                          </a:lnTo>
                          <a:lnTo>
                            <a:pt x="3197" y="281"/>
                          </a:lnTo>
                          <a:lnTo>
                            <a:pt x="3424" y="0"/>
                          </a:lnTo>
                          <a:lnTo>
                            <a:pt x="4576" y="321"/>
                          </a:lnTo>
                          <a:lnTo>
                            <a:pt x="5434" y="970"/>
                          </a:lnTo>
                          <a:lnTo>
                            <a:pt x="6203" y="1265"/>
                          </a:lnTo>
                          <a:lnTo>
                            <a:pt x="6284" y="1324"/>
                          </a:lnTo>
                          <a:lnTo>
                            <a:pt x="6395" y="1591"/>
                          </a:lnTo>
                          <a:lnTo>
                            <a:pt x="6793" y="1625"/>
                          </a:lnTo>
                          <a:lnTo>
                            <a:pt x="6826" y="1659"/>
                          </a:lnTo>
                          <a:lnTo>
                            <a:pt x="6826" y="2203"/>
                          </a:lnTo>
                          <a:lnTo>
                            <a:pt x="6859" y="2247"/>
                          </a:lnTo>
                          <a:lnTo>
                            <a:pt x="7719" y="2641"/>
                          </a:lnTo>
                          <a:lnTo>
                            <a:pt x="9071" y="2723"/>
                          </a:lnTo>
                        </a:path>
                      </a:pathLst>
                    </a:custGeom>
                    <a:grpFill/>
                    <a:ln w="6350">
                      <a:solidFill>
                        <a:schemeClr val="bg1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ru-RU" sz="1400"/>
                    </a:p>
                  </p:txBody>
                </p:sp>
              </p:grpSp>
              <p:grpSp>
                <p:nvGrpSpPr>
                  <p:cNvPr id="532" name="Group 79"/>
                  <p:cNvGrpSpPr>
                    <a:grpSpLocks/>
                  </p:cNvGrpSpPr>
                  <p:nvPr/>
                </p:nvGrpSpPr>
                <p:grpSpPr bwMode="auto">
                  <a:xfrm>
                    <a:off x="2984" y="2276"/>
                    <a:ext cx="114" cy="72"/>
                    <a:chOff x="2984" y="2276"/>
                    <a:chExt cx="114" cy="72"/>
                  </a:xfrm>
                  <a:grpFill/>
                </p:grpSpPr>
                <p:sp>
                  <p:nvSpPr>
                    <p:cNvPr id="550" name="Freeform 80"/>
                    <p:cNvSpPr>
                      <a:spLocks/>
                    </p:cNvSpPr>
                    <p:nvPr/>
                  </p:nvSpPr>
                  <p:spPr bwMode="gray">
                    <a:xfrm>
                      <a:off x="2984" y="2276"/>
                      <a:ext cx="114" cy="72"/>
                    </a:xfrm>
                    <a:custGeom>
                      <a:avLst/>
                      <a:gdLst>
                        <a:gd name="T0" fmla="*/ 1 w 15675"/>
                        <a:gd name="T1" fmla="*/ 0 h 9942"/>
                        <a:gd name="T2" fmla="*/ 1 w 15675"/>
                        <a:gd name="T3" fmla="*/ 0 h 9942"/>
                        <a:gd name="T4" fmla="*/ 1 w 15675"/>
                        <a:gd name="T5" fmla="*/ 0 h 9942"/>
                        <a:gd name="T6" fmla="*/ 1 w 15675"/>
                        <a:gd name="T7" fmla="*/ 0 h 9942"/>
                        <a:gd name="T8" fmla="*/ 1 w 15675"/>
                        <a:gd name="T9" fmla="*/ 0 h 9942"/>
                        <a:gd name="T10" fmla="*/ 1 w 15675"/>
                        <a:gd name="T11" fmla="*/ 0 h 9942"/>
                        <a:gd name="T12" fmla="*/ 1 w 15675"/>
                        <a:gd name="T13" fmla="*/ 0 h 9942"/>
                        <a:gd name="T14" fmla="*/ 1 w 15675"/>
                        <a:gd name="T15" fmla="*/ 0 h 9942"/>
                        <a:gd name="T16" fmla="*/ 0 w 15675"/>
                        <a:gd name="T17" fmla="*/ 0 h 9942"/>
                        <a:gd name="T18" fmla="*/ 0 w 15675"/>
                        <a:gd name="T19" fmla="*/ 0 h 9942"/>
                        <a:gd name="T20" fmla="*/ 0 w 15675"/>
                        <a:gd name="T21" fmla="*/ 0 h 9942"/>
                        <a:gd name="T22" fmla="*/ 0 w 15675"/>
                        <a:gd name="T23" fmla="*/ 0 h 9942"/>
                        <a:gd name="T24" fmla="*/ 0 w 15675"/>
                        <a:gd name="T25" fmla="*/ 0 h 9942"/>
                        <a:gd name="T26" fmla="*/ 0 w 15675"/>
                        <a:gd name="T27" fmla="*/ 0 h 9942"/>
                        <a:gd name="T28" fmla="*/ 0 w 15675"/>
                        <a:gd name="T29" fmla="*/ 1 h 9942"/>
                        <a:gd name="T30" fmla="*/ 0 w 15675"/>
                        <a:gd name="T31" fmla="*/ 1 h 9942"/>
                        <a:gd name="T32" fmla="*/ 0 w 15675"/>
                        <a:gd name="T33" fmla="*/ 1 h 9942"/>
                        <a:gd name="T34" fmla="*/ 0 w 15675"/>
                        <a:gd name="T35" fmla="*/ 0 h 9942"/>
                        <a:gd name="T36" fmla="*/ 0 w 15675"/>
                        <a:gd name="T37" fmla="*/ 0 h 9942"/>
                        <a:gd name="T38" fmla="*/ 0 w 15675"/>
                        <a:gd name="T39" fmla="*/ 0 h 9942"/>
                        <a:gd name="T40" fmla="*/ 0 w 15675"/>
                        <a:gd name="T41" fmla="*/ 0 h 9942"/>
                        <a:gd name="T42" fmla="*/ 0 w 15675"/>
                        <a:gd name="T43" fmla="*/ 0 h 9942"/>
                        <a:gd name="T44" fmla="*/ 0 w 15675"/>
                        <a:gd name="T45" fmla="*/ 0 h 9942"/>
                        <a:gd name="T46" fmla="*/ 0 w 15675"/>
                        <a:gd name="T47" fmla="*/ 0 h 9942"/>
                        <a:gd name="T48" fmla="*/ 0 w 15675"/>
                        <a:gd name="T49" fmla="*/ 0 h 9942"/>
                        <a:gd name="T50" fmla="*/ 0 w 15675"/>
                        <a:gd name="T51" fmla="*/ 0 h 9942"/>
                        <a:gd name="T52" fmla="*/ 0 w 15675"/>
                        <a:gd name="T53" fmla="*/ 0 h 9942"/>
                        <a:gd name="T54" fmla="*/ 0 w 15675"/>
                        <a:gd name="T55" fmla="*/ 0 h 9942"/>
                        <a:gd name="T56" fmla="*/ 0 w 15675"/>
                        <a:gd name="T57" fmla="*/ 0 h 9942"/>
                        <a:gd name="T58" fmla="*/ 0 w 15675"/>
                        <a:gd name="T59" fmla="*/ 0 h 9942"/>
                        <a:gd name="T60" fmla="*/ 0 w 15675"/>
                        <a:gd name="T61" fmla="*/ 0 h 9942"/>
                        <a:gd name="T62" fmla="*/ 0 w 15675"/>
                        <a:gd name="T63" fmla="*/ 0 h 9942"/>
                        <a:gd name="T64" fmla="*/ 0 w 15675"/>
                        <a:gd name="T65" fmla="*/ 0 h 9942"/>
                        <a:gd name="T66" fmla="*/ 0 w 15675"/>
                        <a:gd name="T67" fmla="*/ 0 h 9942"/>
                        <a:gd name="T68" fmla="*/ 0 w 15675"/>
                        <a:gd name="T69" fmla="*/ 0 h 9942"/>
                        <a:gd name="T70" fmla="*/ 0 w 15675"/>
                        <a:gd name="T71" fmla="*/ 0 h 9942"/>
                        <a:gd name="T72" fmla="*/ 0 w 15675"/>
                        <a:gd name="T73" fmla="*/ 0 h 9942"/>
                        <a:gd name="T74" fmla="*/ 0 w 15675"/>
                        <a:gd name="T75" fmla="*/ 0 h 9942"/>
                        <a:gd name="T76" fmla="*/ 0 w 15675"/>
                        <a:gd name="T77" fmla="*/ 0 h 9942"/>
                        <a:gd name="T78" fmla="*/ 0 w 15675"/>
                        <a:gd name="T79" fmla="*/ 0 h 9942"/>
                        <a:gd name="T80" fmla="*/ 0 w 15675"/>
                        <a:gd name="T81" fmla="*/ 0 h 9942"/>
                        <a:gd name="T82" fmla="*/ 0 w 15675"/>
                        <a:gd name="T83" fmla="*/ 0 h 9942"/>
                        <a:gd name="T84" fmla="*/ 0 w 15675"/>
                        <a:gd name="T85" fmla="*/ 0 h 9942"/>
                        <a:gd name="T86" fmla="*/ 0 w 15675"/>
                        <a:gd name="T87" fmla="*/ 0 h 9942"/>
                        <a:gd name="T88" fmla="*/ 0 w 15675"/>
                        <a:gd name="T89" fmla="*/ 0 h 9942"/>
                        <a:gd name="T90" fmla="*/ 1 w 15675"/>
                        <a:gd name="T91" fmla="*/ 0 h 9942"/>
                        <a:gd name="T92" fmla="*/ 1 w 15675"/>
                        <a:gd name="T93" fmla="*/ 0 h 9942"/>
                        <a:gd name="T94" fmla="*/ 1 w 15675"/>
                        <a:gd name="T95" fmla="*/ 0 h 9942"/>
                        <a:gd name="T96" fmla="*/ 1 w 15675"/>
                        <a:gd name="T97" fmla="*/ 0 h 9942"/>
                        <a:gd name="T98" fmla="*/ 1 w 15675"/>
                        <a:gd name="T99" fmla="*/ 0 h 9942"/>
                        <a:gd name="T100" fmla="*/ 1 w 15675"/>
                        <a:gd name="T101" fmla="*/ 0 h 9942"/>
                        <a:gd name="T102" fmla="*/ 1 w 15675"/>
                        <a:gd name="T103" fmla="*/ 0 h 9942"/>
                        <a:gd name="T104" fmla="*/ 1 w 15675"/>
                        <a:gd name="T105" fmla="*/ 0 h 9942"/>
                        <a:gd name="T106" fmla="*/ 1 w 15675"/>
                        <a:gd name="T107" fmla="*/ 0 h 9942"/>
                        <a:gd name="T108" fmla="*/ 1 w 15675"/>
                        <a:gd name="T109" fmla="*/ 0 h 9942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60000 65536"/>
                        <a:gd name="T157" fmla="*/ 0 60000 65536"/>
                        <a:gd name="T158" fmla="*/ 0 60000 65536"/>
                        <a:gd name="T159" fmla="*/ 0 60000 65536"/>
                        <a:gd name="T160" fmla="*/ 0 60000 65536"/>
                        <a:gd name="T161" fmla="*/ 0 60000 65536"/>
                        <a:gd name="T162" fmla="*/ 0 60000 65536"/>
                        <a:gd name="T163" fmla="*/ 0 60000 65536"/>
                        <a:gd name="T164" fmla="*/ 0 60000 65536"/>
                        <a:gd name="T165" fmla="*/ 0 w 15675"/>
                        <a:gd name="T166" fmla="*/ 0 h 9942"/>
                        <a:gd name="T167" fmla="*/ 15675 w 15675"/>
                        <a:gd name="T168" fmla="*/ 9942 h 9942"/>
                      </a:gdLst>
                      <a:ahLst/>
                      <a:cxnLst>
                        <a:cxn ang="T110">
                          <a:pos x="T0" y="T1"/>
                        </a:cxn>
                        <a:cxn ang="T111">
                          <a:pos x="T2" y="T3"/>
                        </a:cxn>
                        <a:cxn ang="T112">
                          <a:pos x="T4" y="T5"/>
                        </a:cxn>
                        <a:cxn ang="T113">
                          <a:pos x="T6" y="T7"/>
                        </a:cxn>
                        <a:cxn ang="T114">
                          <a:pos x="T8" y="T9"/>
                        </a:cxn>
                        <a:cxn ang="T115">
                          <a:pos x="T10" y="T11"/>
                        </a:cxn>
                        <a:cxn ang="T116">
                          <a:pos x="T12" y="T13"/>
                        </a:cxn>
                        <a:cxn ang="T117">
                          <a:pos x="T14" y="T15"/>
                        </a:cxn>
                        <a:cxn ang="T118">
                          <a:pos x="T16" y="T17"/>
                        </a:cxn>
                        <a:cxn ang="T119">
                          <a:pos x="T18" y="T19"/>
                        </a:cxn>
                        <a:cxn ang="T120">
                          <a:pos x="T20" y="T21"/>
                        </a:cxn>
                        <a:cxn ang="T121">
                          <a:pos x="T22" y="T23"/>
                        </a:cxn>
                        <a:cxn ang="T122">
                          <a:pos x="T24" y="T25"/>
                        </a:cxn>
                        <a:cxn ang="T123">
                          <a:pos x="T26" y="T27"/>
                        </a:cxn>
                        <a:cxn ang="T124">
                          <a:pos x="T28" y="T29"/>
                        </a:cxn>
                        <a:cxn ang="T125">
                          <a:pos x="T30" y="T31"/>
                        </a:cxn>
                        <a:cxn ang="T126">
                          <a:pos x="T32" y="T33"/>
                        </a:cxn>
                        <a:cxn ang="T127">
                          <a:pos x="T34" y="T35"/>
                        </a:cxn>
                        <a:cxn ang="T128">
                          <a:pos x="T36" y="T37"/>
                        </a:cxn>
                        <a:cxn ang="T129">
                          <a:pos x="T38" y="T39"/>
                        </a:cxn>
                        <a:cxn ang="T130">
                          <a:pos x="T40" y="T41"/>
                        </a:cxn>
                        <a:cxn ang="T131">
                          <a:pos x="T42" y="T43"/>
                        </a:cxn>
                        <a:cxn ang="T132">
                          <a:pos x="T44" y="T45"/>
                        </a:cxn>
                        <a:cxn ang="T133">
                          <a:pos x="T46" y="T47"/>
                        </a:cxn>
                        <a:cxn ang="T134">
                          <a:pos x="T48" y="T49"/>
                        </a:cxn>
                        <a:cxn ang="T135">
                          <a:pos x="T50" y="T51"/>
                        </a:cxn>
                        <a:cxn ang="T136">
                          <a:pos x="T52" y="T53"/>
                        </a:cxn>
                        <a:cxn ang="T137">
                          <a:pos x="T54" y="T55"/>
                        </a:cxn>
                        <a:cxn ang="T138">
                          <a:pos x="T56" y="T57"/>
                        </a:cxn>
                        <a:cxn ang="T139">
                          <a:pos x="T58" y="T59"/>
                        </a:cxn>
                        <a:cxn ang="T140">
                          <a:pos x="T60" y="T61"/>
                        </a:cxn>
                        <a:cxn ang="T141">
                          <a:pos x="T62" y="T63"/>
                        </a:cxn>
                        <a:cxn ang="T142">
                          <a:pos x="T64" y="T65"/>
                        </a:cxn>
                        <a:cxn ang="T143">
                          <a:pos x="T66" y="T67"/>
                        </a:cxn>
                        <a:cxn ang="T144">
                          <a:pos x="T68" y="T69"/>
                        </a:cxn>
                        <a:cxn ang="T145">
                          <a:pos x="T70" y="T71"/>
                        </a:cxn>
                        <a:cxn ang="T146">
                          <a:pos x="T72" y="T73"/>
                        </a:cxn>
                        <a:cxn ang="T147">
                          <a:pos x="T74" y="T75"/>
                        </a:cxn>
                        <a:cxn ang="T148">
                          <a:pos x="T76" y="T77"/>
                        </a:cxn>
                        <a:cxn ang="T149">
                          <a:pos x="T78" y="T79"/>
                        </a:cxn>
                        <a:cxn ang="T150">
                          <a:pos x="T80" y="T81"/>
                        </a:cxn>
                        <a:cxn ang="T151">
                          <a:pos x="T82" y="T83"/>
                        </a:cxn>
                        <a:cxn ang="T152">
                          <a:pos x="T84" y="T85"/>
                        </a:cxn>
                        <a:cxn ang="T153">
                          <a:pos x="T86" y="T87"/>
                        </a:cxn>
                        <a:cxn ang="T154">
                          <a:pos x="T88" y="T89"/>
                        </a:cxn>
                        <a:cxn ang="T155">
                          <a:pos x="T90" y="T91"/>
                        </a:cxn>
                        <a:cxn ang="T156">
                          <a:pos x="T92" y="T93"/>
                        </a:cxn>
                        <a:cxn ang="T157">
                          <a:pos x="T94" y="T95"/>
                        </a:cxn>
                        <a:cxn ang="T158">
                          <a:pos x="T96" y="T97"/>
                        </a:cxn>
                        <a:cxn ang="T159">
                          <a:pos x="T98" y="T99"/>
                        </a:cxn>
                        <a:cxn ang="T160">
                          <a:pos x="T100" y="T101"/>
                        </a:cxn>
                        <a:cxn ang="T161">
                          <a:pos x="T102" y="T103"/>
                        </a:cxn>
                        <a:cxn ang="T162">
                          <a:pos x="T104" y="T105"/>
                        </a:cxn>
                        <a:cxn ang="T163">
                          <a:pos x="T106" y="T107"/>
                        </a:cxn>
                        <a:cxn ang="T164">
                          <a:pos x="T108" y="T109"/>
                        </a:cxn>
                      </a:cxnLst>
                      <a:rect l="T165" t="T166" r="T167" b="T168"/>
                      <a:pathLst>
                        <a:path w="15675" h="9942">
                          <a:moveTo>
                            <a:pt x="15675" y="3780"/>
                          </a:moveTo>
                          <a:lnTo>
                            <a:pt x="15169" y="3985"/>
                          </a:lnTo>
                          <a:lnTo>
                            <a:pt x="14868" y="4199"/>
                          </a:lnTo>
                          <a:lnTo>
                            <a:pt x="14648" y="4443"/>
                          </a:lnTo>
                          <a:lnTo>
                            <a:pt x="14447" y="4864"/>
                          </a:lnTo>
                          <a:lnTo>
                            <a:pt x="14514" y="5031"/>
                          </a:lnTo>
                          <a:lnTo>
                            <a:pt x="14543" y="5260"/>
                          </a:lnTo>
                          <a:lnTo>
                            <a:pt x="14538" y="5308"/>
                          </a:lnTo>
                          <a:lnTo>
                            <a:pt x="14466" y="5374"/>
                          </a:lnTo>
                          <a:lnTo>
                            <a:pt x="14385" y="5418"/>
                          </a:lnTo>
                          <a:lnTo>
                            <a:pt x="14190" y="5385"/>
                          </a:lnTo>
                          <a:lnTo>
                            <a:pt x="14027" y="5466"/>
                          </a:lnTo>
                          <a:lnTo>
                            <a:pt x="13627" y="5576"/>
                          </a:lnTo>
                          <a:lnTo>
                            <a:pt x="13364" y="5843"/>
                          </a:lnTo>
                          <a:lnTo>
                            <a:pt x="13073" y="5967"/>
                          </a:lnTo>
                          <a:lnTo>
                            <a:pt x="12652" y="6020"/>
                          </a:lnTo>
                          <a:lnTo>
                            <a:pt x="12404" y="6082"/>
                          </a:lnTo>
                          <a:lnTo>
                            <a:pt x="12036" y="6264"/>
                          </a:lnTo>
                          <a:lnTo>
                            <a:pt x="11764" y="6336"/>
                          </a:lnTo>
                          <a:lnTo>
                            <a:pt x="11211" y="6574"/>
                          </a:lnTo>
                          <a:lnTo>
                            <a:pt x="10929" y="6593"/>
                          </a:lnTo>
                          <a:lnTo>
                            <a:pt x="10470" y="6679"/>
                          </a:lnTo>
                          <a:lnTo>
                            <a:pt x="9988" y="6908"/>
                          </a:lnTo>
                          <a:lnTo>
                            <a:pt x="9740" y="7051"/>
                          </a:lnTo>
                          <a:lnTo>
                            <a:pt x="9645" y="7262"/>
                          </a:lnTo>
                          <a:lnTo>
                            <a:pt x="9521" y="7448"/>
                          </a:lnTo>
                          <a:lnTo>
                            <a:pt x="9205" y="7739"/>
                          </a:lnTo>
                          <a:lnTo>
                            <a:pt x="9072" y="7825"/>
                          </a:lnTo>
                          <a:lnTo>
                            <a:pt x="9020" y="7897"/>
                          </a:lnTo>
                          <a:lnTo>
                            <a:pt x="8905" y="7936"/>
                          </a:lnTo>
                          <a:lnTo>
                            <a:pt x="8198" y="7906"/>
                          </a:lnTo>
                          <a:lnTo>
                            <a:pt x="7845" y="7951"/>
                          </a:lnTo>
                          <a:lnTo>
                            <a:pt x="7539" y="8146"/>
                          </a:lnTo>
                          <a:lnTo>
                            <a:pt x="7391" y="8347"/>
                          </a:lnTo>
                          <a:lnTo>
                            <a:pt x="6962" y="8585"/>
                          </a:lnTo>
                          <a:lnTo>
                            <a:pt x="6784" y="8623"/>
                          </a:lnTo>
                          <a:lnTo>
                            <a:pt x="6259" y="8776"/>
                          </a:lnTo>
                          <a:lnTo>
                            <a:pt x="5978" y="8801"/>
                          </a:lnTo>
                          <a:lnTo>
                            <a:pt x="5672" y="8733"/>
                          </a:lnTo>
                          <a:lnTo>
                            <a:pt x="5353" y="8786"/>
                          </a:lnTo>
                          <a:lnTo>
                            <a:pt x="5109" y="8762"/>
                          </a:lnTo>
                          <a:lnTo>
                            <a:pt x="4779" y="8801"/>
                          </a:lnTo>
                          <a:lnTo>
                            <a:pt x="4497" y="8977"/>
                          </a:lnTo>
                          <a:lnTo>
                            <a:pt x="4292" y="9321"/>
                          </a:lnTo>
                          <a:lnTo>
                            <a:pt x="3686" y="9598"/>
                          </a:lnTo>
                          <a:lnTo>
                            <a:pt x="3405" y="9771"/>
                          </a:lnTo>
                          <a:lnTo>
                            <a:pt x="2769" y="9785"/>
                          </a:lnTo>
                          <a:lnTo>
                            <a:pt x="2368" y="9909"/>
                          </a:lnTo>
                          <a:lnTo>
                            <a:pt x="2149" y="9890"/>
                          </a:lnTo>
                          <a:lnTo>
                            <a:pt x="1934" y="9942"/>
                          </a:lnTo>
                          <a:lnTo>
                            <a:pt x="1652" y="9818"/>
                          </a:lnTo>
                          <a:lnTo>
                            <a:pt x="1309" y="9832"/>
                          </a:lnTo>
                          <a:lnTo>
                            <a:pt x="1180" y="9435"/>
                          </a:lnTo>
                          <a:lnTo>
                            <a:pt x="898" y="9087"/>
                          </a:lnTo>
                          <a:lnTo>
                            <a:pt x="898" y="8356"/>
                          </a:lnTo>
                          <a:lnTo>
                            <a:pt x="865" y="8108"/>
                          </a:lnTo>
                          <a:lnTo>
                            <a:pt x="716" y="7955"/>
                          </a:lnTo>
                          <a:lnTo>
                            <a:pt x="635" y="7758"/>
                          </a:lnTo>
                          <a:lnTo>
                            <a:pt x="535" y="7310"/>
                          </a:lnTo>
                          <a:lnTo>
                            <a:pt x="482" y="6794"/>
                          </a:lnTo>
                          <a:lnTo>
                            <a:pt x="401" y="6584"/>
                          </a:lnTo>
                          <a:lnTo>
                            <a:pt x="320" y="6450"/>
                          </a:lnTo>
                          <a:lnTo>
                            <a:pt x="320" y="6215"/>
                          </a:lnTo>
                          <a:lnTo>
                            <a:pt x="86" y="5886"/>
                          </a:lnTo>
                          <a:lnTo>
                            <a:pt x="0" y="5814"/>
                          </a:lnTo>
                          <a:lnTo>
                            <a:pt x="67" y="5752"/>
                          </a:lnTo>
                          <a:lnTo>
                            <a:pt x="134" y="5767"/>
                          </a:lnTo>
                          <a:lnTo>
                            <a:pt x="134" y="5666"/>
                          </a:lnTo>
                          <a:lnTo>
                            <a:pt x="86" y="5552"/>
                          </a:lnTo>
                          <a:lnTo>
                            <a:pt x="86" y="5303"/>
                          </a:lnTo>
                          <a:lnTo>
                            <a:pt x="34" y="5155"/>
                          </a:lnTo>
                          <a:lnTo>
                            <a:pt x="201" y="5007"/>
                          </a:lnTo>
                          <a:lnTo>
                            <a:pt x="234" y="4888"/>
                          </a:lnTo>
                          <a:lnTo>
                            <a:pt x="201" y="4438"/>
                          </a:lnTo>
                          <a:lnTo>
                            <a:pt x="153" y="4142"/>
                          </a:lnTo>
                          <a:lnTo>
                            <a:pt x="101" y="4075"/>
                          </a:lnTo>
                          <a:lnTo>
                            <a:pt x="710" y="3760"/>
                          </a:lnTo>
                          <a:lnTo>
                            <a:pt x="850" y="3308"/>
                          </a:lnTo>
                          <a:lnTo>
                            <a:pt x="853" y="3295"/>
                          </a:lnTo>
                          <a:lnTo>
                            <a:pt x="854" y="3283"/>
                          </a:lnTo>
                          <a:lnTo>
                            <a:pt x="854" y="3271"/>
                          </a:lnTo>
                          <a:lnTo>
                            <a:pt x="853" y="3258"/>
                          </a:lnTo>
                          <a:lnTo>
                            <a:pt x="850" y="3246"/>
                          </a:lnTo>
                          <a:lnTo>
                            <a:pt x="847" y="3234"/>
                          </a:lnTo>
                          <a:lnTo>
                            <a:pt x="843" y="3222"/>
                          </a:lnTo>
                          <a:lnTo>
                            <a:pt x="838" y="3209"/>
                          </a:lnTo>
                          <a:lnTo>
                            <a:pt x="825" y="3184"/>
                          </a:lnTo>
                          <a:lnTo>
                            <a:pt x="809" y="3159"/>
                          </a:lnTo>
                          <a:lnTo>
                            <a:pt x="793" y="3135"/>
                          </a:lnTo>
                          <a:lnTo>
                            <a:pt x="777" y="3110"/>
                          </a:lnTo>
                          <a:lnTo>
                            <a:pt x="761" y="3086"/>
                          </a:lnTo>
                          <a:lnTo>
                            <a:pt x="747" y="3061"/>
                          </a:lnTo>
                          <a:lnTo>
                            <a:pt x="741" y="3050"/>
                          </a:lnTo>
                          <a:lnTo>
                            <a:pt x="736" y="3038"/>
                          </a:lnTo>
                          <a:lnTo>
                            <a:pt x="731" y="3026"/>
                          </a:lnTo>
                          <a:lnTo>
                            <a:pt x="727" y="3014"/>
                          </a:lnTo>
                          <a:lnTo>
                            <a:pt x="724" y="3002"/>
                          </a:lnTo>
                          <a:lnTo>
                            <a:pt x="722" y="2991"/>
                          </a:lnTo>
                          <a:lnTo>
                            <a:pt x="722" y="2979"/>
                          </a:lnTo>
                          <a:lnTo>
                            <a:pt x="723" y="2967"/>
                          </a:lnTo>
                          <a:lnTo>
                            <a:pt x="725" y="2956"/>
                          </a:lnTo>
                          <a:lnTo>
                            <a:pt x="730" y="2945"/>
                          </a:lnTo>
                          <a:lnTo>
                            <a:pt x="735" y="2934"/>
                          </a:lnTo>
                          <a:lnTo>
                            <a:pt x="743" y="2922"/>
                          </a:lnTo>
                          <a:lnTo>
                            <a:pt x="1266" y="2241"/>
                          </a:lnTo>
                          <a:lnTo>
                            <a:pt x="1614" y="2657"/>
                          </a:lnTo>
                          <a:lnTo>
                            <a:pt x="2120" y="2602"/>
                          </a:lnTo>
                          <a:lnTo>
                            <a:pt x="3858" y="2689"/>
                          </a:lnTo>
                          <a:lnTo>
                            <a:pt x="4187" y="2967"/>
                          </a:lnTo>
                          <a:lnTo>
                            <a:pt x="6020" y="3083"/>
                          </a:lnTo>
                          <a:lnTo>
                            <a:pt x="6615" y="3737"/>
                          </a:lnTo>
                          <a:lnTo>
                            <a:pt x="6648" y="3723"/>
                          </a:lnTo>
                          <a:lnTo>
                            <a:pt x="6683" y="3710"/>
                          </a:lnTo>
                          <a:lnTo>
                            <a:pt x="6718" y="3700"/>
                          </a:lnTo>
                          <a:lnTo>
                            <a:pt x="6754" y="3690"/>
                          </a:lnTo>
                          <a:lnTo>
                            <a:pt x="6825" y="3671"/>
                          </a:lnTo>
                          <a:lnTo>
                            <a:pt x="6894" y="3652"/>
                          </a:lnTo>
                          <a:lnTo>
                            <a:pt x="6910" y="3648"/>
                          </a:lnTo>
                          <a:lnTo>
                            <a:pt x="6927" y="3642"/>
                          </a:lnTo>
                          <a:lnTo>
                            <a:pt x="6943" y="3637"/>
                          </a:lnTo>
                          <a:lnTo>
                            <a:pt x="6959" y="3630"/>
                          </a:lnTo>
                          <a:lnTo>
                            <a:pt x="6974" y="3624"/>
                          </a:lnTo>
                          <a:lnTo>
                            <a:pt x="6990" y="3616"/>
                          </a:lnTo>
                          <a:lnTo>
                            <a:pt x="7005" y="3609"/>
                          </a:lnTo>
                          <a:lnTo>
                            <a:pt x="7019" y="3600"/>
                          </a:lnTo>
                          <a:lnTo>
                            <a:pt x="7033" y="3591"/>
                          </a:lnTo>
                          <a:lnTo>
                            <a:pt x="7047" y="3582"/>
                          </a:lnTo>
                          <a:lnTo>
                            <a:pt x="7059" y="3571"/>
                          </a:lnTo>
                          <a:lnTo>
                            <a:pt x="7072" y="3559"/>
                          </a:lnTo>
                          <a:lnTo>
                            <a:pt x="7084" y="3547"/>
                          </a:lnTo>
                          <a:lnTo>
                            <a:pt x="7095" y="3534"/>
                          </a:lnTo>
                          <a:lnTo>
                            <a:pt x="7105" y="3519"/>
                          </a:lnTo>
                          <a:lnTo>
                            <a:pt x="7116" y="3504"/>
                          </a:lnTo>
                          <a:lnTo>
                            <a:pt x="8300" y="1543"/>
                          </a:lnTo>
                          <a:lnTo>
                            <a:pt x="9312" y="1068"/>
                          </a:lnTo>
                          <a:lnTo>
                            <a:pt x="9929" y="654"/>
                          </a:lnTo>
                          <a:lnTo>
                            <a:pt x="9962" y="638"/>
                          </a:lnTo>
                          <a:lnTo>
                            <a:pt x="10014" y="620"/>
                          </a:lnTo>
                          <a:lnTo>
                            <a:pt x="10082" y="602"/>
                          </a:lnTo>
                          <a:lnTo>
                            <a:pt x="10166" y="583"/>
                          </a:lnTo>
                          <a:lnTo>
                            <a:pt x="10264" y="564"/>
                          </a:lnTo>
                          <a:lnTo>
                            <a:pt x="10375" y="544"/>
                          </a:lnTo>
                          <a:lnTo>
                            <a:pt x="10498" y="524"/>
                          </a:lnTo>
                          <a:lnTo>
                            <a:pt x="10633" y="503"/>
                          </a:lnTo>
                          <a:lnTo>
                            <a:pt x="10777" y="483"/>
                          </a:lnTo>
                          <a:lnTo>
                            <a:pt x="10930" y="461"/>
                          </a:lnTo>
                          <a:lnTo>
                            <a:pt x="11090" y="440"/>
                          </a:lnTo>
                          <a:lnTo>
                            <a:pt x="11257" y="417"/>
                          </a:lnTo>
                          <a:lnTo>
                            <a:pt x="11603" y="373"/>
                          </a:lnTo>
                          <a:lnTo>
                            <a:pt x="11961" y="328"/>
                          </a:lnTo>
                          <a:lnTo>
                            <a:pt x="12321" y="284"/>
                          </a:lnTo>
                          <a:lnTo>
                            <a:pt x="12673" y="238"/>
                          </a:lnTo>
                          <a:lnTo>
                            <a:pt x="12844" y="217"/>
                          </a:lnTo>
                          <a:lnTo>
                            <a:pt x="13010" y="195"/>
                          </a:lnTo>
                          <a:lnTo>
                            <a:pt x="13168" y="174"/>
                          </a:lnTo>
                          <a:lnTo>
                            <a:pt x="13320" y="152"/>
                          </a:lnTo>
                          <a:lnTo>
                            <a:pt x="13462" y="131"/>
                          </a:lnTo>
                          <a:lnTo>
                            <a:pt x="13595" y="111"/>
                          </a:lnTo>
                          <a:lnTo>
                            <a:pt x="13716" y="91"/>
                          </a:lnTo>
                          <a:lnTo>
                            <a:pt x="13826" y="72"/>
                          </a:lnTo>
                          <a:lnTo>
                            <a:pt x="13921" y="53"/>
                          </a:lnTo>
                          <a:lnTo>
                            <a:pt x="14003" y="35"/>
                          </a:lnTo>
                          <a:lnTo>
                            <a:pt x="14069" y="17"/>
                          </a:lnTo>
                          <a:lnTo>
                            <a:pt x="14118" y="0"/>
                          </a:lnTo>
                          <a:lnTo>
                            <a:pt x="15675" y="3780"/>
                          </a:lnTo>
                          <a:close/>
                        </a:path>
                      </a:pathLst>
                    </a:custGeom>
                    <a:grpFill/>
                    <a:ln w="6350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ru-RU" sz="1400"/>
                    </a:p>
                  </p:txBody>
                </p:sp>
                <p:sp>
                  <p:nvSpPr>
                    <p:cNvPr id="551" name="Freeform 81"/>
                    <p:cNvSpPr>
                      <a:spLocks/>
                    </p:cNvSpPr>
                    <p:nvPr/>
                  </p:nvSpPr>
                  <p:spPr bwMode="gray">
                    <a:xfrm>
                      <a:off x="2984" y="2276"/>
                      <a:ext cx="114" cy="72"/>
                    </a:xfrm>
                    <a:custGeom>
                      <a:avLst/>
                      <a:gdLst>
                        <a:gd name="T0" fmla="*/ 1 w 15675"/>
                        <a:gd name="T1" fmla="*/ 0 h 9942"/>
                        <a:gd name="T2" fmla="*/ 1 w 15675"/>
                        <a:gd name="T3" fmla="*/ 0 h 9942"/>
                        <a:gd name="T4" fmla="*/ 1 w 15675"/>
                        <a:gd name="T5" fmla="*/ 0 h 9942"/>
                        <a:gd name="T6" fmla="*/ 1 w 15675"/>
                        <a:gd name="T7" fmla="*/ 0 h 9942"/>
                        <a:gd name="T8" fmla="*/ 1 w 15675"/>
                        <a:gd name="T9" fmla="*/ 0 h 9942"/>
                        <a:gd name="T10" fmla="*/ 1 w 15675"/>
                        <a:gd name="T11" fmla="*/ 0 h 9942"/>
                        <a:gd name="T12" fmla="*/ 1 w 15675"/>
                        <a:gd name="T13" fmla="*/ 0 h 9942"/>
                        <a:gd name="T14" fmla="*/ 1 w 15675"/>
                        <a:gd name="T15" fmla="*/ 0 h 9942"/>
                        <a:gd name="T16" fmla="*/ 0 w 15675"/>
                        <a:gd name="T17" fmla="*/ 0 h 9942"/>
                        <a:gd name="T18" fmla="*/ 0 w 15675"/>
                        <a:gd name="T19" fmla="*/ 0 h 9942"/>
                        <a:gd name="T20" fmla="*/ 0 w 15675"/>
                        <a:gd name="T21" fmla="*/ 0 h 9942"/>
                        <a:gd name="T22" fmla="*/ 0 w 15675"/>
                        <a:gd name="T23" fmla="*/ 0 h 9942"/>
                        <a:gd name="T24" fmla="*/ 0 w 15675"/>
                        <a:gd name="T25" fmla="*/ 0 h 9942"/>
                        <a:gd name="T26" fmla="*/ 0 w 15675"/>
                        <a:gd name="T27" fmla="*/ 0 h 9942"/>
                        <a:gd name="T28" fmla="*/ 0 w 15675"/>
                        <a:gd name="T29" fmla="*/ 1 h 9942"/>
                        <a:gd name="T30" fmla="*/ 0 w 15675"/>
                        <a:gd name="T31" fmla="*/ 1 h 9942"/>
                        <a:gd name="T32" fmla="*/ 0 w 15675"/>
                        <a:gd name="T33" fmla="*/ 1 h 9942"/>
                        <a:gd name="T34" fmla="*/ 0 w 15675"/>
                        <a:gd name="T35" fmla="*/ 0 h 9942"/>
                        <a:gd name="T36" fmla="*/ 0 w 15675"/>
                        <a:gd name="T37" fmla="*/ 0 h 9942"/>
                        <a:gd name="T38" fmla="*/ 0 w 15675"/>
                        <a:gd name="T39" fmla="*/ 0 h 9942"/>
                        <a:gd name="T40" fmla="*/ 0 w 15675"/>
                        <a:gd name="T41" fmla="*/ 0 h 9942"/>
                        <a:gd name="T42" fmla="*/ 0 w 15675"/>
                        <a:gd name="T43" fmla="*/ 0 h 9942"/>
                        <a:gd name="T44" fmla="*/ 0 w 15675"/>
                        <a:gd name="T45" fmla="*/ 0 h 9942"/>
                        <a:gd name="T46" fmla="*/ 0 w 15675"/>
                        <a:gd name="T47" fmla="*/ 0 h 9942"/>
                        <a:gd name="T48" fmla="*/ 0 w 15675"/>
                        <a:gd name="T49" fmla="*/ 0 h 9942"/>
                        <a:gd name="T50" fmla="*/ 0 w 15675"/>
                        <a:gd name="T51" fmla="*/ 0 h 9942"/>
                        <a:gd name="T52" fmla="*/ 0 w 15675"/>
                        <a:gd name="T53" fmla="*/ 0 h 9942"/>
                        <a:gd name="T54" fmla="*/ 0 w 15675"/>
                        <a:gd name="T55" fmla="*/ 0 h 9942"/>
                        <a:gd name="T56" fmla="*/ 0 w 15675"/>
                        <a:gd name="T57" fmla="*/ 0 h 9942"/>
                        <a:gd name="T58" fmla="*/ 0 w 15675"/>
                        <a:gd name="T59" fmla="*/ 0 h 9942"/>
                        <a:gd name="T60" fmla="*/ 0 w 15675"/>
                        <a:gd name="T61" fmla="*/ 0 h 9942"/>
                        <a:gd name="T62" fmla="*/ 0 w 15675"/>
                        <a:gd name="T63" fmla="*/ 0 h 9942"/>
                        <a:gd name="T64" fmla="*/ 0 w 15675"/>
                        <a:gd name="T65" fmla="*/ 0 h 9942"/>
                        <a:gd name="T66" fmla="*/ 0 w 15675"/>
                        <a:gd name="T67" fmla="*/ 0 h 9942"/>
                        <a:gd name="T68" fmla="*/ 0 w 15675"/>
                        <a:gd name="T69" fmla="*/ 0 h 9942"/>
                        <a:gd name="T70" fmla="*/ 0 w 15675"/>
                        <a:gd name="T71" fmla="*/ 0 h 9942"/>
                        <a:gd name="T72" fmla="*/ 0 w 15675"/>
                        <a:gd name="T73" fmla="*/ 0 h 9942"/>
                        <a:gd name="T74" fmla="*/ 0 w 15675"/>
                        <a:gd name="T75" fmla="*/ 0 h 9942"/>
                        <a:gd name="T76" fmla="*/ 0 w 15675"/>
                        <a:gd name="T77" fmla="*/ 0 h 9942"/>
                        <a:gd name="T78" fmla="*/ 0 w 15675"/>
                        <a:gd name="T79" fmla="*/ 0 h 9942"/>
                        <a:gd name="T80" fmla="*/ 0 w 15675"/>
                        <a:gd name="T81" fmla="*/ 0 h 9942"/>
                        <a:gd name="T82" fmla="*/ 0 w 15675"/>
                        <a:gd name="T83" fmla="*/ 0 h 9942"/>
                        <a:gd name="T84" fmla="*/ 0 w 15675"/>
                        <a:gd name="T85" fmla="*/ 0 h 9942"/>
                        <a:gd name="T86" fmla="*/ 0 w 15675"/>
                        <a:gd name="T87" fmla="*/ 0 h 9942"/>
                        <a:gd name="T88" fmla="*/ 0 w 15675"/>
                        <a:gd name="T89" fmla="*/ 0 h 9942"/>
                        <a:gd name="T90" fmla="*/ 1 w 15675"/>
                        <a:gd name="T91" fmla="*/ 0 h 9942"/>
                        <a:gd name="T92" fmla="*/ 1 w 15675"/>
                        <a:gd name="T93" fmla="*/ 0 h 9942"/>
                        <a:gd name="T94" fmla="*/ 1 w 15675"/>
                        <a:gd name="T95" fmla="*/ 0 h 9942"/>
                        <a:gd name="T96" fmla="*/ 1 w 15675"/>
                        <a:gd name="T97" fmla="*/ 0 h 9942"/>
                        <a:gd name="T98" fmla="*/ 1 w 15675"/>
                        <a:gd name="T99" fmla="*/ 0 h 9942"/>
                        <a:gd name="T100" fmla="*/ 1 w 15675"/>
                        <a:gd name="T101" fmla="*/ 0 h 9942"/>
                        <a:gd name="T102" fmla="*/ 1 w 15675"/>
                        <a:gd name="T103" fmla="*/ 0 h 9942"/>
                        <a:gd name="T104" fmla="*/ 1 w 15675"/>
                        <a:gd name="T105" fmla="*/ 0 h 9942"/>
                        <a:gd name="T106" fmla="*/ 1 w 15675"/>
                        <a:gd name="T107" fmla="*/ 0 h 9942"/>
                        <a:gd name="T108" fmla="*/ 1 w 15675"/>
                        <a:gd name="T109" fmla="*/ 0 h 9942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60000 65536"/>
                        <a:gd name="T157" fmla="*/ 0 60000 65536"/>
                        <a:gd name="T158" fmla="*/ 0 60000 65536"/>
                        <a:gd name="T159" fmla="*/ 0 60000 65536"/>
                        <a:gd name="T160" fmla="*/ 0 60000 65536"/>
                        <a:gd name="T161" fmla="*/ 0 60000 65536"/>
                        <a:gd name="T162" fmla="*/ 0 60000 65536"/>
                        <a:gd name="T163" fmla="*/ 0 60000 65536"/>
                        <a:gd name="T164" fmla="*/ 0 60000 65536"/>
                        <a:gd name="T165" fmla="*/ 0 w 15675"/>
                        <a:gd name="T166" fmla="*/ 0 h 9942"/>
                        <a:gd name="T167" fmla="*/ 15675 w 15675"/>
                        <a:gd name="T168" fmla="*/ 9942 h 9942"/>
                      </a:gdLst>
                      <a:ahLst/>
                      <a:cxnLst>
                        <a:cxn ang="T110">
                          <a:pos x="T0" y="T1"/>
                        </a:cxn>
                        <a:cxn ang="T111">
                          <a:pos x="T2" y="T3"/>
                        </a:cxn>
                        <a:cxn ang="T112">
                          <a:pos x="T4" y="T5"/>
                        </a:cxn>
                        <a:cxn ang="T113">
                          <a:pos x="T6" y="T7"/>
                        </a:cxn>
                        <a:cxn ang="T114">
                          <a:pos x="T8" y="T9"/>
                        </a:cxn>
                        <a:cxn ang="T115">
                          <a:pos x="T10" y="T11"/>
                        </a:cxn>
                        <a:cxn ang="T116">
                          <a:pos x="T12" y="T13"/>
                        </a:cxn>
                        <a:cxn ang="T117">
                          <a:pos x="T14" y="T15"/>
                        </a:cxn>
                        <a:cxn ang="T118">
                          <a:pos x="T16" y="T17"/>
                        </a:cxn>
                        <a:cxn ang="T119">
                          <a:pos x="T18" y="T19"/>
                        </a:cxn>
                        <a:cxn ang="T120">
                          <a:pos x="T20" y="T21"/>
                        </a:cxn>
                        <a:cxn ang="T121">
                          <a:pos x="T22" y="T23"/>
                        </a:cxn>
                        <a:cxn ang="T122">
                          <a:pos x="T24" y="T25"/>
                        </a:cxn>
                        <a:cxn ang="T123">
                          <a:pos x="T26" y="T27"/>
                        </a:cxn>
                        <a:cxn ang="T124">
                          <a:pos x="T28" y="T29"/>
                        </a:cxn>
                        <a:cxn ang="T125">
                          <a:pos x="T30" y="T31"/>
                        </a:cxn>
                        <a:cxn ang="T126">
                          <a:pos x="T32" y="T33"/>
                        </a:cxn>
                        <a:cxn ang="T127">
                          <a:pos x="T34" y="T35"/>
                        </a:cxn>
                        <a:cxn ang="T128">
                          <a:pos x="T36" y="T37"/>
                        </a:cxn>
                        <a:cxn ang="T129">
                          <a:pos x="T38" y="T39"/>
                        </a:cxn>
                        <a:cxn ang="T130">
                          <a:pos x="T40" y="T41"/>
                        </a:cxn>
                        <a:cxn ang="T131">
                          <a:pos x="T42" y="T43"/>
                        </a:cxn>
                        <a:cxn ang="T132">
                          <a:pos x="T44" y="T45"/>
                        </a:cxn>
                        <a:cxn ang="T133">
                          <a:pos x="T46" y="T47"/>
                        </a:cxn>
                        <a:cxn ang="T134">
                          <a:pos x="T48" y="T49"/>
                        </a:cxn>
                        <a:cxn ang="T135">
                          <a:pos x="T50" y="T51"/>
                        </a:cxn>
                        <a:cxn ang="T136">
                          <a:pos x="T52" y="T53"/>
                        </a:cxn>
                        <a:cxn ang="T137">
                          <a:pos x="T54" y="T55"/>
                        </a:cxn>
                        <a:cxn ang="T138">
                          <a:pos x="T56" y="T57"/>
                        </a:cxn>
                        <a:cxn ang="T139">
                          <a:pos x="T58" y="T59"/>
                        </a:cxn>
                        <a:cxn ang="T140">
                          <a:pos x="T60" y="T61"/>
                        </a:cxn>
                        <a:cxn ang="T141">
                          <a:pos x="T62" y="T63"/>
                        </a:cxn>
                        <a:cxn ang="T142">
                          <a:pos x="T64" y="T65"/>
                        </a:cxn>
                        <a:cxn ang="T143">
                          <a:pos x="T66" y="T67"/>
                        </a:cxn>
                        <a:cxn ang="T144">
                          <a:pos x="T68" y="T69"/>
                        </a:cxn>
                        <a:cxn ang="T145">
                          <a:pos x="T70" y="T71"/>
                        </a:cxn>
                        <a:cxn ang="T146">
                          <a:pos x="T72" y="T73"/>
                        </a:cxn>
                        <a:cxn ang="T147">
                          <a:pos x="T74" y="T75"/>
                        </a:cxn>
                        <a:cxn ang="T148">
                          <a:pos x="T76" y="T77"/>
                        </a:cxn>
                        <a:cxn ang="T149">
                          <a:pos x="T78" y="T79"/>
                        </a:cxn>
                        <a:cxn ang="T150">
                          <a:pos x="T80" y="T81"/>
                        </a:cxn>
                        <a:cxn ang="T151">
                          <a:pos x="T82" y="T83"/>
                        </a:cxn>
                        <a:cxn ang="T152">
                          <a:pos x="T84" y="T85"/>
                        </a:cxn>
                        <a:cxn ang="T153">
                          <a:pos x="T86" y="T87"/>
                        </a:cxn>
                        <a:cxn ang="T154">
                          <a:pos x="T88" y="T89"/>
                        </a:cxn>
                        <a:cxn ang="T155">
                          <a:pos x="T90" y="T91"/>
                        </a:cxn>
                        <a:cxn ang="T156">
                          <a:pos x="T92" y="T93"/>
                        </a:cxn>
                        <a:cxn ang="T157">
                          <a:pos x="T94" y="T95"/>
                        </a:cxn>
                        <a:cxn ang="T158">
                          <a:pos x="T96" y="T97"/>
                        </a:cxn>
                        <a:cxn ang="T159">
                          <a:pos x="T98" y="T99"/>
                        </a:cxn>
                        <a:cxn ang="T160">
                          <a:pos x="T100" y="T101"/>
                        </a:cxn>
                        <a:cxn ang="T161">
                          <a:pos x="T102" y="T103"/>
                        </a:cxn>
                        <a:cxn ang="T162">
                          <a:pos x="T104" y="T105"/>
                        </a:cxn>
                        <a:cxn ang="T163">
                          <a:pos x="T106" y="T107"/>
                        </a:cxn>
                        <a:cxn ang="T164">
                          <a:pos x="T108" y="T109"/>
                        </a:cxn>
                      </a:cxnLst>
                      <a:rect l="T165" t="T166" r="T167" b="T168"/>
                      <a:pathLst>
                        <a:path w="15675" h="9942">
                          <a:moveTo>
                            <a:pt x="15675" y="3780"/>
                          </a:moveTo>
                          <a:lnTo>
                            <a:pt x="15169" y="3985"/>
                          </a:lnTo>
                          <a:lnTo>
                            <a:pt x="14868" y="4199"/>
                          </a:lnTo>
                          <a:lnTo>
                            <a:pt x="14648" y="4443"/>
                          </a:lnTo>
                          <a:lnTo>
                            <a:pt x="14447" y="4864"/>
                          </a:lnTo>
                          <a:lnTo>
                            <a:pt x="14514" y="5031"/>
                          </a:lnTo>
                          <a:lnTo>
                            <a:pt x="14543" y="5260"/>
                          </a:lnTo>
                          <a:lnTo>
                            <a:pt x="14538" y="5308"/>
                          </a:lnTo>
                          <a:lnTo>
                            <a:pt x="14466" y="5374"/>
                          </a:lnTo>
                          <a:lnTo>
                            <a:pt x="14385" y="5418"/>
                          </a:lnTo>
                          <a:lnTo>
                            <a:pt x="14190" y="5385"/>
                          </a:lnTo>
                          <a:lnTo>
                            <a:pt x="14027" y="5466"/>
                          </a:lnTo>
                          <a:lnTo>
                            <a:pt x="13627" y="5576"/>
                          </a:lnTo>
                          <a:lnTo>
                            <a:pt x="13364" y="5843"/>
                          </a:lnTo>
                          <a:lnTo>
                            <a:pt x="13073" y="5967"/>
                          </a:lnTo>
                          <a:lnTo>
                            <a:pt x="12652" y="6020"/>
                          </a:lnTo>
                          <a:lnTo>
                            <a:pt x="12404" y="6082"/>
                          </a:lnTo>
                          <a:lnTo>
                            <a:pt x="12036" y="6264"/>
                          </a:lnTo>
                          <a:lnTo>
                            <a:pt x="11764" y="6336"/>
                          </a:lnTo>
                          <a:lnTo>
                            <a:pt x="11211" y="6574"/>
                          </a:lnTo>
                          <a:lnTo>
                            <a:pt x="10929" y="6593"/>
                          </a:lnTo>
                          <a:lnTo>
                            <a:pt x="10470" y="6679"/>
                          </a:lnTo>
                          <a:lnTo>
                            <a:pt x="9988" y="6908"/>
                          </a:lnTo>
                          <a:lnTo>
                            <a:pt x="9740" y="7051"/>
                          </a:lnTo>
                          <a:lnTo>
                            <a:pt x="9645" y="7262"/>
                          </a:lnTo>
                          <a:lnTo>
                            <a:pt x="9521" y="7448"/>
                          </a:lnTo>
                          <a:lnTo>
                            <a:pt x="9205" y="7739"/>
                          </a:lnTo>
                          <a:lnTo>
                            <a:pt x="9072" y="7825"/>
                          </a:lnTo>
                          <a:lnTo>
                            <a:pt x="9020" y="7897"/>
                          </a:lnTo>
                          <a:lnTo>
                            <a:pt x="8905" y="7936"/>
                          </a:lnTo>
                          <a:lnTo>
                            <a:pt x="8198" y="7906"/>
                          </a:lnTo>
                          <a:lnTo>
                            <a:pt x="7845" y="7951"/>
                          </a:lnTo>
                          <a:lnTo>
                            <a:pt x="7539" y="8146"/>
                          </a:lnTo>
                          <a:lnTo>
                            <a:pt x="7391" y="8347"/>
                          </a:lnTo>
                          <a:lnTo>
                            <a:pt x="6962" y="8585"/>
                          </a:lnTo>
                          <a:lnTo>
                            <a:pt x="6784" y="8623"/>
                          </a:lnTo>
                          <a:lnTo>
                            <a:pt x="6259" y="8776"/>
                          </a:lnTo>
                          <a:lnTo>
                            <a:pt x="5978" y="8801"/>
                          </a:lnTo>
                          <a:lnTo>
                            <a:pt x="5672" y="8733"/>
                          </a:lnTo>
                          <a:lnTo>
                            <a:pt x="5353" y="8786"/>
                          </a:lnTo>
                          <a:lnTo>
                            <a:pt x="5109" y="8762"/>
                          </a:lnTo>
                          <a:lnTo>
                            <a:pt x="4779" y="8801"/>
                          </a:lnTo>
                          <a:lnTo>
                            <a:pt x="4497" y="8977"/>
                          </a:lnTo>
                          <a:lnTo>
                            <a:pt x="4292" y="9321"/>
                          </a:lnTo>
                          <a:lnTo>
                            <a:pt x="3686" y="9598"/>
                          </a:lnTo>
                          <a:lnTo>
                            <a:pt x="3405" y="9771"/>
                          </a:lnTo>
                          <a:lnTo>
                            <a:pt x="2769" y="9785"/>
                          </a:lnTo>
                          <a:lnTo>
                            <a:pt x="2368" y="9909"/>
                          </a:lnTo>
                          <a:lnTo>
                            <a:pt x="2149" y="9890"/>
                          </a:lnTo>
                          <a:lnTo>
                            <a:pt x="1934" y="9942"/>
                          </a:lnTo>
                          <a:lnTo>
                            <a:pt x="1652" y="9818"/>
                          </a:lnTo>
                          <a:lnTo>
                            <a:pt x="1309" y="9832"/>
                          </a:lnTo>
                          <a:lnTo>
                            <a:pt x="1180" y="9435"/>
                          </a:lnTo>
                          <a:lnTo>
                            <a:pt x="898" y="9087"/>
                          </a:lnTo>
                          <a:lnTo>
                            <a:pt x="898" y="8356"/>
                          </a:lnTo>
                          <a:lnTo>
                            <a:pt x="865" y="8108"/>
                          </a:lnTo>
                          <a:lnTo>
                            <a:pt x="716" y="7955"/>
                          </a:lnTo>
                          <a:lnTo>
                            <a:pt x="635" y="7758"/>
                          </a:lnTo>
                          <a:lnTo>
                            <a:pt x="535" y="7310"/>
                          </a:lnTo>
                          <a:lnTo>
                            <a:pt x="482" y="6794"/>
                          </a:lnTo>
                          <a:lnTo>
                            <a:pt x="401" y="6584"/>
                          </a:lnTo>
                          <a:lnTo>
                            <a:pt x="320" y="6450"/>
                          </a:lnTo>
                          <a:lnTo>
                            <a:pt x="320" y="6215"/>
                          </a:lnTo>
                          <a:lnTo>
                            <a:pt x="86" y="5886"/>
                          </a:lnTo>
                          <a:lnTo>
                            <a:pt x="0" y="5814"/>
                          </a:lnTo>
                          <a:lnTo>
                            <a:pt x="67" y="5752"/>
                          </a:lnTo>
                          <a:lnTo>
                            <a:pt x="134" y="5767"/>
                          </a:lnTo>
                          <a:lnTo>
                            <a:pt x="134" y="5666"/>
                          </a:lnTo>
                          <a:lnTo>
                            <a:pt x="86" y="5552"/>
                          </a:lnTo>
                          <a:lnTo>
                            <a:pt x="86" y="5303"/>
                          </a:lnTo>
                          <a:lnTo>
                            <a:pt x="34" y="5155"/>
                          </a:lnTo>
                          <a:lnTo>
                            <a:pt x="201" y="5007"/>
                          </a:lnTo>
                          <a:lnTo>
                            <a:pt x="234" y="4888"/>
                          </a:lnTo>
                          <a:lnTo>
                            <a:pt x="201" y="4438"/>
                          </a:lnTo>
                          <a:lnTo>
                            <a:pt x="153" y="4142"/>
                          </a:lnTo>
                          <a:lnTo>
                            <a:pt x="101" y="4075"/>
                          </a:lnTo>
                          <a:lnTo>
                            <a:pt x="710" y="3760"/>
                          </a:lnTo>
                          <a:lnTo>
                            <a:pt x="850" y="3308"/>
                          </a:lnTo>
                          <a:lnTo>
                            <a:pt x="853" y="3295"/>
                          </a:lnTo>
                          <a:lnTo>
                            <a:pt x="854" y="3283"/>
                          </a:lnTo>
                          <a:lnTo>
                            <a:pt x="854" y="3271"/>
                          </a:lnTo>
                          <a:lnTo>
                            <a:pt x="853" y="3258"/>
                          </a:lnTo>
                          <a:lnTo>
                            <a:pt x="850" y="3246"/>
                          </a:lnTo>
                          <a:lnTo>
                            <a:pt x="847" y="3234"/>
                          </a:lnTo>
                          <a:lnTo>
                            <a:pt x="843" y="3222"/>
                          </a:lnTo>
                          <a:lnTo>
                            <a:pt x="838" y="3209"/>
                          </a:lnTo>
                          <a:lnTo>
                            <a:pt x="825" y="3184"/>
                          </a:lnTo>
                          <a:lnTo>
                            <a:pt x="809" y="3159"/>
                          </a:lnTo>
                          <a:lnTo>
                            <a:pt x="793" y="3135"/>
                          </a:lnTo>
                          <a:lnTo>
                            <a:pt x="777" y="3110"/>
                          </a:lnTo>
                          <a:lnTo>
                            <a:pt x="761" y="3086"/>
                          </a:lnTo>
                          <a:lnTo>
                            <a:pt x="747" y="3061"/>
                          </a:lnTo>
                          <a:lnTo>
                            <a:pt x="741" y="3050"/>
                          </a:lnTo>
                          <a:lnTo>
                            <a:pt x="736" y="3038"/>
                          </a:lnTo>
                          <a:lnTo>
                            <a:pt x="731" y="3026"/>
                          </a:lnTo>
                          <a:lnTo>
                            <a:pt x="727" y="3014"/>
                          </a:lnTo>
                          <a:lnTo>
                            <a:pt x="724" y="3002"/>
                          </a:lnTo>
                          <a:lnTo>
                            <a:pt x="722" y="2991"/>
                          </a:lnTo>
                          <a:lnTo>
                            <a:pt x="722" y="2979"/>
                          </a:lnTo>
                          <a:lnTo>
                            <a:pt x="723" y="2967"/>
                          </a:lnTo>
                          <a:lnTo>
                            <a:pt x="725" y="2956"/>
                          </a:lnTo>
                          <a:lnTo>
                            <a:pt x="730" y="2945"/>
                          </a:lnTo>
                          <a:lnTo>
                            <a:pt x="735" y="2934"/>
                          </a:lnTo>
                          <a:lnTo>
                            <a:pt x="743" y="2922"/>
                          </a:lnTo>
                          <a:lnTo>
                            <a:pt x="1266" y="2241"/>
                          </a:lnTo>
                          <a:lnTo>
                            <a:pt x="1614" y="2657"/>
                          </a:lnTo>
                          <a:lnTo>
                            <a:pt x="2120" y="2602"/>
                          </a:lnTo>
                          <a:lnTo>
                            <a:pt x="3858" y="2689"/>
                          </a:lnTo>
                          <a:lnTo>
                            <a:pt x="4187" y="2967"/>
                          </a:lnTo>
                          <a:lnTo>
                            <a:pt x="6020" y="3083"/>
                          </a:lnTo>
                          <a:lnTo>
                            <a:pt x="6615" y="3737"/>
                          </a:lnTo>
                          <a:lnTo>
                            <a:pt x="6648" y="3723"/>
                          </a:lnTo>
                          <a:lnTo>
                            <a:pt x="6683" y="3710"/>
                          </a:lnTo>
                          <a:lnTo>
                            <a:pt x="6718" y="3700"/>
                          </a:lnTo>
                          <a:lnTo>
                            <a:pt x="6754" y="3690"/>
                          </a:lnTo>
                          <a:lnTo>
                            <a:pt x="6825" y="3671"/>
                          </a:lnTo>
                          <a:lnTo>
                            <a:pt x="6894" y="3652"/>
                          </a:lnTo>
                          <a:lnTo>
                            <a:pt x="6910" y="3648"/>
                          </a:lnTo>
                          <a:lnTo>
                            <a:pt x="6927" y="3642"/>
                          </a:lnTo>
                          <a:lnTo>
                            <a:pt x="6943" y="3637"/>
                          </a:lnTo>
                          <a:lnTo>
                            <a:pt x="6959" y="3630"/>
                          </a:lnTo>
                          <a:lnTo>
                            <a:pt x="6974" y="3624"/>
                          </a:lnTo>
                          <a:lnTo>
                            <a:pt x="6990" y="3616"/>
                          </a:lnTo>
                          <a:lnTo>
                            <a:pt x="7005" y="3609"/>
                          </a:lnTo>
                          <a:lnTo>
                            <a:pt x="7019" y="3600"/>
                          </a:lnTo>
                          <a:lnTo>
                            <a:pt x="7033" y="3591"/>
                          </a:lnTo>
                          <a:lnTo>
                            <a:pt x="7047" y="3582"/>
                          </a:lnTo>
                          <a:lnTo>
                            <a:pt x="7059" y="3571"/>
                          </a:lnTo>
                          <a:lnTo>
                            <a:pt x="7072" y="3559"/>
                          </a:lnTo>
                          <a:lnTo>
                            <a:pt x="7084" y="3547"/>
                          </a:lnTo>
                          <a:lnTo>
                            <a:pt x="7095" y="3534"/>
                          </a:lnTo>
                          <a:lnTo>
                            <a:pt x="7105" y="3519"/>
                          </a:lnTo>
                          <a:lnTo>
                            <a:pt x="7116" y="3504"/>
                          </a:lnTo>
                          <a:lnTo>
                            <a:pt x="8300" y="1543"/>
                          </a:lnTo>
                          <a:lnTo>
                            <a:pt x="9312" y="1068"/>
                          </a:lnTo>
                          <a:lnTo>
                            <a:pt x="9929" y="654"/>
                          </a:lnTo>
                          <a:lnTo>
                            <a:pt x="9962" y="638"/>
                          </a:lnTo>
                          <a:lnTo>
                            <a:pt x="10014" y="620"/>
                          </a:lnTo>
                          <a:lnTo>
                            <a:pt x="10082" y="602"/>
                          </a:lnTo>
                          <a:lnTo>
                            <a:pt x="10166" y="583"/>
                          </a:lnTo>
                          <a:lnTo>
                            <a:pt x="10264" y="564"/>
                          </a:lnTo>
                          <a:lnTo>
                            <a:pt x="10375" y="544"/>
                          </a:lnTo>
                          <a:lnTo>
                            <a:pt x="10498" y="524"/>
                          </a:lnTo>
                          <a:lnTo>
                            <a:pt x="10633" y="503"/>
                          </a:lnTo>
                          <a:lnTo>
                            <a:pt x="10777" y="483"/>
                          </a:lnTo>
                          <a:lnTo>
                            <a:pt x="10930" y="461"/>
                          </a:lnTo>
                          <a:lnTo>
                            <a:pt x="11090" y="440"/>
                          </a:lnTo>
                          <a:lnTo>
                            <a:pt x="11257" y="417"/>
                          </a:lnTo>
                          <a:lnTo>
                            <a:pt x="11603" y="373"/>
                          </a:lnTo>
                          <a:lnTo>
                            <a:pt x="11961" y="328"/>
                          </a:lnTo>
                          <a:lnTo>
                            <a:pt x="12321" y="284"/>
                          </a:lnTo>
                          <a:lnTo>
                            <a:pt x="12673" y="238"/>
                          </a:lnTo>
                          <a:lnTo>
                            <a:pt x="12844" y="217"/>
                          </a:lnTo>
                          <a:lnTo>
                            <a:pt x="13010" y="195"/>
                          </a:lnTo>
                          <a:lnTo>
                            <a:pt x="13168" y="174"/>
                          </a:lnTo>
                          <a:lnTo>
                            <a:pt x="13320" y="152"/>
                          </a:lnTo>
                          <a:lnTo>
                            <a:pt x="13462" y="131"/>
                          </a:lnTo>
                          <a:lnTo>
                            <a:pt x="13595" y="111"/>
                          </a:lnTo>
                          <a:lnTo>
                            <a:pt x="13716" y="91"/>
                          </a:lnTo>
                          <a:lnTo>
                            <a:pt x="13826" y="72"/>
                          </a:lnTo>
                          <a:lnTo>
                            <a:pt x="13921" y="53"/>
                          </a:lnTo>
                          <a:lnTo>
                            <a:pt x="14003" y="35"/>
                          </a:lnTo>
                          <a:lnTo>
                            <a:pt x="14069" y="17"/>
                          </a:lnTo>
                          <a:lnTo>
                            <a:pt x="14118" y="0"/>
                          </a:lnTo>
                          <a:lnTo>
                            <a:pt x="15675" y="3780"/>
                          </a:lnTo>
                        </a:path>
                      </a:pathLst>
                    </a:custGeom>
                    <a:grpFill/>
                    <a:ln w="6350">
                      <a:solidFill>
                        <a:schemeClr val="bg1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ru-RU" sz="1400"/>
                    </a:p>
                  </p:txBody>
                </p:sp>
              </p:grpSp>
              <p:sp>
                <p:nvSpPr>
                  <p:cNvPr id="533" name="Freeform 82"/>
                  <p:cNvSpPr>
                    <a:spLocks/>
                  </p:cNvSpPr>
                  <p:nvPr/>
                </p:nvSpPr>
                <p:spPr bwMode="gray">
                  <a:xfrm>
                    <a:off x="3104" y="2214"/>
                    <a:ext cx="3" cy="2"/>
                  </a:xfrm>
                  <a:custGeom>
                    <a:avLst/>
                    <a:gdLst>
                      <a:gd name="T0" fmla="*/ 0 w 16"/>
                      <a:gd name="T1" fmla="*/ 0 h 9"/>
                      <a:gd name="T2" fmla="*/ 0 w 16"/>
                      <a:gd name="T3" fmla="*/ 0 h 9"/>
                      <a:gd name="T4" fmla="*/ 0 w 16"/>
                      <a:gd name="T5" fmla="*/ 0 h 9"/>
                      <a:gd name="T6" fmla="*/ 0 w 16"/>
                      <a:gd name="T7" fmla="*/ 0 h 9"/>
                      <a:gd name="T8" fmla="*/ 1 w 16"/>
                      <a:gd name="T9" fmla="*/ 0 h 9"/>
                      <a:gd name="T10" fmla="*/ 1 w 16"/>
                      <a:gd name="T11" fmla="*/ 0 h 9"/>
                      <a:gd name="T12" fmla="*/ 0 w 16"/>
                      <a:gd name="T13" fmla="*/ 0 h 9"/>
                      <a:gd name="T14" fmla="*/ 0 w 16"/>
                      <a:gd name="T15" fmla="*/ 0 h 9"/>
                      <a:gd name="T16" fmla="*/ 0 w 16"/>
                      <a:gd name="T17" fmla="*/ 0 h 9"/>
                      <a:gd name="T18" fmla="*/ 0 w 16"/>
                      <a:gd name="T19" fmla="*/ 0 h 9"/>
                      <a:gd name="T20" fmla="*/ 0 w 16"/>
                      <a:gd name="T21" fmla="*/ 0 h 9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16"/>
                      <a:gd name="T34" fmla="*/ 0 h 9"/>
                      <a:gd name="T35" fmla="*/ 16 w 16"/>
                      <a:gd name="T36" fmla="*/ 9 h 9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16" h="9">
                        <a:moveTo>
                          <a:pt x="0" y="8"/>
                        </a:moveTo>
                        <a:lnTo>
                          <a:pt x="7" y="9"/>
                        </a:lnTo>
                        <a:lnTo>
                          <a:pt x="10" y="6"/>
                        </a:lnTo>
                        <a:lnTo>
                          <a:pt x="12" y="9"/>
                        </a:lnTo>
                        <a:lnTo>
                          <a:pt x="16" y="5"/>
                        </a:lnTo>
                        <a:lnTo>
                          <a:pt x="14" y="4"/>
                        </a:lnTo>
                        <a:lnTo>
                          <a:pt x="11" y="4"/>
                        </a:lnTo>
                        <a:lnTo>
                          <a:pt x="10" y="1"/>
                        </a:lnTo>
                        <a:lnTo>
                          <a:pt x="7" y="0"/>
                        </a:lnTo>
                        <a:lnTo>
                          <a:pt x="3" y="1"/>
                        </a:lnTo>
                        <a:lnTo>
                          <a:pt x="0" y="8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grpSp>
                <p:nvGrpSpPr>
                  <p:cNvPr id="534" name="Group 83"/>
                  <p:cNvGrpSpPr>
                    <a:grpSpLocks/>
                  </p:cNvGrpSpPr>
                  <p:nvPr/>
                </p:nvGrpSpPr>
                <p:grpSpPr bwMode="auto">
                  <a:xfrm>
                    <a:off x="3086" y="2189"/>
                    <a:ext cx="85" cy="114"/>
                    <a:chOff x="3086" y="2189"/>
                    <a:chExt cx="85" cy="114"/>
                  </a:xfrm>
                  <a:grpFill/>
                </p:grpSpPr>
                <p:sp>
                  <p:nvSpPr>
                    <p:cNvPr id="548" name="Freeform 84"/>
                    <p:cNvSpPr>
                      <a:spLocks/>
                    </p:cNvSpPr>
                    <p:nvPr/>
                  </p:nvSpPr>
                  <p:spPr bwMode="gray">
                    <a:xfrm>
                      <a:off x="3130" y="2189"/>
                      <a:ext cx="4" cy="8"/>
                    </a:xfrm>
                    <a:custGeom>
                      <a:avLst/>
                      <a:gdLst>
                        <a:gd name="T0" fmla="*/ 0 w 19"/>
                        <a:gd name="T1" fmla="*/ 1 h 40"/>
                        <a:gd name="T2" fmla="*/ 0 w 19"/>
                        <a:gd name="T3" fmla="*/ 1 h 40"/>
                        <a:gd name="T4" fmla="*/ 0 w 19"/>
                        <a:gd name="T5" fmla="*/ 1 h 40"/>
                        <a:gd name="T6" fmla="*/ 0 w 19"/>
                        <a:gd name="T7" fmla="*/ 1 h 40"/>
                        <a:gd name="T8" fmla="*/ 0 w 19"/>
                        <a:gd name="T9" fmla="*/ 1 h 40"/>
                        <a:gd name="T10" fmla="*/ 0 w 19"/>
                        <a:gd name="T11" fmla="*/ 1 h 40"/>
                        <a:gd name="T12" fmla="*/ 0 w 19"/>
                        <a:gd name="T13" fmla="*/ 1 h 40"/>
                        <a:gd name="T14" fmla="*/ 0 w 19"/>
                        <a:gd name="T15" fmla="*/ 2 h 40"/>
                        <a:gd name="T16" fmla="*/ 1 w 19"/>
                        <a:gd name="T17" fmla="*/ 1 h 40"/>
                        <a:gd name="T18" fmla="*/ 1 w 19"/>
                        <a:gd name="T19" fmla="*/ 1 h 40"/>
                        <a:gd name="T20" fmla="*/ 1 w 19"/>
                        <a:gd name="T21" fmla="*/ 1 h 40"/>
                        <a:gd name="T22" fmla="*/ 1 w 19"/>
                        <a:gd name="T23" fmla="*/ 1 h 40"/>
                        <a:gd name="T24" fmla="*/ 1 w 19"/>
                        <a:gd name="T25" fmla="*/ 0 h 40"/>
                        <a:gd name="T26" fmla="*/ 1 w 19"/>
                        <a:gd name="T27" fmla="*/ 0 h 40"/>
                        <a:gd name="T28" fmla="*/ 1 w 19"/>
                        <a:gd name="T29" fmla="*/ 0 h 40"/>
                        <a:gd name="T30" fmla="*/ 1 w 19"/>
                        <a:gd name="T31" fmla="*/ 0 h 40"/>
                        <a:gd name="T32" fmla="*/ 0 w 19"/>
                        <a:gd name="T33" fmla="*/ 0 h 40"/>
                        <a:gd name="T34" fmla="*/ 0 w 19"/>
                        <a:gd name="T35" fmla="*/ 0 h 40"/>
                        <a:gd name="T36" fmla="*/ 0 w 19"/>
                        <a:gd name="T37" fmla="*/ 1 h 40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w 19"/>
                        <a:gd name="T58" fmla="*/ 0 h 40"/>
                        <a:gd name="T59" fmla="*/ 19 w 19"/>
                        <a:gd name="T60" fmla="*/ 40 h 40"/>
                      </a:gdLst>
                      <a:ahLst/>
                      <a:cxnLst>
                        <a:cxn ang="T38">
                          <a:pos x="T0" y="T1"/>
                        </a:cxn>
                        <a:cxn ang="T39">
                          <a:pos x="T2" y="T3"/>
                        </a:cxn>
                        <a:cxn ang="T40">
                          <a:pos x="T4" y="T5"/>
                        </a:cxn>
                        <a:cxn ang="T41">
                          <a:pos x="T6" y="T7"/>
                        </a:cxn>
                        <a:cxn ang="T42">
                          <a:pos x="T8" y="T9"/>
                        </a:cxn>
                        <a:cxn ang="T43">
                          <a:pos x="T10" y="T11"/>
                        </a:cxn>
                        <a:cxn ang="T44">
                          <a:pos x="T12" y="T13"/>
                        </a:cxn>
                        <a:cxn ang="T45">
                          <a:pos x="T14" y="T15"/>
                        </a:cxn>
                        <a:cxn ang="T46">
                          <a:pos x="T16" y="T17"/>
                        </a:cxn>
                        <a:cxn ang="T47">
                          <a:pos x="T18" y="T19"/>
                        </a:cxn>
                        <a:cxn ang="T48">
                          <a:pos x="T20" y="T21"/>
                        </a:cxn>
                        <a:cxn ang="T49">
                          <a:pos x="T22" y="T23"/>
                        </a:cxn>
                        <a:cxn ang="T50">
                          <a:pos x="T24" y="T25"/>
                        </a:cxn>
                        <a:cxn ang="T51">
                          <a:pos x="T26" y="T27"/>
                        </a:cxn>
                        <a:cxn ang="T52">
                          <a:pos x="T28" y="T29"/>
                        </a:cxn>
                        <a:cxn ang="T53">
                          <a:pos x="T30" y="T31"/>
                        </a:cxn>
                        <a:cxn ang="T54">
                          <a:pos x="T32" y="T33"/>
                        </a:cxn>
                        <a:cxn ang="T55">
                          <a:pos x="T34" y="T35"/>
                        </a:cxn>
                        <a:cxn ang="T56">
                          <a:pos x="T36" y="T37"/>
                        </a:cxn>
                      </a:cxnLst>
                      <a:rect l="T57" t="T58" r="T59" b="T60"/>
                      <a:pathLst>
                        <a:path w="19" h="40">
                          <a:moveTo>
                            <a:pt x="0" y="15"/>
                          </a:moveTo>
                          <a:lnTo>
                            <a:pt x="1" y="19"/>
                          </a:lnTo>
                          <a:lnTo>
                            <a:pt x="3" y="25"/>
                          </a:lnTo>
                          <a:lnTo>
                            <a:pt x="2" y="27"/>
                          </a:lnTo>
                          <a:lnTo>
                            <a:pt x="3" y="31"/>
                          </a:lnTo>
                          <a:lnTo>
                            <a:pt x="1" y="36"/>
                          </a:lnTo>
                          <a:lnTo>
                            <a:pt x="3" y="37"/>
                          </a:lnTo>
                          <a:lnTo>
                            <a:pt x="11" y="40"/>
                          </a:lnTo>
                          <a:lnTo>
                            <a:pt x="12" y="36"/>
                          </a:lnTo>
                          <a:lnTo>
                            <a:pt x="17" y="27"/>
                          </a:lnTo>
                          <a:lnTo>
                            <a:pt x="17" y="18"/>
                          </a:lnTo>
                          <a:lnTo>
                            <a:pt x="15" y="15"/>
                          </a:lnTo>
                          <a:lnTo>
                            <a:pt x="15" y="11"/>
                          </a:lnTo>
                          <a:lnTo>
                            <a:pt x="18" y="9"/>
                          </a:lnTo>
                          <a:lnTo>
                            <a:pt x="19" y="4"/>
                          </a:lnTo>
                          <a:lnTo>
                            <a:pt x="15" y="0"/>
                          </a:lnTo>
                          <a:lnTo>
                            <a:pt x="9" y="4"/>
                          </a:lnTo>
                          <a:lnTo>
                            <a:pt x="7" y="4"/>
                          </a:lnTo>
                          <a:lnTo>
                            <a:pt x="0" y="15"/>
                          </a:lnTo>
                          <a:close/>
                        </a:path>
                      </a:pathLst>
                    </a:custGeom>
                    <a:grpFill/>
                    <a:ln w="6350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txBody>
                    <a:bodyPr/>
                    <a:lstStyle/>
                    <a:p>
                      <a:endParaRPr lang="ru-RU" sz="1400"/>
                    </a:p>
                  </p:txBody>
                </p:sp>
                <p:sp>
                  <p:nvSpPr>
                    <p:cNvPr id="549" name="Freeform 85"/>
                    <p:cNvSpPr>
                      <a:spLocks/>
                    </p:cNvSpPr>
                    <p:nvPr/>
                  </p:nvSpPr>
                  <p:spPr bwMode="gray">
                    <a:xfrm>
                      <a:off x="3086" y="2207"/>
                      <a:ext cx="85" cy="96"/>
                    </a:xfrm>
                    <a:custGeom>
                      <a:avLst/>
                      <a:gdLst>
                        <a:gd name="T0" fmla="*/ 8 w 427"/>
                        <a:gd name="T1" fmla="*/ 0 h 482"/>
                        <a:gd name="T2" fmla="*/ 7 w 427"/>
                        <a:gd name="T3" fmla="*/ 2 h 482"/>
                        <a:gd name="T4" fmla="*/ 8 w 427"/>
                        <a:gd name="T5" fmla="*/ 7 h 482"/>
                        <a:gd name="T6" fmla="*/ 0 w 427"/>
                        <a:gd name="T7" fmla="*/ 14 h 482"/>
                        <a:gd name="T8" fmla="*/ 3 w 427"/>
                        <a:gd name="T9" fmla="*/ 19 h 482"/>
                        <a:gd name="T10" fmla="*/ 4 w 427"/>
                        <a:gd name="T11" fmla="*/ 19 h 482"/>
                        <a:gd name="T12" fmla="*/ 5 w 427"/>
                        <a:gd name="T13" fmla="*/ 18 h 482"/>
                        <a:gd name="T14" fmla="*/ 6 w 427"/>
                        <a:gd name="T15" fmla="*/ 18 h 482"/>
                        <a:gd name="T16" fmla="*/ 7 w 427"/>
                        <a:gd name="T17" fmla="*/ 18 h 482"/>
                        <a:gd name="T18" fmla="*/ 7 w 427"/>
                        <a:gd name="T19" fmla="*/ 18 h 482"/>
                        <a:gd name="T20" fmla="*/ 7 w 427"/>
                        <a:gd name="T21" fmla="*/ 17 h 482"/>
                        <a:gd name="T22" fmla="*/ 7 w 427"/>
                        <a:gd name="T23" fmla="*/ 17 h 482"/>
                        <a:gd name="T24" fmla="*/ 9 w 427"/>
                        <a:gd name="T25" fmla="*/ 16 h 482"/>
                        <a:gd name="T26" fmla="*/ 10 w 427"/>
                        <a:gd name="T27" fmla="*/ 16 h 482"/>
                        <a:gd name="T28" fmla="*/ 10 w 427"/>
                        <a:gd name="T29" fmla="*/ 15 h 482"/>
                        <a:gd name="T30" fmla="*/ 10 w 427"/>
                        <a:gd name="T31" fmla="*/ 14 h 482"/>
                        <a:gd name="T32" fmla="*/ 11 w 427"/>
                        <a:gd name="T33" fmla="*/ 14 h 482"/>
                        <a:gd name="T34" fmla="*/ 12 w 427"/>
                        <a:gd name="T35" fmla="*/ 14 h 482"/>
                        <a:gd name="T36" fmla="*/ 12 w 427"/>
                        <a:gd name="T37" fmla="*/ 14 h 482"/>
                        <a:gd name="T38" fmla="*/ 13 w 427"/>
                        <a:gd name="T39" fmla="*/ 13 h 482"/>
                        <a:gd name="T40" fmla="*/ 13 w 427"/>
                        <a:gd name="T41" fmla="*/ 13 h 482"/>
                        <a:gd name="T42" fmla="*/ 12 w 427"/>
                        <a:gd name="T43" fmla="*/ 12 h 482"/>
                        <a:gd name="T44" fmla="*/ 13 w 427"/>
                        <a:gd name="T45" fmla="*/ 11 h 482"/>
                        <a:gd name="T46" fmla="*/ 13 w 427"/>
                        <a:gd name="T47" fmla="*/ 10 h 482"/>
                        <a:gd name="T48" fmla="*/ 14 w 427"/>
                        <a:gd name="T49" fmla="*/ 10 h 482"/>
                        <a:gd name="T50" fmla="*/ 14 w 427"/>
                        <a:gd name="T51" fmla="*/ 10 h 482"/>
                        <a:gd name="T52" fmla="*/ 14 w 427"/>
                        <a:gd name="T53" fmla="*/ 10 h 482"/>
                        <a:gd name="T54" fmla="*/ 15 w 427"/>
                        <a:gd name="T55" fmla="*/ 10 h 482"/>
                        <a:gd name="T56" fmla="*/ 15 w 427"/>
                        <a:gd name="T57" fmla="*/ 9 h 482"/>
                        <a:gd name="T58" fmla="*/ 17 w 427"/>
                        <a:gd name="T59" fmla="*/ 7 h 482"/>
                        <a:gd name="T60" fmla="*/ 17 w 427"/>
                        <a:gd name="T61" fmla="*/ 6 h 482"/>
                        <a:gd name="T62" fmla="*/ 17 w 427"/>
                        <a:gd name="T63" fmla="*/ 6 h 482"/>
                        <a:gd name="T64" fmla="*/ 17 w 427"/>
                        <a:gd name="T65" fmla="*/ 5 h 482"/>
                        <a:gd name="T66" fmla="*/ 16 w 427"/>
                        <a:gd name="T67" fmla="*/ 5 h 482"/>
                        <a:gd name="T68" fmla="*/ 16 w 427"/>
                        <a:gd name="T69" fmla="*/ 4 h 482"/>
                        <a:gd name="T70" fmla="*/ 15 w 427"/>
                        <a:gd name="T71" fmla="*/ 4 h 482"/>
                        <a:gd name="T72" fmla="*/ 15 w 427"/>
                        <a:gd name="T73" fmla="*/ 4 h 482"/>
                        <a:gd name="T74" fmla="*/ 15 w 427"/>
                        <a:gd name="T75" fmla="*/ 3 h 482"/>
                        <a:gd name="T76" fmla="*/ 14 w 427"/>
                        <a:gd name="T77" fmla="*/ 3 h 482"/>
                        <a:gd name="T78" fmla="*/ 13 w 427"/>
                        <a:gd name="T79" fmla="*/ 3 h 482"/>
                        <a:gd name="T80" fmla="*/ 11 w 427"/>
                        <a:gd name="T81" fmla="*/ 2 h 482"/>
                        <a:gd name="T82" fmla="*/ 11 w 427"/>
                        <a:gd name="T83" fmla="*/ 2 h 482"/>
                        <a:gd name="T84" fmla="*/ 10 w 427"/>
                        <a:gd name="T85" fmla="*/ 1 h 482"/>
                        <a:gd name="T86" fmla="*/ 10 w 427"/>
                        <a:gd name="T87" fmla="*/ 0 h 482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w 427"/>
                        <a:gd name="T133" fmla="*/ 0 h 482"/>
                        <a:gd name="T134" fmla="*/ 427 w 427"/>
                        <a:gd name="T135" fmla="*/ 482 h 482"/>
                      </a:gdLst>
                      <a:ahLst/>
                      <a:cxnLst>
                        <a:cxn ang="T88">
                          <a:pos x="T0" y="T1"/>
                        </a:cxn>
                        <a:cxn ang="T89">
                          <a:pos x="T2" y="T3"/>
                        </a:cxn>
                        <a:cxn ang="T90">
                          <a:pos x="T4" y="T5"/>
                        </a:cxn>
                        <a:cxn ang="T91">
                          <a:pos x="T6" y="T7"/>
                        </a:cxn>
                        <a:cxn ang="T92">
                          <a:pos x="T8" y="T9"/>
                        </a:cxn>
                        <a:cxn ang="T93">
                          <a:pos x="T10" y="T11"/>
                        </a:cxn>
                        <a:cxn ang="T94">
                          <a:pos x="T12" y="T13"/>
                        </a:cxn>
                        <a:cxn ang="T95">
                          <a:pos x="T14" y="T15"/>
                        </a:cxn>
                        <a:cxn ang="T96">
                          <a:pos x="T16" y="T17"/>
                        </a:cxn>
                        <a:cxn ang="T97">
                          <a:pos x="T18" y="T19"/>
                        </a:cxn>
                        <a:cxn ang="T98">
                          <a:pos x="T20" y="T21"/>
                        </a:cxn>
                        <a:cxn ang="T99">
                          <a:pos x="T22" y="T23"/>
                        </a:cxn>
                        <a:cxn ang="T100">
                          <a:pos x="T24" y="T25"/>
                        </a:cxn>
                        <a:cxn ang="T101">
                          <a:pos x="T26" y="T27"/>
                        </a:cxn>
                        <a:cxn ang="T102">
                          <a:pos x="T28" y="T29"/>
                        </a:cxn>
                        <a:cxn ang="T103">
                          <a:pos x="T30" y="T31"/>
                        </a:cxn>
                        <a:cxn ang="T104">
                          <a:pos x="T32" y="T33"/>
                        </a:cxn>
                        <a:cxn ang="T105">
                          <a:pos x="T34" y="T35"/>
                        </a:cxn>
                        <a:cxn ang="T106">
                          <a:pos x="T36" y="T37"/>
                        </a:cxn>
                        <a:cxn ang="T107">
                          <a:pos x="T38" y="T39"/>
                        </a:cxn>
                        <a:cxn ang="T108">
                          <a:pos x="T40" y="T41"/>
                        </a:cxn>
                        <a:cxn ang="T109">
                          <a:pos x="T42" y="T43"/>
                        </a:cxn>
                        <a:cxn ang="T110">
                          <a:pos x="T44" y="T45"/>
                        </a:cxn>
                        <a:cxn ang="T111">
                          <a:pos x="T46" y="T47"/>
                        </a:cxn>
                        <a:cxn ang="T112">
                          <a:pos x="T48" y="T49"/>
                        </a:cxn>
                        <a:cxn ang="T113">
                          <a:pos x="T50" y="T51"/>
                        </a:cxn>
                        <a:cxn ang="T114">
                          <a:pos x="T52" y="T53"/>
                        </a:cxn>
                        <a:cxn ang="T115">
                          <a:pos x="T54" y="T55"/>
                        </a:cxn>
                        <a:cxn ang="T116">
                          <a:pos x="T56" y="T57"/>
                        </a:cxn>
                        <a:cxn ang="T117">
                          <a:pos x="T58" y="T59"/>
                        </a:cxn>
                        <a:cxn ang="T118">
                          <a:pos x="T60" y="T61"/>
                        </a:cxn>
                        <a:cxn ang="T119">
                          <a:pos x="T62" y="T63"/>
                        </a:cxn>
                        <a:cxn ang="T120">
                          <a:pos x="T64" y="T65"/>
                        </a:cxn>
                        <a:cxn ang="T121">
                          <a:pos x="T66" y="T67"/>
                        </a:cxn>
                        <a:cxn ang="T122">
                          <a:pos x="T68" y="T69"/>
                        </a:cxn>
                        <a:cxn ang="T123">
                          <a:pos x="T70" y="T71"/>
                        </a:cxn>
                        <a:cxn ang="T124">
                          <a:pos x="T72" y="T73"/>
                        </a:cxn>
                        <a:cxn ang="T125">
                          <a:pos x="T74" y="T75"/>
                        </a:cxn>
                        <a:cxn ang="T126">
                          <a:pos x="T76" y="T77"/>
                        </a:cxn>
                        <a:cxn ang="T127">
                          <a:pos x="T78" y="T79"/>
                        </a:cxn>
                        <a:cxn ang="T128">
                          <a:pos x="T80" y="T81"/>
                        </a:cxn>
                        <a:cxn ang="T129">
                          <a:pos x="T82" y="T83"/>
                        </a:cxn>
                        <a:cxn ang="T130">
                          <a:pos x="T84" y="T85"/>
                        </a:cxn>
                        <a:cxn ang="T131">
                          <a:pos x="T86" y="T87"/>
                        </a:cxn>
                      </a:cxnLst>
                      <a:rect l="T132" t="T133" r="T134" b="T135"/>
                      <a:pathLst>
                        <a:path w="427" h="482">
                          <a:moveTo>
                            <a:pt x="236" y="0"/>
                          </a:moveTo>
                          <a:lnTo>
                            <a:pt x="203" y="0"/>
                          </a:lnTo>
                          <a:lnTo>
                            <a:pt x="220" y="46"/>
                          </a:lnTo>
                          <a:lnTo>
                            <a:pt x="187" y="59"/>
                          </a:lnTo>
                          <a:lnTo>
                            <a:pt x="176" y="130"/>
                          </a:lnTo>
                          <a:lnTo>
                            <a:pt x="203" y="170"/>
                          </a:lnTo>
                          <a:lnTo>
                            <a:pt x="165" y="287"/>
                          </a:lnTo>
                          <a:lnTo>
                            <a:pt x="0" y="345"/>
                          </a:lnTo>
                          <a:lnTo>
                            <a:pt x="57" y="482"/>
                          </a:lnTo>
                          <a:lnTo>
                            <a:pt x="83" y="474"/>
                          </a:lnTo>
                          <a:lnTo>
                            <a:pt x="94" y="473"/>
                          </a:lnTo>
                          <a:lnTo>
                            <a:pt x="107" y="466"/>
                          </a:lnTo>
                          <a:lnTo>
                            <a:pt x="117" y="460"/>
                          </a:lnTo>
                          <a:lnTo>
                            <a:pt x="137" y="459"/>
                          </a:lnTo>
                          <a:lnTo>
                            <a:pt x="150" y="461"/>
                          </a:lnTo>
                          <a:lnTo>
                            <a:pt x="154" y="464"/>
                          </a:lnTo>
                          <a:lnTo>
                            <a:pt x="161" y="464"/>
                          </a:lnTo>
                          <a:lnTo>
                            <a:pt x="165" y="460"/>
                          </a:lnTo>
                          <a:lnTo>
                            <a:pt x="172" y="455"/>
                          </a:lnTo>
                          <a:lnTo>
                            <a:pt x="179" y="447"/>
                          </a:lnTo>
                          <a:lnTo>
                            <a:pt x="180" y="443"/>
                          </a:lnTo>
                          <a:lnTo>
                            <a:pt x="180" y="436"/>
                          </a:lnTo>
                          <a:lnTo>
                            <a:pt x="180" y="430"/>
                          </a:lnTo>
                          <a:lnTo>
                            <a:pt x="186" y="425"/>
                          </a:lnTo>
                          <a:lnTo>
                            <a:pt x="194" y="414"/>
                          </a:lnTo>
                          <a:lnTo>
                            <a:pt x="224" y="407"/>
                          </a:lnTo>
                          <a:lnTo>
                            <a:pt x="234" y="407"/>
                          </a:lnTo>
                          <a:lnTo>
                            <a:pt x="241" y="404"/>
                          </a:lnTo>
                          <a:lnTo>
                            <a:pt x="250" y="394"/>
                          </a:lnTo>
                          <a:lnTo>
                            <a:pt x="253" y="382"/>
                          </a:lnTo>
                          <a:lnTo>
                            <a:pt x="256" y="371"/>
                          </a:lnTo>
                          <a:lnTo>
                            <a:pt x="262" y="361"/>
                          </a:lnTo>
                          <a:lnTo>
                            <a:pt x="269" y="355"/>
                          </a:lnTo>
                          <a:lnTo>
                            <a:pt x="278" y="352"/>
                          </a:lnTo>
                          <a:lnTo>
                            <a:pt x="282" y="347"/>
                          </a:lnTo>
                          <a:lnTo>
                            <a:pt x="289" y="348"/>
                          </a:lnTo>
                          <a:lnTo>
                            <a:pt x="301" y="346"/>
                          </a:lnTo>
                          <a:lnTo>
                            <a:pt x="309" y="346"/>
                          </a:lnTo>
                          <a:lnTo>
                            <a:pt x="316" y="342"/>
                          </a:lnTo>
                          <a:lnTo>
                            <a:pt x="319" y="337"/>
                          </a:lnTo>
                          <a:lnTo>
                            <a:pt x="316" y="328"/>
                          </a:lnTo>
                          <a:lnTo>
                            <a:pt x="314" y="325"/>
                          </a:lnTo>
                          <a:lnTo>
                            <a:pt x="312" y="312"/>
                          </a:lnTo>
                          <a:lnTo>
                            <a:pt x="312" y="303"/>
                          </a:lnTo>
                          <a:lnTo>
                            <a:pt x="315" y="293"/>
                          </a:lnTo>
                          <a:lnTo>
                            <a:pt x="314" y="285"/>
                          </a:lnTo>
                          <a:lnTo>
                            <a:pt x="327" y="265"/>
                          </a:lnTo>
                          <a:lnTo>
                            <a:pt x="335" y="256"/>
                          </a:lnTo>
                          <a:lnTo>
                            <a:pt x="339" y="253"/>
                          </a:lnTo>
                          <a:lnTo>
                            <a:pt x="342" y="255"/>
                          </a:lnTo>
                          <a:lnTo>
                            <a:pt x="344" y="260"/>
                          </a:lnTo>
                          <a:lnTo>
                            <a:pt x="347" y="262"/>
                          </a:lnTo>
                          <a:lnTo>
                            <a:pt x="353" y="264"/>
                          </a:lnTo>
                          <a:lnTo>
                            <a:pt x="355" y="261"/>
                          </a:lnTo>
                          <a:lnTo>
                            <a:pt x="365" y="244"/>
                          </a:lnTo>
                          <a:lnTo>
                            <a:pt x="369" y="239"/>
                          </a:lnTo>
                          <a:lnTo>
                            <a:pt x="376" y="224"/>
                          </a:lnTo>
                          <a:lnTo>
                            <a:pt x="382" y="216"/>
                          </a:lnTo>
                          <a:lnTo>
                            <a:pt x="396" y="206"/>
                          </a:lnTo>
                          <a:lnTo>
                            <a:pt x="416" y="178"/>
                          </a:lnTo>
                          <a:lnTo>
                            <a:pt x="421" y="167"/>
                          </a:lnTo>
                          <a:lnTo>
                            <a:pt x="422" y="161"/>
                          </a:lnTo>
                          <a:lnTo>
                            <a:pt x="427" y="147"/>
                          </a:lnTo>
                          <a:lnTo>
                            <a:pt x="427" y="143"/>
                          </a:lnTo>
                          <a:lnTo>
                            <a:pt x="423" y="140"/>
                          </a:lnTo>
                          <a:lnTo>
                            <a:pt x="419" y="137"/>
                          </a:lnTo>
                          <a:lnTo>
                            <a:pt x="418" y="134"/>
                          </a:lnTo>
                          <a:lnTo>
                            <a:pt x="406" y="131"/>
                          </a:lnTo>
                          <a:lnTo>
                            <a:pt x="396" y="124"/>
                          </a:lnTo>
                          <a:lnTo>
                            <a:pt x="391" y="111"/>
                          </a:lnTo>
                          <a:lnTo>
                            <a:pt x="386" y="108"/>
                          </a:lnTo>
                          <a:lnTo>
                            <a:pt x="382" y="103"/>
                          </a:lnTo>
                          <a:lnTo>
                            <a:pt x="381" y="98"/>
                          </a:lnTo>
                          <a:lnTo>
                            <a:pt x="375" y="92"/>
                          </a:lnTo>
                          <a:lnTo>
                            <a:pt x="373" y="88"/>
                          </a:lnTo>
                          <a:lnTo>
                            <a:pt x="366" y="79"/>
                          </a:lnTo>
                          <a:lnTo>
                            <a:pt x="354" y="73"/>
                          </a:lnTo>
                          <a:lnTo>
                            <a:pt x="347" y="73"/>
                          </a:lnTo>
                          <a:lnTo>
                            <a:pt x="332" y="66"/>
                          </a:lnTo>
                          <a:lnTo>
                            <a:pt x="315" y="63"/>
                          </a:lnTo>
                          <a:lnTo>
                            <a:pt x="309" y="61"/>
                          </a:lnTo>
                          <a:lnTo>
                            <a:pt x="285" y="51"/>
                          </a:lnTo>
                          <a:lnTo>
                            <a:pt x="274" y="43"/>
                          </a:lnTo>
                          <a:lnTo>
                            <a:pt x="266" y="40"/>
                          </a:lnTo>
                          <a:lnTo>
                            <a:pt x="260" y="30"/>
                          </a:lnTo>
                          <a:lnTo>
                            <a:pt x="252" y="23"/>
                          </a:lnTo>
                          <a:lnTo>
                            <a:pt x="250" y="19"/>
                          </a:lnTo>
                          <a:lnTo>
                            <a:pt x="241" y="12"/>
                          </a:lnTo>
                          <a:lnTo>
                            <a:pt x="236" y="0"/>
                          </a:lnTo>
                          <a:close/>
                        </a:path>
                      </a:pathLst>
                    </a:custGeom>
                    <a:grpFill/>
                    <a:ln w="6350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txBody>
                    <a:bodyPr/>
                    <a:lstStyle/>
                    <a:p>
                      <a:endParaRPr lang="ru-RU" sz="1400"/>
                    </a:p>
                  </p:txBody>
                </p:sp>
              </p:grpSp>
              <p:sp>
                <p:nvSpPr>
                  <p:cNvPr id="535" name="Freeform 86"/>
                  <p:cNvSpPr>
                    <a:spLocks/>
                  </p:cNvSpPr>
                  <p:nvPr/>
                </p:nvSpPr>
                <p:spPr bwMode="gray">
                  <a:xfrm>
                    <a:off x="3069" y="2190"/>
                    <a:ext cx="1" cy="3"/>
                  </a:xfrm>
                  <a:custGeom>
                    <a:avLst/>
                    <a:gdLst>
                      <a:gd name="T0" fmla="*/ 0 w 8"/>
                      <a:gd name="T1" fmla="*/ 0 h 19"/>
                      <a:gd name="T2" fmla="*/ 0 w 8"/>
                      <a:gd name="T3" fmla="*/ 0 h 19"/>
                      <a:gd name="T4" fmla="*/ 0 w 8"/>
                      <a:gd name="T5" fmla="*/ 0 h 19"/>
                      <a:gd name="T6" fmla="*/ 0 w 8"/>
                      <a:gd name="T7" fmla="*/ 0 h 19"/>
                      <a:gd name="T8" fmla="*/ 0 w 8"/>
                      <a:gd name="T9" fmla="*/ 0 h 19"/>
                      <a:gd name="T10" fmla="*/ 0 w 8"/>
                      <a:gd name="T11" fmla="*/ 0 h 19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8"/>
                      <a:gd name="T19" fmla="*/ 0 h 19"/>
                      <a:gd name="T20" fmla="*/ 8 w 8"/>
                      <a:gd name="T21" fmla="*/ 19 h 19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8" h="19">
                        <a:moveTo>
                          <a:pt x="8" y="3"/>
                        </a:moveTo>
                        <a:lnTo>
                          <a:pt x="0" y="0"/>
                        </a:lnTo>
                        <a:lnTo>
                          <a:pt x="0" y="11"/>
                        </a:lnTo>
                        <a:lnTo>
                          <a:pt x="3" y="19"/>
                        </a:lnTo>
                        <a:lnTo>
                          <a:pt x="8" y="17"/>
                        </a:lnTo>
                        <a:lnTo>
                          <a:pt x="8" y="3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grpSp>
                <p:nvGrpSpPr>
                  <p:cNvPr id="536" name="Group 87"/>
                  <p:cNvGrpSpPr>
                    <a:grpSpLocks/>
                  </p:cNvGrpSpPr>
                  <p:nvPr/>
                </p:nvGrpSpPr>
                <p:grpSpPr bwMode="auto">
                  <a:xfrm>
                    <a:off x="3000" y="2012"/>
                    <a:ext cx="210" cy="192"/>
                    <a:chOff x="3000" y="2012"/>
                    <a:chExt cx="210" cy="192"/>
                  </a:xfrm>
                  <a:grpFill/>
                </p:grpSpPr>
                <p:sp>
                  <p:nvSpPr>
                    <p:cNvPr id="546" name="Freeform 88"/>
                    <p:cNvSpPr>
                      <a:spLocks/>
                    </p:cNvSpPr>
                    <p:nvPr/>
                  </p:nvSpPr>
                  <p:spPr bwMode="gray">
                    <a:xfrm>
                      <a:off x="3122" y="2182"/>
                      <a:ext cx="10" cy="5"/>
                    </a:xfrm>
                    <a:custGeom>
                      <a:avLst/>
                      <a:gdLst>
                        <a:gd name="T0" fmla="*/ 2 w 50"/>
                        <a:gd name="T1" fmla="*/ 0 h 26"/>
                        <a:gd name="T2" fmla="*/ 2 w 50"/>
                        <a:gd name="T3" fmla="*/ 0 h 26"/>
                        <a:gd name="T4" fmla="*/ 1 w 50"/>
                        <a:gd name="T5" fmla="*/ 0 h 26"/>
                        <a:gd name="T6" fmla="*/ 1 w 50"/>
                        <a:gd name="T7" fmla="*/ 0 h 26"/>
                        <a:gd name="T8" fmla="*/ 0 w 50"/>
                        <a:gd name="T9" fmla="*/ 1 h 26"/>
                        <a:gd name="T10" fmla="*/ 0 w 50"/>
                        <a:gd name="T11" fmla="*/ 1 h 26"/>
                        <a:gd name="T12" fmla="*/ 0 w 50"/>
                        <a:gd name="T13" fmla="*/ 1 h 26"/>
                        <a:gd name="T14" fmla="*/ 1 w 50"/>
                        <a:gd name="T15" fmla="*/ 1 h 26"/>
                        <a:gd name="T16" fmla="*/ 2 w 50"/>
                        <a:gd name="T17" fmla="*/ 0 h 26"/>
                        <a:gd name="T18" fmla="*/ 0 60000 65536"/>
                        <a:gd name="T19" fmla="*/ 0 60000 65536"/>
                        <a:gd name="T20" fmla="*/ 0 60000 65536"/>
                        <a:gd name="T21" fmla="*/ 0 60000 65536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w 50"/>
                        <a:gd name="T28" fmla="*/ 0 h 26"/>
                        <a:gd name="T29" fmla="*/ 50 w 50"/>
                        <a:gd name="T30" fmla="*/ 26 h 26"/>
                      </a:gdLst>
                      <a:ahLst/>
                      <a:cxnLst>
                        <a:cxn ang="T18">
                          <a:pos x="T0" y="T1"/>
                        </a:cxn>
                        <a:cxn ang="T19">
                          <a:pos x="T2" y="T3"/>
                        </a:cxn>
                        <a:cxn ang="T20">
                          <a:pos x="T4" y="T5"/>
                        </a:cxn>
                        <a:cxn ang="T21">
                          <a:pos x="T6" y="T7"/>
                        </a:cxn>
                        <a:cxn ang="T22">
                          <a:pos x="T8" y="T9"/>
                        </a:cxn>
                        <a:cxn ang="T23">
                          <a:pos x="T10" y="T11"/>
                        </a:cxn>
                        <a:cxn ang="T24">
                          <a:pos x="T12" y="T13"/>
                        </a:cxn>
                        <a:cxn ang="T25">
                          <a:pos x="T14" y="T15"/>
                        </a:cxn>
                        <a:cxn ang="T26">
                          <a:pos x="T16" y="T17"/>
                        </a:cxn>
                      </a:cxnLst>
                      <a:rect l="T27" t="T28" r="T29" b="T30"/>
                      <a:pathLst>
                        <a:path w="50" h="26">
                          <a:moveTo>
                            <a:pt x="50" y="2"/>
                          </a:moveTo>
                          <a:lnTo>
                            <a:pt x="45" y="0"/>
                          </a:lnTo>
                          <a:lnTo>
                            <a:pt x="27" y="2"/>
                          </a:lnTo>
                          <a:lnTo>
                            <a:pt x="23" y="10"/>
                          </a:lnTo>
                          <a:lnTo>
                            <a:pt x="12" y="18"/>
                          </a:lnTo>
                          <a:lnTo>
                            <a:pt x="0" y="22"/>
                          </a:lnTo>
                          <a:lnTo>
                            <a:pt x="1" y="26"/>
                          </a:lnTo>
                          <a:lnTo>
                            <a:pt x="27" y="19"/>
                          </a:lnTo>
                          <a:lnTo>
                            <a:pt x="50" y="2"/>
                          </a:lnTo>
                          <a:close/>
                        </a:path>
                      </a:pathLst>
                    </a:custGeom>
                    <a:grpFill/>
                    <a:ln w="6350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txBody>
                    <a:bodyPr/>
                    <a:lstStyle/>
                    <a:p>
                      <a:endParaRPr lang="ru-RU" sz="1400"/>
                    </a:p>
                  </p:txBody>
                </p:sp>
                <p:sp>
                  <p:nvSpPr>
                    <p:cNvPr id="547" name="Freeform 89"/>
                    <p:cNvSpPr>
                      <a:spLocks/>
                    </p:cNvSpPr>
                    <p:nvPr/>
                  </p:nvSpPr>
                  <p:spPr bwMode="gray">
                    <a:xfrm>
                      <a:off x="3000" y="2012"/>
                      <a:ext cx="210" cy="192"/>
                    </a:xfrm>
                    <a:custGeom>
                      <a:avLst/>
                      <a:gdLst>
                        <a:gd name="T0" fmla="*/ 37 w 1049"/>
                        <a:gd name="T1" fmla="*/ 38 h 961"/>
                        <a:gd name="T2" fmla="*/ 33 w 1049"/>
                        <a:gd name="T3" fmla="*/ 38 h 961"/>
                        <a:gd name="T4" fmla="*/ 32 w 1049"/>
                        <a:gd name="T5" fmla="*/ 37 h 961"/>
                        <a:gd name="T6" fmla="*/ 29 w 1049"/>
                        <a:gd name="T7" fmla="*/ 36 h 961"/>
                        <a:gd name="T8" fmla="*/ 27 w 1049"/>
                        <a:gd name="T9" fmla="*/ 34 h 961"/>
                        <a:gd name="T10" fmla="*/ 24 w 1049"/>
                        <a:gd name="T11" fmla="*/ 35 h 961"/>
                        <a:gd name="T12" fmla="*/ 22 w 1049"/>
                        <a:gd name="T13" fmla="*/ 35 h 961"/>
                        <a:gd name="T14" fmla="*/ 20 w 1049"/>
                        <a:gd name="T15" fmla="*/ 34 h 961"/>
                        <a:gd name="T16" fmla="*/ 18 w 1049"/>
                        <a:gd name="T17" fmla="*/ 33 h 961"/>
                        <a:gd name="T18" fmla="*/ 16 w 1049"/>
                        <a:gd name="T19" fmla="*/ 32 h 961"/>
                        <a:gd name="T20" fmla="*/ 14 w 1049"/>
                        <a:gd name="T21" fmla="*/ 28 h 961"/>
                        <a:gd name="T22" fmla="*/ 13 w 1049"/>
                        <a:gd name="T23" fmla="*/ 26 h 961"/>
                        <a:gd name="T24" fmla="*/ 12 w 1049"/>
                        <a:gd name="T25" fmla="*/ 26 h 961"/>
                        <a:gd name="T26" fmla="*/ 11 w 1049"/>
                        <a:gd name="T27" fmla="*/ 25 h 961"/>
                        <a:gd name="T28" fmla="*/ 10 w 1049"/>
                        <a:gd name="T29" fmla="*/ 26 h 961"/>
                        <a:gd name="T30" fmla="*/ 9 w 1049"/>
                        <a:gd name="T31" fmla="*/ 26 h 961"/>
                        <a:gd name="T32" fmla="*/ 8 w 1049"/>
                        <a:gd name="T33" fmla="*/ 24 h 961"/>
                        <a:gd name="T34" fmla="*/ 7 w 1049"/>
                        <a:gd name="T35" fmla="*/ 20 h 961"/>
                        <a:gd name="T36" fmla="*/ 4 w 1049"/>
                        <a:gd name="T37" fmla="*/ 19 h 961"/>
                        <a:gd name="T38" fmla="*/ 3 w 1049"/>
                        <a:gd name="T39" fmla="*/ 17 h 961"/>
                        <a:gd name="T40" fmla="*/ 3 w 1049"/>
                        <a:gd name="T41" fmla="*/ 16 h 961"/>
                        <a:gd name="T42" fmla="*/ 4 w 1049"/>
                        <a:gd name="T43" fmla="*/ 13 h 961"/>
                        <a:gd name="T44" fmla="*/ 4 w 1049"/>
                        <a:gd name="T45" fmla="*/ 11 h 961"/>
                        <a:gd name="T46" fmla="*/ 2 w 1049"/>
                        <a:gd name="T47" fmla="*/ 9 h 961"/>
                        <a:gd name="T48" fmla="*/ 0 w 1049"/>
                        <a:gd name="T49" fmla="*/ 5 h 961"/>
                        <a:gd name="T50" fmla="*/ 0 w 1049"/>
                        <a:gd name="T51" fmla="*/ 1 h 961"/>
                        <a:gd name="T52" fmla="*/ 2 w 1049"/>
                        <a:gd name="T53" fmla="*/ 1 h 961"/>
                        <a:gd name="T54" fmla="*/ 5 w 1049"/>
                        <a:gd name="T55" fmla="*/ 3 h 961"/>
                        <a:gd name="T56" fmla="*/ 7 w 1049"/>
                        <a:gd name="T57" fmla="*/ 1 h 961"/>
                        <a:gd name="T58" fmla="*/ 9 w 1049"/>
                        <a:gd name="T59" fmla="*/ 2 h 961"/>
                        <a:gd name="T60" fmla="*/ 9 w 1049"/>
                        <a:gd name="T61" fmla="*/ 3 h 961"/>
                        <a:gd name="T62" fmla="*/ 10 w 1049"/>
                        <a:gd name="T63" fmla="*/ 5 h 961"/>
                        <a:gd name="T64" fmla="*/ 12 w 1049"/>
                        <a:gd name="T65" fmla="*/ 7 h 961"/>
                        <a:gd name="T66" fmla="*/ 14 w 1049"/>
                        <a:gd name="T67" fmla="*/ 8 h 961"/>
                        <a:gd name="T68" fmla="*/ 20 w 1049"/>
                        <a:gd name="T69" fmla="*/ 8 h 961"/>
                        <a:gd name="T70" fmla="*/ 22 w 1049"/>
                        <a:gd name="T71" fmla="*/ 8 h 961"/>
                        <a:gd name="T72" fmla="*/ 24 w 1049"/>
                        <a:gd name="T73" fmla="*/ 5 h 961"/>
                        <a:gd name="T74" fmla="*/ 27 w 1049"/>
                        <a:gd name="T75" fmla="*/ 5 h 961"/>
                        <a:gd name="T76" fmla="*/ 29 w 1049"/>
                        <a:gd name="T77" fmla="*/ 5 h 961"/>
                        <a:gd name="T78" fmla="*/ 32 w 1049"/>
                        <a:gd name="T79" fmla="*/ 6 h 961"/>
                        <a:gd name="T80" fmla="*/ 34 w 1049"/>
                        <a:gd name="T81" fmla="*/ 7 h 961"/>
                        <a:gd name="T82" fmla="*/ 37 w 1049"/>
                        <a:gd name="T83" fmla="*/ 9 h 961"/>
                        <a:gd name="T84" fmla="*/ 37 w 1049"/>
                        <a:gd name="T85" fmla="*/ 13 h 961"/>
                        <a:gd name="T86" fmla="*/ 36 w 1049"/>
                        <a:gd name="T87" fmla="*/ 16 h 961"/>
                        <a:gd name="T88" fmla="*/ 36 w 1049"/>
                        <a:gd name="T89" fmla="*/ 19 h 961"/>
                        <a:gd name="T90" fmla="*/ 36 w 1049"/>
                        <a:gd name="T91" fmla="*/ 22 h 961"/>
                        <a:gd name="T92" fmla="*/ 38 w 1049"/>
                        <a:gd name="T93" fmla="*/ 23 h 961"/>
                        <a:gd name="T94" fmla="*/ 37 w 1049"/>
                        <a:gd name="T95" fmla="*/ 27 h 961"/>
                        <a:gd name="T96" fmla="*/ 39 w 1049"/>
                        <a:gd name="T97" fmla="*/ 30 h 961"/>
                        <a:gd name="T98" fmla="*/ 41 w 1049"/>
                        <a:gd name="T99" fmla="*/ 33 h 961"/>
                        <a:gd name="T100" fmla="*/ 41 w 1049"/>
                        <a:gd name="T101" fmla="*/ 35 h 961"/>
                        <a:gd name="T102" fmla="*/ 39 w 1049"/>
                        <a:gd name="T103" fmla="*/ 36 h 961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w 1049"/>
                        <a:gd name="T157" fmla="*/ 0 h 961"/>
                        <a:gd name="T158" fmla="*/ 1049 w 1049"/>
                        <a:gd name="T159" fmla="*/ 961 h 961"/>
                      </a:gdLst>
                      <a:ahLst/>
                      <a:cxnLst>
                        <a:cxn ang="T104">
                          <a:pos x="T0" y="T1"/>
                        </a:cxn>
                        <a:cxn ang="T105">
                          <a:pos x="T2" y="T3"/>
                        </a:cxn>
                        <a:cxn ang="T106">
                          <a:pos x="T4" y="T5"/>
                        </a:cxn>
                        <a:cxn ang="T107">
                          <a:pos x="T6" y="T7"/>
                        </a:cxn>
                        <a:cxn ang="T108">
                          <a:pos x="T8" y="T9"/>
                        </a:cxn>
                        <a:cxn ang="T109">
                          <a:pos x="T10" y="T11"/>
                        </a:cxn>
                        <a:cxn ang="T110">
                          <a:pos x="T12" y="T13"/>
                        </a:cxn>
                        <a:cxn ang="T111">
                          <a:pos x="T14" y="T15"/>
                        </a:cxn>
                        <a:cxn ang="T112">
                          <a:pos x="T16" y="T17"/>
                        </a:cxn>
                        <a:cxn ang="T113">
                          <a:pos x="T18" y="T19"/>
                        </a:cxn>
                        <a:cxn ang="T114">
                          <a:pos x="T20" y="T21"/>
                        </a:cxn>
                        <a:cxn ang="T115">
                          <a:pos x="T22" y="T23"/>
                        </a:cxn>
                        <a:cxn ang="T116">
                          <a:pos x="T24" y="T25"/>
                        </a:cxn>
                        <a:cxn ang="T117">
                          <a:pos x="T26" y="T27"/>
                        </a:cxn>
                        <a:cxn ang="T118">
                          <a:pos x="T28" y="T29"/>
                        </a:cxn>
                        <a:cxn ang="T119">
                          <a:pos x="T30" y="T31"/>
                        </a:cxn>
                        <a:cxn ang="T120">
                          <a:pos x="T32" y="T33"/>
                        </a:cxn>
                        <a:cxn ang="T121">
                          <a:pos x="T34" y="T35"/>
                        </a:cxn>
                        <a:cxn ang="T122">
                          <a:pos x="T36" y="T37"/>
                        </a:cxn>
                        <a:cxn ang="T123">
                          <a:pos x="T38" y="T39"/>
                        </a:cxn>
                        <a:cxn ang="T124">
                          <a:pos x="T40" y="T41"/>
                        </a:cxn>
                        <a:cxn ang="T125">
                          <a:pos x="T42" y="T43"/>
                        </a:cxn>
                        <a:cxn ang="T126">
                          <a:pos x="T44" y="T45"/>
                        </a:cxn>
                        <a:cxn ang="T127">
                          <a:pos x="T46" y="T47"/>
                        </a:cxn>
                        <a:cxn ang="T128">
                          <a:pos x="T48" y="T49"/>
                        </a:cxn>
                        <a:cxn ang="T129">
                          <a:pos x="T50" y="T51"/>
                        </a:cxn>
                        <a:cxn ang="T130">
                          <a:pos x="T52" y="T53"/>
                        </a:cxn>
                        <a:cxn ang="T131">
                          <a:pos x="T54" y="T55"/>
                        </a:cxn>
                        <a:cxn ang="T132">
                          <a:pos x="T56" y="T57"/>
                        </a:cxn>
                        <a:cxn ang="T133">
                          <a:pos x="T58" y="T59"/>
                        </a:cxn>
                        <a:cxn ang="T134">
                          <a:pos x="T60" y="T61"/>
                        </a:cxn>
                        <a:cxn ang="T135">
                          <a:pos x="T62" y="T63"/>
                        </a:cxn>
                        <a:cxn ang="T136">
                          <a:pos x="T64" y="T65"/>
                        </a:cxn>
                        <a:cxn ang="T137">
                          <a:pos x="T66" y="T67"/>
                        </a:cxn>
                        <a:cxn ang="T138">
                          <a:pos x="T68" y="T69"/>
                        </a:cxn>
                        <a:cxn ang="T139">
                          <a:pos x="T70" y="T71"/>
                        </a:cxn>
                        <a:cxn ang="T140">
                          <a:pos x="T72" y="T73"/>
                        </a:cxn>
                        <a:cxn ang="T141">
                          <a:pos x="T74" y="T75"/>
                        </a:cxn>
                        <a:cxn ang="T142">
                          <a:pos x="T76" y="T77"/>
                        </a:cxn>
                        <a:cxn ang="T143">
                          <a:pos x="T78" y="T79"/>
                        </a:cxn>
                        <a:cxn ang="T144">
                          <a:pos x="T80" y="T81"/>
                        </a:cxn>
                        <a:cxn ang="T145">
                          <a:pos x="T82" y="T83"/>
                        </a:cxn>
                        <a:cxn ang="T146">
                          <a:pos x="T84" y="T85"/>
                        </a:cxn>
                        <a:cxn ang="T147">
                          <a:pos x="T86" y="T87"/>
                        </a:cxn>
                        <a:cxn ang="T148">
                          <a:pos x="T88" y="T89"/>
                        </a:cxn>
                        <a:cxn ang="T149">
                          <a:pos x="T90" y="T91"/>
                        </a:cxn>
                        <a:cxn ang="T150">
                          <a:pos x="T92" y="T93"/>
                        </a:cxn>
                        <a:cxn ang="T151">
                          <a:pos x="T94" y="T95"/>
                        </a:cxn>
                        <a:cxn ang="T152">
                          <a:pos x="T96" y="T97"/>
                        </a:cxn>
                        <a:cxn ang="T153">
                          <a:pos x="T98" y="T99"/>
                        </a:cxn>
                        <a:cxn ang="T154">
                          <a:pos x="T100" y="T101"/>
                        </a:cxn>
                        <a:cxn ang="T155">
                          <a:pos x="T102" y="T103"/>
                        </a:cxn>
                      </a:cxnLst>
                      <a:rect l="T156" t="T157" r="T158" b="T159"/>
                      <a:pathLst>
                        <a:path w="1049" h="961">
                          <a:moveTo>
                            <a:pt x="957" y="958"/>
                          </a:moveTo>
                          <a:lnTo>
                            <a:pt x="954" y="957"/>
                          </a:lnTo>
                          <a:lnTo>
                            <a:pt x="947" y="961"/>
                          </a:lnTo>
                          <a:lnTo>
                            <a:pt x="932" y="960"/>
                          </a:lnTo>
                          <a:lnTo>
                            <a:pt x="920" y="957"/>
                          </a:lnTo>
                          <a:lnTo>
                            <a:pt x="903" y="951"/>
                          </a:lnTo>
                          <a:lnTo>
                            <a:pt x="895" y="944"/>
                          </a:lnTo>
                          <a:lnTo>
                            <a:pt x="889" y="949"/>
                          </a:lnTo>
                          <a:lnTo>
                            <a:pt x="855" y="947"/>
                          </a:lnTo>
                          <a:lnTo>
                            <a:pt x="836" y="944"/>
                          </a:lnTo>
                          <a:lnTo>
                            <a:pt x="825" y="939"/>
                          </a:lnTo>
                          <a:lnTo>
                            <a:pt x="820" y="941"/>
                          </a:lnTo>
                          <a:lnTo>
                            <a:pt x="818" y="945"/>
                          </a:lnTo>
                          <a:lnTo>
                            <a:pt x="806" y="938"/>
                          </a:lnTo>
                          <a:lnTo>
                            <a:pt x="792" y="933"/>
                          </a:lnTo>
                          <a:lnTo>
                            <a:pt x="775" y="933"/>
                          </a:lnTo>
                          <a:lnTo>
                            <a:pt x="755" y="930"/>
                          </a:lnTo>
                          <a:lnTo>
                            <a:pt x="744" y="926"/>
                          </a:lnTo>
                          <a:lnTo>
                            <a:pt x="726" y="925"/>
                          </a:lnTo>
                          <a:lnTo>
                            <a:pt x="717" y="912"/>
                          </a:lnTo>
                          <a:lnTo>
                            <a:pt x="710" y="893"/>
                          </a:lnTo>
                          <a:lnTo>
                            <a:pt x="705" y="869"/>
                          </a:lnTo>
                          <a:lnTo>
                            <a:pt x="697" y="852"/>
                          </a:lnTo>
                          <a:lnTo>
                            <a:pt x="683" y="843"/>
                          </a:lnTo>
                          <a:lnTo>
                            <a:pt x="673" y="839"/>
                          </a:lnTo>
                          <a:lnTo>
                            <a:pt x="665" y="838"/>
                          </a:lnTo>
                          <a:lnTo>
                            <a:pt x="645" y="847"/>
                          </a:lnTo>
                          <a:lnTo>
                            <a:pt x="625" y="853"/>
                          </a:lnTo>
                          <a:lnTo>
                            <a:pt x="619" y="860"/>
                          </a:lnTo>
                          <a:lnTo>
                            <a:pt x="610" y="865"/>
                          </a:lnTo>
                          <a:lnTo>
                            <a:pt x="600" y="865"/>
                          </a:lnTo>
                          <a:lnTo>
                            <a:pt x="584" y="875"/>
                          </a:lnTo>
                          <a:lnTo>
                            <a:pt x="573" y="877"/>
                          </a:lnTo>
                          <a:lnTo>
                            <a:pt x="559" y="874"/>
                          </a:lnTo>
                          <a:lnTo>
                            <a:pt x="551" y="868"/>
                          </a:lnTo>
                          <a:lnTo>
                            <a:pt x="537" y="865"/>
                          </a:lnTo>
                          <a:lnTo>
                            <a:pt x="523" y="868"/>
                          </a:lnTo>
                          <a:lnTo>
                            <a:pt x="516" y="868"/>
                          </a:lnTo>
                          <a:lnTo>
                            <a:pt x="507" y="856"/>
                          </a:lnTo>
                          <a:lnTo>
                            <a:pt x="511" y="859"/>
                          </a:lnTo>
                          <a:lnTo>
                            <a:pt x="509" y="854"/>
                          </a:lnTo>
                          <a:lnTo>
                            <a:pt x="502" y="849"/>
                          </a:lnTo>
                          <a:lnTo>
                            <a:pt x="470" y="838"/>
                          </a:lnTo>
                          <a:lnTo>
                            <a:pt x="462" y="826"/>
                          </a:lnTo>
                          <a:lnTo>
                            <a:pt x="462" y="822"/>
                          </a:lnTo>
                          <a:lnTo>
                            <a:pt x="453" y="812"/>
                          </a:lnTo>
                          <a:lnTo>
                            <a:pt x="438" y="805"/>
                          </a:lnTo>
                          <a:lnTo>
                            <a:pt x="425" y="800"/>
                          </a:lnTo>
                          <a:lnTo>
                            <a:pt x="409" y="799"/>
                          </a:lnTo>
                          <a:lnTo>
                            <a:pt x="400" y="794"/>
                          </a:lnTo>
                          <a:lnTo>
                            <a:pt x="392" y="785"/>
                          </a:lnTo>
                          <a:lnTo>
                            <a:pt x="384" y="762"/>
                          </a:lnTo>
                          <a:lnTo>
                            <a:pt x="374" y="745"/>
                          </a:lnTo>
                          <a:lnTo>
                            <a:pt x="371" y="730"/>
                          </a:lnTo>
                          <a:lnTo>
                            <a:pt x="351" y="713"/>
                          </a:lnTo>
                          <a:lnTo>
                            <a:pt x="347" y="699"/>
                          </a:lnTo>
                          <a:lnTo>
                            <a:pt x="342" y="689"/>
                          </a:lnTo>
                          <a:lnTo>
                            <a:pt x="334" y="685"/>
                          </a:lnTo>
                          <a:lnTo>
                            <a:pt x="324" y="669"/>
                          </a:lnTo>
                          <a:lnTo>
                            <a:pt x="323" y="661"/>
                          </a:lnTo>
                          <a:lnTo>
                            <a:pt x="319" y="655"/>
                          </a:lnTo>
                          <a:lnTo>
                            <a:pt x="313" y="651"/>
                          </a:lnTo>
                          <a:lnTo>
                            <a:pt x="301" y="656"/>
                          </a:lnTo>
                          <a:lnTo>
                            <a:pt x="293" y="664"/>
                          </a:lnTo>
                          <a:lnTo>
                            <a:pt x="292" y="661"/>
                          </a:lnTo>
                          <a:lnTo>
                            <a:pt x="286" y="659"/>
                          </a:lnTo>
                          <a:lnTo>
                            <a:pt x="283" y="654"/>
                          </a:lnTo>
                          <a:lnTo>
                            <a:pt x="276" y="649"/>
                          </a:lnTo>
                          <a:lnTo>
                            <a:pt x="271" y="642"/>
                          </a:lnTo>
                          <a:lnTo>
                            <a:pt x="270" y="632"/>
                          </a:lnTo>
                          <a:lnTo>
                            <a:pt x="265" y="627"/>
                          </a:lnTo>
                          <a:lnTo>
                            <a:pt x="256" y="624"/>
                          </a:lnTo>
                          <a:lnTo>
                            <a:pt x="252" y="628"/>
                          </a:lnTo>
                          <a:lnTo>
                            <a:pt x="254" y="634"/>
                          </a:lnTo>
                          <a:lnTo>
                            <a:pt x="252" y="640"/>
                          </a:lnTo>
                          <a:lnTo>
                            <a:pt x="253" y="646"/>
                          </a:lnTo>
                          <a:lnTo>
                            <a:pt x="244" y="646"/>
                          </a:lnTo>
                          <a:lnTo>
                            <a:pt x="243" y="656"/>
                          </a:lnTo>
                          <a:lnTo>
                            <a:pt x="240" y="655"/>
                          </a:lnTo>
                          <a:lnTo>
                            <a:pt x="237" y="653"/>
                          </a:lnTo>
                          <a:lnTo>
                            <a:pt x="217" y="638"/>
                          </a:lnTo>
                          <a:lnTo>
                            <a:pt x="210" y="630"/>
                          </a:lnTo>
                          <a:lnTo>
                            <a:pt x="205" y="622"/>
                          </a:lnTo>
                          <a:lnTo>
                            <a:pt x="201" y="602"/>
                          </a:lnTo>
                          <a:lnTo>
                            <a:pt x="188" y="595"/>
                          </a:lnTo>
                          <a:lnTo>
                            <a:pt x="189" y="574"/>
                          </a:lnTo>
                          <a:lnTo>
                            <a:pt x="193" y="547"/>
                          </a:lnTo>
                          <a:lnTo>
                            <a:pt x="186" y="533"/>
                          </a:lnTo>
                          <a:lnTo>
                            <a:pt x="179" y="521"/>
                          </a:lnTo>
                          <a:lnTo>
                            <a:pt x="172" y="506"/>
                          </a:lnTo>
                          <a:lnTo>
                            <a:pt x="163" y="497"/>
                          </a:lnTo>
                          <a:lnTo>
                            <a:pt x="150" y="493"/>
                          </a:lnTo>
                          <a:lnTo>
                            <a:pt x="140" y="488"/>
                          </a:lnTo>
                          <a:lnTo>
                            <a:pt x="126" y="477"/>
                          </a:lnTo>
                          <a:lnTo>
                            <a:pt x="111" y="466"/>
                          </a:lnTo>
                          <a:lnTo>
                            <a:pt x="99" y="460"/>
                          </a:lnTo>
                          <a:lnTo>
                            <a:pt x="99" y="449"/>
                          </a:lnTo>
                          <a:lnTo>
                            <a:pt x="93" y="435"/>
                          </a:lnTo>
                          <a:lnTo>
                            <a:pt x="86" y="429"/>
                          </a:lnTo>
                          <a:lnTo>
                            <a:pt x="82" y="422"/>
                          </a:lnTo>
                          <a:lnTo>
                            <a:pt x="73" y="422"/>
                          </a:lnTo>
                          <a:lnTo>
                            <a:pt x="67" y="417"/>
                          </a:lnTo>
                          <a:lnTo>
                            <a:pt x="65" y="401"/>
                          </a:lnTo>
                          <a:lnTo>
                            <a:pt x="68" y="400"/>
                          </a:lnTo>
                          <a:lnTo>
                            <a:pt x="72" y="393"/>
                          </a:lnTo>
                          <a:lnTo>
                            <a:pt x="76" y="368"/>
                          </a:lnTo>
                          <a:lnTo>
                            <a:pt x="80" y="360"/>
                          </a:lnTo>
                          <a:lnTo>
                            <a:pt x="88" y="358"/>
                          </a:lnTo>
                          <a:lnTo>
                            <a:pt x="87" y="349"/>
                          </a:lnTo>
                          <a:lnTo>
                            <a:pt x="100" y="328"/>
                          </a:lnTo>
                          <a:lnTo>
                            <a:pt x="109" y="317"/>
                          </a:lnTo>
                          <a:lnTo>
                            <a:pt x="104" y="299"/>
                          </a:lnTo>
                          <a:lnTo>
                            <a:pt x="110" y="285"/>
                          </a:lnTo>
                          <a:lnTo>
                            <a:pt x="116" y="278"/>
                          </a:lnTo>
                          <a:lnTo>
                            <a:pt x="102" y="278"/>
                          </a:lnTo>
                          <a:lnTo>
                            <a:pt x="80" y="273"/>
                          </a:lnTo>
                          <a:lnTo>
                            <a:pt x="68" y="262"/>
                          </a:lnTo>
                          <a:lnTo>
                            <a:pt x="62" y="240"/>
                          </a:lnTo>
                          <a:lnTo>
                            <a:pt x="50" y="230"/>
                          </a:lnTo>
                          <a:lnTo>
                            <a:pt x="40" y="213"/>
                          </a:lnTo>
                          <a:lnTo>
                            <a:pt x="35" y="180"/>
                          </a:lnTo>
                          <a:lnTo>
                            <a:pt x="34" y="164"/>
                          </a:lnTo>
                          <a:lnTo>
                            <a:pt x="22" y="147"/>
                          </a:lnTo>
                          <a:lnTo>
                            <a:pt x="8" y="139"/>
                          </a:lnTo>
                          <a:lnTo>
                            <a:pt x="12" y="118"/>
                          </a:lnTo>
                          <a:lnTo>
                            <a:pt x="10" y="102"/>
                          </a:lnTo>
                          <a:lnTo>
                            <a:pt x="10" y="85"/>
                          </a:lnTo>
                          <a:lnTo>
                            <a:pt x="8" y="58"/>
                          </a:lnTo>
                          <a:lnTo>
                            <a:pt x="1" y="41"/>
                          </a:lnTo>
                          <a:lnTo>
                            <a:pt x="0" y="34"/>
                          </a:lnTo>
                          <a:lnTo>
                            <a:pt x="14" y="25"/>
                          </a:lnTo>
                          <a:lnTo>
                            <a:pt x="16" y="18"/>
                          </a:lnTo>
                          <a:lnTo>
                            <a:pt x="25" y="0"/>
                          </a:lnTo>
                          <a:lnTo>
                            <a:pt x="34" y="11"/>
                          </a:lnTo>
                          <a:lnTo>
                            <a:pt x="38" y="16"/>
                          </a:lnTo>
                          <a:lnTo>
                            <a:pt x="70" y="62"/>
                          </a:lnTo>
                          <a:lnTo>
                            <a:pt x="86" y="65"/>
                          </a:lnTo>
                          <a:lnTo>
                            <a:pt x="99" y="68"/>
                          </a:lnTo>
                          <a:lnTo>
                            <a:pt x="104" y="68"/>
                          </a:lnTo>
                          <a:lnTo>
                            <a:pt x="121" y="68"/>
                          </a:lnTo>
                          <a:lnTo>
                            <a:pt x="127" y="68"/>
                          </a:lnTo>
                          <a:lnTo>
                            <a:pt x="138" y="65"/>
                          </a:lnTo>
                          <a:lnTo>
                            <a:pt x="150" y="53"/>
                          </a:lnTo>
                          <a:lnTo>
                            <a:pt x="156" y="37"/>
                          </a:lnTo>
                          <a:lnTo>
                            <a:pt x="166" y="27"/>
                          </a:lnTo>
                          <a:lnTo>
                            <a:pt x="178" y="19"/>
                          </a:lnTo>
                          <a:lnTo>
                            <a:pt x="204" y="13"/>
                          </a:lnTo>
                          <a:lnTo>
                            <a:pt x="221" y="22"/>
                          </a:lnTo>
                          <a:lnTo>
                            <a:pt x="220" y="36"/>
                          </a:lnTo>
                          <a:lnTo>
                            <a:pt x="227" y="57"/>
                          </a:lnTo>
                          <a:lnTo>
                            <a:pt x="212" y="65"/>
                          </a:lnTo>
                          <a:lnTo>
                            <a:pt x="209" y="70"/>
                          </a:lnTo>
                          <a:lnTo>
                            <a:pt x="220" y="77"/>
                          </a:lnTo>
                          <a:lnTo>
                            <a:pt x="224" y="81"/>
                          </a:lnTo>
                          <a:lnTo>
                            <a:pt x="232" y="85"/>
                          </a:lnTo>
                          <a:lnTo>
                            <a:pt x="240" y="92"/>
                          </a:lnTo>
                          <a:lnTo>
                            <a:pt x="247" y="95"/>
                          </a:lnTo>
                          <a:lnTo>
                            <a:pt x="254" y="95"/>
                          </a:lnTo>
                          <a:lnTo>
                            <a:pt x="258" y="94"/>
                          </a:lnTo>
                          <a:lnTo>
                            <a:pt x="260" y="123"/>
                          </a:lnTo>
                          <a:lnTo>
                            <a:pt x="265" y="142"/>
                          </a:lnTo>
                          <a:lnTo>
                            <a:pt x="270" y="155"/>
                          </a:lnTo>
                          <a:lnTo>
                            <a:pt x="282" y="165"/>
                          </a:lnTo>
                          <a:lnTo>
                            <a:pt x="293" y="167"/>
                          </a:lnTo>
                          <a:lnTo>
                            <a:pt x="303" y="171"/>
                          </a:lnTo>
                          <a:lnTo>
                            <a:pt x="318" y="170"/>
                          </a:lnTo>
                          <a:lnTo>
                            <a:pt x="329" y="171"/>
                          </a:lnTo>
                          <a:lnTo>
                            <a:pt x="336" y="176"/>
                          </a:lnTo>
                          <a:lnTo>
                            <a:pt x="344" y="192"/>
                          </a:lnTo>
                          <a:lnTo>
                            <a:pt x="357" y="203"/>
                          </a:lnTo>
                          <a:lnTo>
                            <a:pt x="377" y="214"/>
                          </a:lnTo>
                          <a:lnTo>
                            <a:pt x="411" y="225"/>
                          </a:lnTo>
                          <a:lnTo>
                            <a:pt x="423" y="226"/>
                          </a:lnTo>
                          <a:lnTo>
                            <a:pt x="479" y="209"/>
                          </a:lnTo>
                          <a:lnTo>
                            <a:pt x="497" y="207"/>
                          </a:lnTo>
                          <a:lnTo>
                            <a:pt x="519" y="202"/>
                          </a:lnTo>
                          <a:lnTo>
                            <a:pt x="516" y="205"/>
                          </a:lnTo>
                          <a:lnTo>
                            <a:pt x="502" y="208"/>
                          </a:lnTo>
                          <a:lnTo>
                            <a:pt x="519" y="210"/>
                          </a:lnTo>
                          <a:lnTo>
                            <a:pt x="543" y="207"/>
                          </a:lnTo>
                          <a:lnTo>
                            <a:pt x="543" y="187"/>
                          </a:lnTo>
                          <a:lnTo>
                            <a:pt x="534" y="166"/>
                          </a:lnTo>
                          <a:lnTo>
                            <a:pt x="548" y="166"/>
                          </a:lnTo>
                          <a:lnTo>
                            <a:pt x="566" y="162"/>
                          </a:lnTo>
                          <a:lnTo>
                            <a:pt x="600" y="135"/>
                          </a:lnTo>
                          <a:lnTo>
                            <a:pt x="615" y="121"/>
                          </a:lnTo>
                          <a:lnTo>
                            <a:pt x="631" y="117"/>
                          </a:lnTo>
                          <a:lnTo>
                            <a:pt x="642" y="117"/>
                          </a:lnTo>
                          <a:lnTo>
                            <a:pt x="653" y="121"/>
                          </a:lnTo>
                          <a:lnTo>
                            <a:pt x="664" y="121"/>
                          </a:lnTo>
                          <a:lnTo>
                            <a:pt x="669" y="116"/>
                          </a:lnTo>
                          <a:lnTo>
                            <a:pt x="672" y="107"/>
                          </a:lnTo>
                          <a:lnTo>
                            <a:pt x="686" y="105"/>
                          </a:lnTo>
                          <a:lnTo>
                            <a:pt x="707" y="107"/>
                          </a:lnTo>
                          <a:lnTo>
                            <a:pt x="722" y="119"/>
                          </a:lnTo>
                          <a:lnTo>
                            <a:pt x="731" y="131"/>
                          </a:lnTo>
                          <a:lnTo>
                            <a:pt x="769" y="143"/>
                          </a:lnTo>
                          <a:lnTo>
                            <a:pt x="782" y="150"/>
                          </a:lnTo>
                          <a:lnTo>
                            <a:pt x="793" y="153"/>
                          </a:lnTo>
                          <a:lnTo>
                            <a:pt x="804" y="150"/>
                          </a:lnTo>
                          <a:lnTo>
                            <a:pt x="819" y="153"/>
                          </a:lnTo>
                          <a:lnTo>
                            <a:pt x="828" y="158"/>
                          </a:lnTo>
                          <a:lnTo>
                            <a:pt x="837" y="171"/>
                          </a:lnTo>
                          <a:lnTo>
                            <a:pt x="841" y="183"/>
                          </a:lnTo>
                          <a:lnTo>
                            <a:pt x="851" y="187"/>
                          </a:lnTo>
                          <a:lnTo>
                            <a:pt x="867" y="197"/>
                          </a:lnTo>
                          <a:lnTo>
                            <a:pt x="889" y="215"/>
                          </a:lnTo>
                          <a:lnTo>
                            <a:pt x="905" y="225"/>
                          </a:lnTo>
                          <a:lnTo>
                            <a:pt x="931" y="225"/>
                          </a:lnTo>
                          <a:lnTo>
                            <a:pt x="936" y="230"/>
                          </a:lnTo>
                          <a:lnTo>
                            <a:pt x="936" y="267"/>
                          </a:lnTo>
                          <a:lnTo>
                            <a:pt x="939" y="278"/>
                          </a:lnTo>
                          <a:lnTo>
                            <a:pt x="937" y="291"/>
                          </a:lnTo>
                          <a:lnTo>
                            <a:pt x="935" y="305"/>
                          </a:lnTo>
                          <a:lnTo>
                            <a:pt x="935" y="321"/>
                          </a:lnTo>
                          <a:lnTo>
                            <a:pt x="930" y="343"/>
                          </a:lnTo>
                          <a:lnTo>
                            <a:pt x="916" y="365"/>
                          </a:lnTo>
                          <a:lnTo>
                            <a:pt x="916" y="380"/>
                          </a:lnTo>
                          <a:lnTo>
                            <a:pt x="895" y="388"/>
                          </a:lnTo>
                          <a:lnTo>
                            <a:pt x="895" y="398"/>
                          </a:lnTo>
                          <a:lnTo>
                            <a:pt x="895" y="418"/>
                          </a:lnTo>
                          <a:lnTo>
                            <a:pt x="909" y="423"/>
                          </a:lnTo>
                          <a:lnTo>
                            <a:pt x="910" y="434"/>
                          </a:lnTo>
                          <a:lnTo>
                            <a:pt x="903" y="452"/>
                          </a:lnTo>
                          <a:lnTo>
                            <a:pt x="899" y="470"/>
                          </a:lnTo>
                          <a:lnTo>
                            <a:pt x="901" y="482"/>
                          </a:lnTo>
                          <a:lnTo>
                            <a:pt x="907" y="498"/>
                          </a:lnTo>
                          <a:lnTo>
                            <a:pt x="910" y="516"/>
                          </a:lnTo>
                          <a:lnTo>
                            <a:pt x="907" y="533"/>
                          </a:lnTo>
                          <a:lnTo>
                            <a:pt x="909" y="546"/>
                          </a:lnTo>
                          <a:lnTo>
                            <a:pt x="919" y="557"/>
                          </a:lnTo>
                          <a:lnTo>
                            <a:pt x="931" y="560"/>
                          </a:lnTo>
                          <a:lnTo>
                            <a:pt x="943" y="560"/>
                          </a:lnTo>
                          <a:lnTo>
                            <a:pt x="954" y="570"/>
                          </a:lnTo>
                          <a:lnTo>
                            <a:pt x="960" y="586"/>
                          </a:lnTo>
                          <a:lnTo>
                            <a:pt x="960" y="601"/>
                          </a:lnTo>
                          <a:lnTo>
                            <a:pt x="954" y="618"/>
                          </a:lnTo>
                          <a:lnTo>
                            <a:pt x="931" y="646"/>
                          </a:lnTo>
                          <a:lnTo>
                            <a:pt x="919" y="671"/>
                          </a:lnTo>
                          <a:lnTo>
                            <a:pt x="915" y="676"/>
                          </a:lnTo>
                          <a:lnTo>
                            <a:pt x="923" y="686"/>
                          </a:lnTo>
                          <a:lnTo>
                            <a:pt x="937" y="698"/>
                          </a:lnTo>
                          <a:lnTo>
                            <a:pt x="958" y="741"/>
                          </a:lnTo>
                          <a:lnTo>
                            <a:pt x="970" y="751"/>
                          </a:lnTo>
                          <a:lnTo>
                            <a:pt x="986" y="759"/>
                          </a:lnTo>
                          <a:lnTo>
                            <a:pt x="1013" y="768"/>
                          </a:lnTo>
                          <a:lnTo>
                            <a:pt x="1018" y="774"/>
                          </a:lnTo>
                          <a:lnTo>
                            <a:pt x="1023" y="800"/>
                          </a:lnTo>
                          <a:lnTo>
                            <a:pt x="1024" y="815"/>
                          </a:lnTo>
                          <a:lnTo>
                            <a:pt x="1023" y="829"/>
                          </a:lnTo>
                          <a:lnTo>
                            <a:pt x="1043" y="833"/>
                          </a:lnTo>
                          <a:lnTo>
                            <a:pt x="1048" y="838"/>
                          </a:lnTo>
                          <a:lnTo>
                            <a:pt x="1049" y="848"/>
                          </a:lnTo>
                          <a:lnTo>
                            <a:pt x="1046" y="854"/>
                          </a:lnTo>
                          <a:lnTo>
                            <a:pt x="1033" y="866"/>
                          </a:lnTo>
                          <a:lnTo>
                            <a:pt x="1021" y="869"/>
                          </a:lnTo>
                          <a:lnTo>
                            <a:pt x="1006" y="875"/>
                          </a:lnTo>
                          <a:lnTo>
                            <a:pt x="992" y="880"/>
                          </a:lnTo>
                          <a:lnTo>
                            <a:pt x="979" y="890"/>
                          </a:lnTo>
                          <a:lnTo>
                            <a:pt x="970" y="902"/>
                          </a:lnTo>
                          <a:lnTo>
                            <a:pt x="959" y="931"/>
                          </a:lnTo>
                          <a:lnTo>
                            <a:pt x="957" y="944"/>
                          </a:lnTo>
                          <a:lnTo>
                            <a:pt x="957" y="958"/>
                          </a:lnTo>
                          <a:close/>
                        </a:path>
                      </a:pathLst>
                    </a:custGeom>
                    <a:grpFill/>
                    <a:ln w="6350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txBody>
                    <a:bodyPr/>
                    <a:lstStyle/>
                    <a:p>
                      <a:endParaRPr lang="ru-RU" sz="1400"/>
                    </a:p>
                  </p:txBody>
                </p:sp>
              </p:grpSp>
              <p:sp>
                <p:nvSpPr>
                  <p:cNvPr id="537" name="Freeform 90"/>
                  <p:cNvSpPr>
                    <a:spLocks/>
                  </p:cNvSpPr>
                  <p:nvPr/>
                </p:nvSpPr>
                <p:spPr bwMode="gray">
                  <a:xfrm>
                    <a:off x="2941" y="2045"/>
                    <a:ext cx="107" cy="109"/>
                  </a:xfrm>
                  <a:custGeom>
                    <a:avLst/>
                    <a:gdLst>
                      <a:gd name="T0" fmla="*/ 21 w 534"/>
                      <a:gd name="T1" fmla="*/ 20 h 548"/>
                      <a:gd name="T2" fmla="*/ 20 w 534"/>
                      <a:gd name="T3" fmla="*/ 19 h 548"/>
                      <a:gd name="T4" fmla="*/ 20 w 534"/>
                      <a:gd name="T5" fmla="*/ 19 h 548"/>
                      <a:gd name="T6" fmla="*/ 19 w 534"/>
                      <a:gd name="T7" fmla="*/ 19 h 548"/>
                      <a:gd name="T8" fmla="*/ 18 w 534"/>
                      <a:gd name="T9" fmla="*/ 20 h 548"/>
                      <a:gd name="T10" fmla="*/ 17 w 534"/>
                      <a:gd name="T11" fmla="*/ 22 h 548"/>
                      <a:gd name="T12" fmla="*/ 11 w 534"/>
                      <a:gd name="T13" fmla="*/ 20 h 548"/>
                      <a:gd name="T14" fmla="*/ 11 w 534"/>
                      <a:gd name="T15" fmla="*/ 19 h 548"/>
                      <a:gd name="T16" fmla="*/ 9 w 534"/>
                      <a:gd name="T17" fmla="*/ 18 h 548"/>
                      <a:gd name="T18" fmla="*/ 9 w 534"/>
                      <a:gd name="T19" fmla="*/ 18 h 548"/>
                      <a:gd name="T20" fmla="*/ 4 w 534"/>
                      <a:gd name="T21" fmla="*/ 15 h 548"/>
                      <a:gd name="T22" fmla="*/ 0 w 534"/>
                      <a:gd name="T23" fmla="*/ 11 h 548"/>
                      <a:gd name="T24" fmla="*/ 2 w 534"/>
                      <a:gd name="T25" fmla="*/ 9 h 548"/>
                      <a:gd name="T26" fmla="*/ 4 w 534"/>
                      <a:gd name="T27" fmla="*/ 9 h 548"/>
                      <a:gd name="T28" fmla="*/ 4 w 534"/>
                      <a:gd name="T29" fmla="*/ 8 h 548"/>
                      <a:gd name="T30" fmla="*/ 5 w 534"/>
                      <a:gd name="T31" fmla="*/ 7 h 548"/>
                      <a:gd name="T32" fmla="*/ 6 w 534"/>
                      <a:gd name="T33" fmla="*/ 3 h 548"/>
                      <a:gd name="T34" fmla="*/ 8 w 534"/>
                      <a:gd name="T35" fmla="*/ 1 h 548"/>
                      <a:gd name="T36" fmla="*/ 9 w 534"/>
                      <a:gd name="T37" fmla="*/ 0 h 548"/>
                      <a:gd name="T38" fmla="*/ 11 w 534"/>
                      <a:gd name="T39" fmla="*/ 0 h 548"/>
                      <a:gd name="T40" fmla="*/ 12 w 534"/>
                      <a:gd name="T41" fmla="*/ 1 h 548"/>
                      <a:gd name="T42" fmla="*/ 13 w 534"/>
                      <a:gd name="T43" fmla="*/ 1 h 548"/>
                      <a:gd name="T44" fmla="*/ 14 w 534"/>
                      <a:gd name="T45" fmla="*/ 3 h 548"/>
                      <a:gd name="T46" fmla="*/ 15 w 534"/>
                      <a:gd name="T47" fmla="*/ 4 h 548"/>
                      <a:gd name="T48" fmla="*/ 16 w 534"/>
                      <a:gd name="T49" fmla="*/ 4 h 548"/>
                      <a:gd name="T50" fmla="*/ 16 w 534"/>
                      <a:gd name="T51" fmla="*/ 5 h 548"/>
                      <a:gd name="T52" fmla="*/ 16 w 534"/>
                      <a:gd name="T53" fmla="*/ 6 h 548"/>
                      <a:gd name="T54" fmla="*/ 15 w 534"/>
                      <a:gd name="T55" fmla="*/ 7 h 548"/>
                      <a:gd name="T56" fmla="*/ 15 w 534"/>
                      <a:gd name="T57" fmla="*/ 8 h 548"/>
                      <a:gd name="T58" fmla="*/ 15 w 534"/>
                      <a:gd name="T59" fmla="*/ 9 h 548"/>
                      <a:gd name="T60" fmla="*/ 14 w 534"/>
                      <a:gd name="T61" fmla="*/ 9 h 548"/>
                      <a:gd name="T62" fmla="*/ 15 w 534"/>
                      <a:gd name="T63" fmla="*/ 10 h 548"/>
                      <a:gd name="T64" fmla="*/ 15 w 534"/>
                      <a:gd name="T65" fmla="*/ 11 h 548"/>
                      <a:gd name="T66" fmla="*/ 16 w 534"/>
                      <a:gd name="T67" fmla="*/ 11 h 548"/>
                      <a:gd name="T68" fmla="*/ 16 w 534"/>
                      <a:gd name="T69" fmla="*/ 12 h 548"/>
                      <a:gd name="T70" fmla="*/ 17 w 534"/>
                      <a:gd name="T71" fmla="*/ 13 h 548"/>
                      <a:gd name="T72" fmla="*/ 18 w 534"/>
                      <a:gd name="T73" fmla="*/ 13 h 548"/>
                      <a:gd name="T74" fmla="*/ 19 w 534"/>
                      <a:gd name="T75" fmla="*/ 14 h 548"/>
                      <a:gd name="T76" fmla="*/ 20 w 534"/>
                      <a:gd name="T77" fmla="*/ 15 h 548"/>
                      <a:gd name="T78" fmla="*/ 19 w 534"/>
                      <a:gd name="T79" fmla="*/ 17 h 548"/>
                      <a:gd name="T80" fmla="*/ 20 w 534"/>
                      <a:gd name="T81" fmla="*/ 18 h 548"/>
                      <a:gd name="T82" fmla="*/ 20 w 534"/>
                      <a:gd name="T83" fmla="*/ 19 h 548"/>
                      <a:gd name="T84" fmla="*/ 21 w 534"/>
                      <a:gd name="T85" fmla="*/ 19 h 548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534"/>
                      <a:gd name="T130" fmla="*/ 0 h 548"/>
                      <a:gd name="T131" fmla="*/ 534 w 534"/>
                      <a:gd name="T132" fmla="*/ 548 h 548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534" h="548">
                        <a:moveTo>
                          <a:pt x="534" y="489"/>
                        </a:moveTo>
                        <a:lnTo>
                          <a:pt x="527" y="500"/>
                        </a:lnTo>
                        <a:lnTo>
                          <a:pt x="520" y="495"/>
                        </a:lnTo>
                        <a:lnTo>
                          <a:pt x="510" y="490"/>
                        </a:lnTo>
                        <a:lnTo>
                          <a:pt x="507" y="491"/>
                        </a:lnTo>
                        <a:lnTo>
                          <a:pt x="505" y="494"/>
                        </a:lnTo>
                        <a:lnTo>
                          <a:pt x="493" y="490"/>
                        </a:lnTo>
                        <a:lnTo>
                          <a:pt x="479" y="489"/>
                        </a:lnTo>
                        <a:lnTo>
                          <a:pt x="463" y="495"/>
                        </a:lnTo>
                        <a:lnTo>
                          <a:pt x="452" y="512"/>
                        </a:lnTo>
                        <a:lnTo>
                          <a:pt x="442" y="532"/>
                        </a:lnTo>
                        <a:lnTo>
                          <a:pt x="426" y="548"/>
                        </a:lnTo>
                        <a:lnTo>
                          <a:pt x="328" y="543"/>
                        </a:lnTo>
                        <a:lnTo>
                          <a:pt x="265" y="515"/>
                        </a:lnTo>
                        <a:lnTo>
                          <a:pt x="263" y="511"/>
                        </a:lnTo>
                        <a:lnTo>
                          <a:pt x="263" y="472"/>
                        </a:lnTo>
                        <a:lnTo>
                          <a:pt x="261" y="469"/>
                        </a:lnTo>
                        <a:lnTo>
                          <a:pt x="232" y="467"/>
                        </a:lnTo>
                        <a:lnTo>
                          <a:pt x="224" y="449"/>
                        </a:lnTo>
                        <a:lnTo>
                          <a:pt x="218" y="444"/>
                        </a:lnTo>
                        <a:lnTo>
                          <a:pt x="162" y="423"/>
                        </a:lnTo>
                        <a:lnTo>
                          <a:pt x="100" y="376"/>
                        </a:lnTo>
                        <a:lnTo>
                          <a:pt x="16" y="353"/>
                        </a:lnTo>
                        <a:lnTo>
                          <a:pt x="0" y="278"/>
                        </a:lnTo>
                        <a:lnTo>
                          <a:pt x="43" y="248"/>
                        </a:lnTo>
                        <a:lnTo>
                          <a:pt x="58" y="237"/>
                        </a:lnTo>
                        <a:lnTo>
                          <a:pt x="73" y="232"/>
                        </a:lnTo>
                        <a:lnTo>
                          <a:pt x="95" y="220"/>
                        </a:lnTo>
                        <a:lnTo>
                          <a:pt x="107" y="213"/>
                        </a:lnTo>
                        <a:lnTo>
                          <a:pt x="111" y="209"/>
                        </a:lnTo>
                        <a:lnTo>
                          <a:pt x="123" y="204"/>
                        </a:lnTo>
                        <a:lnTo>
                          <a:pt x="133" y="180"/>
                        </a:lnTo>
                        <a:lnTo>
                          <a:pt x="136" y="143"/>
                        </a:lnTo>
                        <a:lnTo>
                          <a:pt x="140" y="73"/>
                        </a:lnTo>
                        <a:lnTo>
                          <a:pt x="171" y="60"/>
                        </a:lnTo>
                        <a:lnTo>
                          <a:pt x="189" y="31"/>
                        </a:lnTo>
                        <a:lnTo>
                          <a:pt x="204" y="22"/>
                        </a:lnTo>
                        <a:lnTo>
                          <a:pt x="229" y="0"/>
                        </a:lnTo>
                        <a:lnTo>
                          <a:pt x="249" y="9"/>
                        </a:lnTo>
                        <a:lnTo>
                          <a:pt x="279" y="10"/>
                        </a:lnTo>
                        <a:lnTo>
                          <a:pt x="297" y="9"/>
                        </a:lnTo>
                        <a:lnTo>
                          <a:pt x="306" y="20"/>
                        </a:lnTo>
                        <a:lnTo>
                          <a:pt x="322" y="22"/>
                        </a:lnTo>
                        <a:lnTo>
                          <a:pt x="329" y="14"/>
                        </a:lnTo>
                        <a:lnTo>
                          <a:pt x="334" y="47"/>
                        </a:lnTo>
                        <a:lnTo>
                          <a:pt x="344" y="64"/>
                        </a:lnTo>
                        <a:lnTo>
                          <a:pt x="356" y="74"/>
                        </a:lnTo>
                        <a:lnTo>
                          <a:pt x="362" y="96"/>
                        </a:lnTo>
                        <a:lnTo>
                          <a:pt x="374" y="107"/>
                        </a:lnTo>
                        <a:lnTo>
                          <a:pt x="396" y="112"/>
                        </a:lnTo>
                        <a:lnTo>
                          <a:pt x="410" y="112"/>
                        </a:lnTo>
                        <a:lnTo>
                          <a:pt x="404" y="119"/>
                        </a:lnTo>
                        <a:lnTo>
                          <a:pt x="398" y="133"/>
                        </a:lnTo>
                        <a:lnTo>
                          <a:pt x="403" y="152"/>
                        </a:lnTo>
                        <a:lnTo>
                          <a:pt x="394" y="162"/>
                        </a:lnTo>
                        <a:lnTo>
                          <a:pt x="381" y="184"/>
                        </a:lnTo>
                        <a:lnTo>
                          <a:pt x="382" y="192"/>
                        </a:lnTo>
                        <a:lnTo>
                          <a:pt x="374" y="195"/>
                        </a:lnTo>
                        <a:lnTo>
                          <a:pt x="370" y="202"/>
                        </a:lnTo>
                        <a:lnTo>
                          <a:pt x="366" y="227"/>
                        </a:lnTo>
                        <a:lnTo>
                          <a:pt x="362" y="234"/>
                        </a:lnTo>
                        <a:lnTo>
                          <a:pt x="359" y="236"/>
                        </a:lnTo>
                        <a:lnTo>
                          <a:pt x="361" y="251"/>
                        </a:lnTo>
                        <a:lnTo>
                          <a:pt x="367" y="256"/>
                        </a:lnTo>
                        <a:lnTo>
                          <a:pt x="376" y="256"/>
                        </a:lnTo>
                        <a:lnTo>
                          <a:pt x="380" y="264"/>
                        </a:lnTo>
                        <a:lnTo>
                          <a:pt x="387" y="269"/>
                        </a:lnTo>
                        <a:lnTo>
                          <a:pt x="393" y="283"/>
                        </a:lnTo>
                        <a:lnTo>
                          <a:pt x="393" y="294"/>
                        </a:lnTo>
                        <a:lnTo>
                          <a:pt x="405" y="301"/>
                        </a:lnTo>
                        <a:lnTo>
                          <a:pt x="420" y="311"/>
                        </a:lnTo>
                        <a:lnTo>
                          <a:pt x="432" y="322"/>
                        </a:lnTo>
                        <a:lnTo>
                          <a:pt x="444" y="327"/>
                        </a:lnTo>
                        <a:lnTo>
                          <a:pt x="457" y="331"/>
                        </a:lnTo>
                        <a:lnTo>
                          <a:pt x="466" y="340"/>
                        </a:lnTo>
                        <a:lnTo>
                          <a:pt x="473" y="355"/>
                        </a:lnTo>
                        <a:lnTo>
                          <a:pt x="480" y="367"/>
                        </a:lnTo>
                        <a:lnTo>
                          <a:pt x="487" y="381"/>
                        </a:lnTo>
                        <a:lnTo>
                          <a:pt x="483" y="408"/>
                        </a:lnTo>
                        <a:lnTo>
                          <a:pt x="482" y="429"/>
                        </a:lnTo>
                        <a:lnTo>
                          <a:pt x="495" y="436"/>
                        </a:lnTo>
                        <a:lnTo>
                          <a:pt x="499" y="456"/>
                        </a:lnTo>
                        <a:lnTo>
                          <a:pt x="504" y="464"/>
                        </a:lnTo>
                        <a:lnTo>
                          <a:pt x="511" y="472"/>
                        </a:lnTo>
                        <a:lnTo>
                          <a:pt x="531" y="487"/>
                        </a:lnTo>
                        <a:lnTo>
                          <a:pt x="534" y="489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38" name="Freeform 91"/>
                  <p:cNvSpPr>
                    <a:spLocks/>
                  </p:cNvSpPr>
                  <p:nvPr/>
                </p:nvSpPr>
                <p:spPr bwMode="gray">
                  <a:xfrm>
                    <a:off x="3072" y="2191"/>
                    <a:ext cx="9" cy="20"/>
                  </a:xfrm>
                  <a:custGeom>
                    <a:avLst/>
                    <a:gdLst>
                      <a:gd name="T0" fmla="*/ 1 w 45"/>
                      <a:gd name="T1" fmla="*/ 4 h 98"/>
                      <a:gd name="T2" fmla="*/ 1 w 45"/>
                      <a:gd name="T3" fmla="*/ 4 h 98"/>
                      <a:gd name="T4" fmla="*/ 2 w 45"/>
                      <a:gd name="T5" fmla="*/ 4 h 98"/>
                      <a:gd name="T6" fmla="*/ 2 w 45"/>
                      <a:gd name="T7" fmla="*/ 3 h 98"/>
                      <a:gd name="T8" fmla="*/ 2 w 45"/>
                      <a:gd name="T9" fmla="*/ 3 h 98"/>
                      <a:gd name="T10" fmla="*/ 2 w 45"/>
                      <a:gd name="T11" fmla="*/ 3 h 98"/>
                      <a:gd name="T12" fmla="*/ 2 w 45"/>
                      <a:gd name="T13" fmla="*/ 2 h 98"/>
                      <a:gd name="T14" fmla="*/ 2 w 45"/>
                      <a:gd name="T15" fmla="*/ 2 h 98"/>
                      <a:gd name="T16" fmla="*/ 2 w 45"/>
                      <a:gd name="T17" fmla="*/ 2 h 98"/>
                      <a:gd name="T18" fmla="*/ 2 w 45"/>
                      <a:gd name="T19" fmla="*/ 1 h 98"/>
                      <a:gd name="T20" fmla="*/ 2 w 45"/>
                      <a:gd name="T21" fmla="*/ 1 h 98"/>
                      <a:gd name="T22" fmla="*/ 2 w 45"/>
                      <a:gd name="T23" fmla="*/ 1 h 98"/>
                      <a:gd name="T24" fmla="*/ 2 w 45"/>
                      <a:gd name="T25" fmla="*/ 1 h 98"/>
                      <a:gd name="T26" fmla="*/ 2 w 45"/>
                      <a:gd name="T27" fmla="*/ 1 h 98"/>
                      <a:gd name="T28" fmla="*/ 2 w 45"/>
                      <a:gd name="T29" fmla="*/ 1 h 98"/>
                      <a:gd name="T30" fmla="*/ 2 w 45"/>
                      <a:gd name="T31" fmla="*/ 1 h 98"/>
                      <a:gd name="T32" fmla="*/ 1 w 45"/>
                      <a:gd name="T33" fmla="*/ 0 h 98"/>
                      <a:gd name="T34" fmla="*/ 1 w 45"/>
                      <a:gd name="T35" fmla="*/ 0 h 98"/>
                      <a:gd name="T36" fmla="*/ 1 w 45"/>
                      <a:gd name="T37" fmla="*/ 0 h 98"/>
                      <a:gd name="T38" fmla="*/ 1 w 45"/>
                      <a:gd name="T39" fmla="*/ 0 h 98"/>
                      <a:gd name="T40" fmla="*/ 1 w 45"/>
                      <a:gd name="T41" fmla="*/ 0 h 98"/>
                      <a:gd name="T42" fmla="*/ 1 w 45"/>
                      <a:gd name="T43" fmla="*/ 0 h 98"/>
                      <a:gd name="T44" fmla="*/ 1 w 45"/>
                      <a:gd name="T45" fmla="*/ 0 h 98"/>
                      <a:gd name="T46" fmla="*/ 0 w 45"/>
                      <a:gd name="T47" fmla="*/ 1 h 98"/>
                      <a:gd name="T48" fmla="*/ 0 w 45"/>
                      <a:gd name="T49" fmla="*/ 1 h 98"/>
                      <a:gd name="T50" fmla="*/ 0 w 45"/>
                      <a:gd name="T51" fmla="*/ 2 h 98"/>
                      <a:gd name="T52" fmla="*/ 0 w 45"/>
                      <a:gd name="T53" fmla="*/ 2 h 98"/>
                      <a:gd name="T54" fmla="*/ 0 w 45"/>
                      <a:gd name="T55" fmla="*/ 2 h 98"/>
                      <a:gd name="T56" fmla="*/ 0 w 45"/>
                      <a:gd name="T57" fmla="*/ 2 h 98"/>
                      <a:gd name="T58" fmla="*/ 0 w 45"/>
                      <a:gd name="T59" fmla="*/ 3 h 98"/>
                      <a:gd name="T60" fmla="*/ 0 w 45"/>
                      <a:gd name="T61" fmla="*/ 3 h 98"/>
                      <a:gd name="T62" fmla="*/ 0 w 45"/>
                      <a:gd name="T63" fmla="*/ 3 h 98"/>
                      <a:gd name="T64" fmla="*/ 0 w 45"/>
                      <a:gd name="T65" fmla="*/ 3 h 98"/>
                      <a:gd name="T66" fmla="*/ 0 w 45"/>
                      <a:gd name="T67" fmla="*/ 3 h 98"/>
                      <a:gd name="T68" fmla="*/ 0 w 45"/>
                      <a:gd name="T69" fmla="*/ 3 h 98"/>
                      <a:gd name="T70" fmla="*/ 0 w 45"/>
                      <a:gd name="T71" fmla="*/ 3 h 98"/>
                      <a:gd name="T72" fmla="*/ 0 w 45"/>
                      <a:gd name="T73" fmla="*/ 4 h 98"/>
                      <a:gd name="T74" fmla="*/ 1 w 45"/>
                      <a:gd name="T75" fmla="*/ 4 h 98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w 45"/>
                      <a:gd name="T115" fmla="*/ 0 h 98"/>
                      <a:gd name="T116" fmla="*/ 45 w 45"/>
                      <a:gd name="T117" fmla="*/ 98 h 98"/>
                    </a:gdLst>
                    <a:ahLst/>
                    <a:cxnLst>
                      <a:cxn ang="T76">
                        <a:pos x="T0" y="T1"/>
                      </a:cxn>
                      <a:cxn ang="T77">
                        <a:pos x="T2" y="T3"/>
                      </a:cxn>
                      <a:cxn ang="T78">
                        <a:pos x="T4" y="T5"/>
                      </a:cxn>
                      <a:cxn ang="T79">
                        <a:pos x="T6" y="T7"/>
                      </a:cxn>
                      <a:cxn ang="T80">
                        <a:pos x="T8" y="T9"/>
                      </a:cxn>
                      <a:cxn ang="T81">
                        <a:pos x="T10" y="T11"/>
                      </a:cxn>
                      <a:cxn ang="T82">
                        <a:pos x="T12" y="T13"/>
                      </a:cxn>
                      <a:cxn ang="T83">
                        <a:pos x="T14" y="T15"/>
                      </a:cxn>
                      <a:cxn ang="T84">
                        <a:pos x="T16" y="T17"/>
                      </a:cxn>
                      <a:cxn ang="T85">
                        <a:pos x="T18" y="T19"/>
                      </a:cxn>
                      <a:cxn ang="T86">
                        <a:pos x="T20" y="T21"/>
                      </a:cxn>
                      <a:cxn ang="T87">
                        <a:pos x="T22" y="T23"/>
                      </a:cxn>
                      <a:cxn ang="T88">
                        <a:pos x="T24" y="T25"/>
                      </a:cxn>
                      <a:cxn ang="T89">
                        <a:pos x="T26" y="T27"/>
                      </a:cxn>
                      <a:cxn ang="T90">
                        <a:pos x="T28" y="T29"/>
                      </a:cxn>
                      <a:cxn ang="T91">
                        <a:pos x="T30" y="T31"/>
                      </a:cxn>
                      <a:cxn ang="T92">
                        <a:pos x="T32" y="T33"/>
                      </a:cxn>
                      <a:cxn ang="T93">
                        <a:pos x="T34" y="T35"/>
                      </a:cxn>
                      <a:cxn ang="T94">
                        <a:pos x="T36" y="T37"/>
                      </a:cxn>
                      <a:cxn ang="T95">
                        <a:pos x="T38" y="T39"/>
                      </a:cxn>
                      <a:cxn ang="T96">
                        <a:pos x="T40" y="T41"/>
                      </a:cxn>
                      <a:cxn ang="T97">
                        <a:pos x="T42" y="T43"/>
                      </a:cxn>
                      <a:cxn ang="T98">
                        <a:pos x="T44" y="T45"/>
                      </a:cxn>
                      <a:cxn ang="T99">
                        <a:pos x="T46" y="T47"/>
                      </a:cxn>
                      <a:cxn ang="T100">
                        <a:pos x="T48" y="T49"/>
                      </a:cxn>
                      <a:cxn ang="T101">
                        <a:pos x="T50" y="T51"/>
                      </a:cxn>
                      <a:cxn ang="T102">
                        <a:pos x="T52" y="T53"/>
                      </a:cxn>
                      <a:cxn ang="T103">
                        <a:pos x="T54" y="T55"/>
                      </a:cxn>
                      <a:cxn ang="T104">
                        <a:pos x="T56" y="T57"/>
                      </a:cxn>
                      <a:cxn ang="T105">
                        <a:pos x="T58" y="T59"/>
                      </a:cxn>
                      <a:cxn ang="T106">
                        <a:pos x="T60" y="T61"/>
                      </a:cxn>
                      <a:cxn ang="T107">
                        <a:pos x="T62" y="T63"/>
                      </a:cxn>
                      <a:cxn ang="T108">
                        <a:pos x="T64" y="T65"/>
                      </a:cxn>
                      <a:cxn ang="T109">
                        <a:pos x="T66" y="T67"/>
                      </a:cxn>
                      <a:cxn ang="T110">
                        <a:pos x="T68" y="T69"/>
                      </a:cxn>
                      <a:cxn ang="T111">
                        <a:pos x="T70" y="T71"/>
                      </a:cxn>
                      <a:cxn ang="T112">
                        <a:pos x="T72" y="T73"/>
                      </a:cxn>
                      <a:cxn ang="T113">
                        <a:pos x="T74" y="T75"/>
                      </a:cxn>
                    </a:cxnLst>
                    <a:rect l="T114" t="T115" r="T116" b="T117"/>
                    <a:pathLst>
                      <a:path w="45" h="98">
                        <a:moveTo>
                          <a:pt x="16" y="98"/>
                        </a:moveTo>
                        <a:lnTo>
                          <a:pt x="35" y="90"/>
                        </a:lnTo>
                        <a:lnTo>
                          <a:pt x="38" y="87"/>
                        </a:lnTo>
                        <a:lnTo>
                          <a:pt x="39" y="81"/>
                        </a:lnTo>
                        <a:lnTo>
                          <a:pt x="43" y="74"/>
                        </a:lnTo>
                        <a:lnTo>
                          <a:pt x="44" y="70"/>
                        </a:lnTo>
                        <a:lnTo>
                          <a:pt x="44" y="55"/>
                        </a:lnTo>
                        <a:lnTo>
                          <a:pt x="40" y="50"/>
                        </a:lnTo>
                        <a:lnTo>
                          <a:pt x="40" y="42"/>
                        </a:lnTo>
                        <a:lnTo>
                          <a:pt x="40" y="33"/>
                        </a:lnTo>
                        <a:lnTo>
                          <a:pt x="43" y="32"/>
                        </a:lnTo>
                        <a:lnTo>
                          <a:pt x="41" y="29"/>
                        </a:lnTo>
                        <a:lnTo>
                          <a:pt x="44" y="25"/>
                        </a:lnTo>
                        <a:lnTo>
                          <a:pt x="44" y="21"/>
                        </a:lnTo>
                        <a:lnTo>
                          <a:pt x="45" y="16"/>
                        </a:lnTo>
                        <a:lnTo>
                          <a:pt x="43" y="15"/>
                        </a:lnTo>
                        <a:lnTo>
                          <a:pt x="36" y="12"/>
                        </a:lnTo>
                        <a:lnTo>
                          <a:pt x="34" y="10"/>
                        </a:lnTo>
                        <a:lnTo>
                          <a:pt x="34" y="6"/>
                        </a:lnTo>
                        <a:lnTo>
                          <a:pt x="30" y="4"/>
                        </a:lnTo>
                        <a:lnTo>
                          <a:pt x="24" y="0"/>
                        </a:lnTo>
                        <a:lnTo>
                          <a:pt x="18" y="4"/>
                        </a:lnTo>
                        <a:lnTo>
                          <a:pt x="13" y="12"/>
                        </a:lnTo>
                        <a:lnTo>
                          <a:pt x="11" y="26"/>
                        </a:lnTo>
                        <a:lnTo>
                          <a:pt x="7" y="36"/>
                        </a:lnTo>
                        <a:lnTo>
                          <a:pt x="1" y="43"/>
                        </a:lnTo>
                        <a:lnTo>
                          <a:pt x="1" y="50"/>
                        </a:lnTo>
                        <a:lnTo>
                          <a:pt x="0" y="55"/>
                        </a:lnTo>
                        <a:lnTo>
                          <a:pt x="2" y="58"/>
                        </a:lnTo>
                        <a:lnTo>
                          <a:pt x="0" y="63"/>
                        </a:lnTo>
                        <a:lnTo>
                          <a:pt x="1" y="66"/>
                        </a:lnTo>
                        <a:lnTo>
                          <a:pt x="5" y="74"/>
                        </a:lnTo>
                        <a:lnTo>
                          <a:pt x="2" y="77"/>
                        </a:lnTo>
                        <a:lnTo>
                          <a:pt x="5" y="80"/>
                        </a:lnTo>
                        <a:lnTo>
                          <a:pt x="3" y="84"/>
                        </a:lnTo>
                        <a:lnTo>
                          <a:pt x="2" y="85"/>
                        </a:lnTo>
                        <a:lnTo>
                          <a:pt x="9" y="97"/>
                        </a:lnTo>
                        <a:lnTo>
                          <a:pt x="16" y="98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39" name="Freeform 92"/>
                  <p:cNvSpPr>
                    <a:spLocks/>
                  </p:cNvSpPr>
                  <p:nvPr/>
                </p:nvSpPr>
                <p:spPr bwMode="gray">
                  <a:xfrm>
                    <a:off x="3075" y="2192"/>
                    <a:ext cx="58" cy="43"/>
                  </a:xfrm>
                  <a:custGeom>
                    <a:avLst/>
                    <a:gdLst>
                      <a:gd name="T0" fmla="*/ 9 w 288"/>
                      <a:gd name="T1" fmla="*/ 9 h 215"/>
                      <a:gd name="T2" fmla="*/ 1 w 288"/>
                      <a:gd name="T3" fmla="*/ 5 h 215"/>
                      <a:gd name="T4" fmla="*/ 0 w 288"/>
                      <a:gd name="T5" fmla="*/ 4 h 215"/>
                      <a:gd name="T6" fmla="*/ 1 w 288"/>
                      <a:gd name="T7" fmla="*/ 4 h 215"/>
                      <a:gd name="T8" fmla="*/ 1 w 288"/>
                      <a:gd name="T9" fmla="*/ 4 h 215"/>
                      <a:gd name="T10" fmla="*/ 1 w 288"/>
                      <a:gd name="T11" fmla="*/ 4 h 215"/>
                      <a:gd name="T12" fmla="*/ 1 w 288"/>
                      <a:gd name="T13" fmla="*/ 4 h 215"/>
                      <a:gd name="T14" fmla="*/ 1 w 288"/>
                      <a:gd name="T15" fmla="*/ 4 h 215"/>
                      <a:gd name="T16" fmla="*/ 2 w 288"/>
                      <a:gd name="T17" fmla="*/ 5 h 215"/>
                      <a:gd name="T18" fmla="*/ 3 w 288"/>
                      <a:gd name="T19" fmla="*/ 5 h 215"/>
                      <a:gd name="T20" fmla="*/ 3 w 288"/>
                      <a:gd name="T21" fmla="*/ 5 h 215"/>
                      <a:gd name="T22" fmla="*/ 4 w 288"/>
                      <a:gd name="T23" fmla="*/ 5 h 215"/>
                      <a:gd name="T24" fmla="*/ 5 w 288"/>
                      <a:gd name="T25" fmla="*/ 5 h 215"/>
                      <a:gd name="T26" fmla="*/ 6 w 288"/>
                      <a:gd name="T27" fmla="*/ 5 h 215"/>
                      <a:gd name="T28" fmla="*/ 7 w 288"/>
                      <a:gd name="T29" fmla="*/ 4 h 215"/>
                      <a:gd name="T30" fmla="*/ 7 w 288"/>
                      <a:gd name="T31" fmla="*/ 4 h 215"/>
                      <a:gd name="T32" fmla="*/ 7 w 288"/>
                      <a:gd name="T33" fmla="*/ 4 h 215"/>
                      <a:gd name="T34" fmla="*/ 7 w 288"/>
                      <a:gd name="T35" fmla="*/ 4 h 215"/>
                      <a:gd name="T36" fmla="*/ 8 w 288"/>
                      <a:gd name="T37" fmla="*/ 4 h 215"/>
                      <a:gd name="T38" fmla="*/ 8 w 288"/>
                      <a:gd name="T39" fmla="*/ 4 h 215"/>
                      <a:gd name="T40" fmla="*/ 8 w 288"/>
                      <a:gd name="T41" fmla="*/ 3 h 215"/>
                      <a:gd name="T42" fmla="*/ 8 w 288"/>
                      <a:gd name="T43" fmla="*/ 3 h 215"/>
                      <a:gd name="T44" fmla="*/ 9 w 288"/>
                      <a:gd name="T45" fmla="*/ 3 h 215"/>
                      <a:gd name="T46" fmla="*/ 9 w 288"/>
                      <a:gd name="T47" fmla="*/ 2 h 215"/>
                      <a:gd name="T48" fmla="*/ 9 w 288"/>
                      <a:gd name="T49" fmla="*/ 2 h 215"/>
                      <a:gd name="T50" fmla="*/ 10 w 288"/>
                      <a:gd name="T51" fmla="*/ 2 h 215"/>
                      <a:gd name="T52" fmla="*/ 10 w 288"/>
                      <a:gd name="T53" fmla="*/ 2 h 215"/>
                      <a:gd name="T54" fmla="*/ 10 w 288"/>
                      <a:gd name="T55" fmla="*/ 1 h 215"/>
                      <a:gd name="T56" fmla="*/ 10 w 288"/>
                      <a:gd name="T57" fmla="*/ 1 h 215"/>
                      <a:gd name="T58" fmla="*/ 11 w 288"/>
                      <a:gd name="T59" fmla="*/ 0 h 215"/>
                      <a:gd name="T60" fmla="*/ 11 w 288"/>
                      <a:gd name="T61" fmla="*/ 0 h 215"/>
                      <a:gd name="T62" fmla="*/ 11 w 288"/>
                      <a:gd name="T63" fmla="*/ 0 h 215"/>
                      <a:gd name="T64" fmla="*/ 11 w 288"/>
                      <a:gd name="T65" fmla="*/ 1 h 215"/>
                      <a:gd name="T66" fmla="*/ 11 w 288"/>
                      <a:gd name="T67" fmla="*/ 1 h 215"/>
                      <a:gd name="T68" fmla="*/ 12 w 288"/>
                      <a:gd name="T69" fmla="*/ 3 h 215"/>
                      <a:gd name="T70" fmla="*/ 10 w 288"/>
                      <a:gd name="T71" fmla="*/ 3 h 215"/>
                      <a:gd name="T72" fmla="*/ 10 w 288"/>
                      <a:gd name="T73" fmla="*/ 5 h 215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w 288"/>
                      <a:gd name="T112" fmla="*/ 0 h 215"/>
                      <a:gd name="T113" fmla="*/ 288 w 288"/>
                      <a:gd name="T114" fmla="*/ 215 h 215"/>
                    </a:gdLst>
                    <a:ahLst/>
                    <a:cxnLst>
                      <a:cxn ang="T74">
                        <a:pos x="T0" y="T1"/>
                      </a:cxn>
                      <a:cxn ang="T75">
                        <a:pos x="T2" y="T3"/>
                      </a:cxn>
                      <a:cxn ang="T76">
                        <a:pos x="T4" y="T5"/>
                      </a:cxn>
                      <a:cxn ang="T77">
                        <a:pos x="T6" y="T7"/>
                      </a:cxn>
                      <a:cxn ang="T78">
                        <a:pos x="T8" y="T9"/>
                      </a:cxn>
                      <a:cxn ang="T79">
                        <a:pos x="T10" y="T11"/>
                      </a:cxn>
                      <a:cxn ang="T80">
                        <a:pos x="T12" y="T13"/>
                      </a:cxn>
                      <a:cxn ang="T81">
                        <a:pos x="T14" y="T15"/>
                      </a:cxn>
                      <a:cxn ang="T82">
                        <a:pos x="T16" y="T17"/>
                      </a:cxn>
                      <a:cxn ang="T83">
                        <a:pos x="T18" y="T19"/>
                      </a:cxn>
                      <a:cxn ang="T84">
                        <a:pos x="T20" y="T21"/>
                      </a:cxn>
                      <a:cxn ang="T85">
                        <a:pos x="T22" y="T23"/>
                      </a:cxn>
                      <a:cxn ang="T86">
                        <a:pos x="T24" y="T25"/>
                      </a:cxn>
                      <a:cxn ang="T87">
                        <a:pos x="T26" y="T27"/>
                      </a:cxn>
                      <a:cxn ang="T88">
                        <a:pos x="T28" y="T29"/>
                      </a:cxn>
                      <a:cxn ang="T89">
                        <a:pos x="T30" y="T31"/>
                      </a:cxn>
                      <a:cxn ang="T90">
                        <a:pos x="T32" y="T33"/>
                      </a:cxn>
                      <a:cxn ang="T91">
                        <a:pos x="T34" y="T35"/>
                      </a:cxn>
                      <a:cxn ang="T92">
                        <a:pos x="T36" y="T37"/>
                      </a:cxn>
                      <a:cxn ang="T93">
                        <a:pos x="T38" y="T39"/>
                      </a:cxn>
                      <a:cxn ang="T94">
                        <a:pos x="T40" y="T41"/>
                      </a:cxn>
                      <a:cxn ang="T95">
                        <a:pos x="T42" y="T43"/>
                      </a:cxn>
                      <a:cxn ang="T96">
                        <a:pos x="T44" y="T45"/>
                      </a:cxn>
                      <a:cxn ang="T97">
                        <a:pos x="T46" y="T47"/>
                      </a:cxn>
                      <a:cxn ang="T98">
                        <a:pos x="T48" y="T49"/>
                      </a:cxn>
                      <a:cxn ang="T99">
                        <a:pos x="T50" y="T51"/>
                      </a:cxn>
                      <a:cxn ang="T100">
                        <a:pos x="T52" y="T53"/>
                      </a:cxn>
                      <a:cxn ang="T101">
                        <a:pos x="T54" y="T55"/>
                      </a:cxn>
                      <a:cxn ang="T102">
                        <a:pos x="T56" y="T57"/>
                      </a:cxn>
                      <a:cxn ang="T103">
                        <a:pos x="T58" y="T59"/>
                      </a:cxn>
                      <a:cxn ang="T104">
                        <a:pos x="T60" y="T61"/>
                      </a:cxn>
                      <a:cxn ang="T105">
                        <a:pos x="T62" y="T63"/>
                      </a:cxn>
                      <a:cxn ang="T106">
                        <a:pos x="T64" y="T65"/>
                      </a:cxn>
                      <a:cxn ang="T107">
                        <a:pos x="T66" y="T67"/>
                      </a:cxn>
                      <a:cxn ang="T108">
                        <a:pos x="T68" y="T69"/>
                      </a:cxn>
                      <a:cxn ang="T109">
                        <a:pos x="T70" y="T71"/>
                      </a:cxn>
                      <a:cxn ang="T110">
                        <a:pos x="T72" y="T73"/>
                      </a:cxn>
                    </a:cxnLst>
                    <a:rect l="T111" t="T112" r="T113" b="T114"/>
                    <a:pathLst>
                      <a:path w="288" h="215">
                        <a:moveTo>
                          <a:pt x="228" y="203"/>
                        </a:moveTo>
                        <a:lnTo>
                          <a:pt x="217" y="215"/>
                        </a:lnTo>
                        <a:lnTo>
                          <a:pt x="52" y="184"/>
                        </a:lnTo>
                        <a:lnTo>
                          <a:pt x="36" y="136"/>
                        </a:lnTo>
                        <a:lnTo>
                          <a:pt x="3" y="107"/>
                        </a:lnTo>
                        <a:lnTo>
                          <a:pt x="0" y="92"/>
                        </a:lnTo>
                        <a:lnTo>
                          <a:pt x="19" y="84"/>
                        </a:lnTo>
                        <a:lnTo>
                          <a:pt x="17" y="89"/>
                        </a:lnTo>
                        <a:lnTo>
                          <a:pt x="17" y="92"/>
                        </a:lnTo>
                        <a:lnTo>
                          <a:pt x="20" y="95"/>
                        </a:lnTo>
                        <a:lnTo>
                          <a:pt x="17" y="100"/>
                        </a:lnTo>
                        <a:lnTo>
                          <a:pt x="17" y="107"/>
                        </a:lnTo>
                        <a:lnTo>
                          <a:pt x="24" y="107"/>
                        </a:lnTo>
                        <a:lnTo>
                          <a:pt x="30" y="109"/>
                        </a:lnTo>
                        <a:lnTo>
                          <a:pt x="34" y="107"/>
                        </a:lnTo>
                        <a:lnTo>
                          <a:pt x="35" y="107"/>
                        </a:lnTo>
                        <a:lnTo>
                          <a:pt x="36" y="118"/>
                        </a:lnTo>
                        <a:lnTo>
                          <a:pt x="41" y="122"/>
                        </a:lnTo>
                        <a:lnTo>
                          <a:pt x="55" y="124"/>
                        </a:lnTo>
                        <a:lnTo>
                          <a:pt x="70" y="124"/>
                        </a:lnTo>
                        <a:lnTo>
                          <a:pt x="73" y="123"/>
                        </a:lnTo>
                        <a:lnTo>
                          <a:pt x="79" y="118"/>
                        </a:lnTo>
                        <a:lnTo>
                          <a:pt x="88" y="112"/>
                        </a:lnTo>
                        <a:lnTo>
                          <a:pt x="110" y="114"/>
                        </a:lnTo>
                        <a:lnTo>
                          <a:pt x="119" y="118"/>
                        </a:lnTo>
                        <a:lnTo>
                          <a:pt x="125" y="118"/>
                        </a:lnTo>
                        <a:lnTo>
                          <a:pt x="135" y="121"/>
                        </a:lnTo>
                        <a:lnTo>
                          <a:pt x="159" y="119"/>
                        </a:lnTo>
                        <a:lnTo>
                          <a:pt x="164" y="116"/>
                        </a:lnTo>
                        <a:lnTo>
                          <a:pt x="169" y="109"/>
                        </a:lnTo>
                        <a:lnTo>
                          <a:pt x="178" y="107"/>
                        </a:lnTo>
                        <a:lnTo>
                          <a:pt x="180" y="106"/>
                        </a:lnTo>
                        <a:lnTo>
                          <a:pt x="185" y="103"/>
                        </a:lnTo>
                        <a:lnTo>
                          <a:pt x="186" y="102"/>
                        </a:lnTo>
                        <a:lnTo>
                          <a:pt x="184" y="98"/>
                        </a:lnTo>
                        <a:lnTo>
                          <a:pt x="184" y="97"/>
                        </a:lnTo>
                        <a:lnTo>
                          <a:pt x="184" y="96"/>
                        </a:lnTo>
                        <a:lnTo>
                          <a:pt x="192" y="95"/>
                        </a:lnTo>
                        <a:lnTo>
                          <a:pt x="191" y="92"/>
                        </a:lnTo>
                        <a:lnTo>
                          <a:pt x="195" y="91"/>
                        </a:lnTo>
                        <a:lnTo>
                          <a:pt x="194" y="87"/>
                        </a:lnTo>
                        <a:lnTo>
                          <a:pt x="197" y="84"/>
                        </a:lnTo>
                        <a:lnTo>
                          <a:pt x="197" y="80"/>
                        </a:lnTo>
                        <a:lnTo>
                          <a:pt x="201" y="76"/>
                        </a:lnTo>
                        <a:lnTo>
                          <a:pt x="211" y="73"/>
                        </a:lnTo>
                        <a:lnTo>
                          <a:pt x="213" y="65"/>
                        </a:lnTo>
                        <a:lnTo>
                          <a:pt x="217" y="63"/>
                        </a:lnTo>
                        <a:lnTo>
                          <a:pt x="219" y="59"/>
                        </a:lnTo>
                        <a:lnTo>
                          <a:pt x="228" y="53"/>
                        </a:lnTo>
                        <a:lnTo>
                          <a:pt x="233" y="48"/>
                        </a:lnTo>
                        <a:lnTo>
                          <a:pt x="237" y="46"/>
                        </a:lnTo>
                        <a:lnTo>
                          <a:pt x="238" y="43"/>
                        </a:lnTo>
                        <a:lnTo>
                          <a:pt x="239" y="42"/>
                        </a:lnTo>
                        <a:lnTo>
                          <a:pt x="240" y="39"/>
                        </a:lnTo>
                        <a:lnTo>
                          <a:pt x="245" y="35"/>
                        </a:lnTo>
                        <a:lnTo>
                          <a:pt x="245" y="32"/>
                        </a:lnTo>
                        <a:lnTo>
                          <a:pt x="248" y="31"/>
                        </a:lnTo>
                        <a:lnTo>
                          <a:pt x="249" y="27"/>
                        </a:lnTo>
                        <a:lnTo>
                          <a:pt x="259" y="21"/>
                        </a:lnTo>
                        <a:lnTo>
                          <a:pt x="270" y="10"/>
                        </a:lnTo>
                        <a:lnTo>
                          <a:pt x="274" y="0"/>
                        </a:lnTo>
                        <a:lnTo>
                          <a:pt x="275" y="4"/>
                        </a:lnTo>
                        <a:lnTo>
                          <a:pt x="277" y="10"/>
                        </a:lnTo>
                        <a:lnTo>
                          <a:pt x="276" y="12"/>
                        </a:lnTo>
                        <a:lnTo>
                          <a:pt x="277" y="16"/>
                        </a:lnTo>
                        <a:lnTo>
                          <a:pt x="275" y="21"/>
                        </a:lnTo>
                        <a:lnTo>
                          <a:pt x="277" y="22"/>
                        </a:lnTo>
                        <a:lnTo>
                          <a:pt x="285" y="25"/>
                        </a:lnTo>
                        <a:lnTo>
                          <a:pt x="288" y="31"/>
                        </a:lnTo>
                        <a:lnTo>
                          <a:pt x="287" y="64"/>
                        </a:lnTo>
                        <a:lnTo>
                          <a:pt x="288" y="73"/>
                        </a:lnTo>
                        <a:lnTo>
                          <a:pt x="255" y="73"/>
                        </a:lnTo>
                        <a:lnTo>
                          <a:pt x="272" y="119"/>
                        </a:lnTo>
                        <a:lnTo>
                          <a:pt x="239" y="132"/>
                        </a:lnTo>
                        <a:lnTo>
                          <a:pt x="228" y="203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grpSp>
                <p:nvGrpSpPr>
                  <p:cNvPr id="540" name="Group 93"/>
                  <p:cNvGrpSpPr>
                    <a:grpSpLocks/>
                  </p:cNvGrpSpPr>
                  <p:nvPr/>
                </p:nvGrpSpPr>
                <p:grpSpPr bwMode="auto">
                  <a:xfrm>
                    <a:off x="2802" y="1979"/>
                    <a:ext cx="205" cy="88"/>
                    <a:chOff x="2802" y="1979"/>
                    <a:chExt cx="205" cy="88"/>
                  </a:xfrm>
                  <a:grpFill/>
                </p:grpSpPr>
                <p:sp>
                  <p:nvSpPr>
                    <p:cNvPr id="544" name="Freeform 94"/>
                    <p:cNvSpPr>
                      <a:spLocks/>
                    </p:cNvSpPr>
                    <p:nvPr/>
                  </p:nvSpPr>
                  <p:spPr bwMode="gray">
                    <a:xfrm>
                      <a:off x="2803" y="1979"/>
                      <a:ext cx="204" cy="88"/>
                    </a:xfrm>
                    <a:custGeom>
                      <a:avLst/>
                      <a:gdLst>
                        <a:gd name="T0" fmla="*/ 22 w 1022"/>
                        <a:gd name="T1" fmla="*/ 15 h 439"/>
                        <a:gd name="T2" fmla="*/ 20 w 1022"/>
                        <a:gd name="T3" fmla="*/ 16 h 439"/>
                        <a:gd name="T4" fmla="*/ 18 w 1022"/>
                        <a:gd name="T5" fmla="*/ 15 h 439"/>
                        <a:gd name="T6" fmla="*/ 16 w 1022"/>
                        <a:gd name="T7" fmla="*/ 17 h 439"/>
                        <a:gd name="T8" fmla="*/ 14 w 1022"/>
                        <a:gd name="T9" fmla="*/ 16 h 439"/>
                        <a:gd name="T10" fmla="*/ 11 w 1022"/>
                        <a:gd name="T11" fmla="*/ 15 h 439"/>
                        <a:gd name="T12" fmla="*/ 10 w 1022"/>
                        <a:gd name="T13" fmla="*/ 16 h 439"/>
                        <a:gd name="T14" fmla="*/ 8 w 1022"/>
                        <a:gd name="T15" fmla="*/ 17 h 439"/>
                        <a:gd name="T16" fmla="*/ 7 w 1022"/>
                        <a:gd name="T17" fmla="*/ 15 h 439"/>
                        <a:gd name="T18" fmla="*/ 6 w 1022"/>
                        <a:gd name="T19" fmla="*/ 15 h 439"/>
                        <a:gd name="T20" fmla="*/ 4 w 1022"/>
                        <a:gd name="T21" fmla="*/ 15 h 439"/>
                        <a:gd name="T22" fmla="*/ 3 w 1022"/>
                        <a:gd name="T23" fmla="*/ 15 h 439"/>
                        <a:gd name="T24" fmla="*/ 5 w 1022"/>
                        <a:gd name="T25" fmla="*/ 15 h 439"/>
                        <a:gd name="T26" fmla="*/ 3 w 1022"/>
                        <a:gd name="T27" fmla="*/ 14 h 439"/>
                        <a:gd name="T28" fmla="*/ 3 w 1022"/>
                        <a:gd name="T29" fmla="*/ 13 h 439"/>
                        <a:gd name="T30" fmla="*/ 2 w 1022"/>
                        <a:gd name="T31" fmla="*/ 13 h 439"/>
                        <a:gd name="T32" fmla="*/ 1 w 1022"/>
                        <a:gd name="T33" fmla="*/ 11 h 439"/>
                        <a:gd name="T34" fmla="*/ 0 w 1022"/>
                        <a:gd name="T35" fmla="*/ 11 h 439"/>
                        <a:gd name="T36" fmla="*/ 1 w 1022"/>
                        <a:gd name="T37" fmla="*/ 10 h 439"/>
                        <a:gd name="T38" fmla="*/ 2 w 1022"/>
                        <a:gd name="T39" fmla="*/ 10 h 439"/>
                        <a:gd name="T40" fmla="*/ 2 w 1022"/>
                        <a:gd name="T41" fmla="*/ 9 h 439"/>
                        <a:gd name="T42" fmla="*/ 2 w 1022"/>
                        <a:gd name="T43" fmla="*/ 7 h 439"/>
                        <a:gd name="T44" fmla="*/ 0 w 1022"/>
                        <a:gd name="T45" fmla="*/ 6 h 439"/>
                        <a:gd name="T46" fmla="*/ 1 w 1022"/>
                        <a:gd name="T47" fmla="*/ 5 h 439"/>
                        <a:gd name="T48" fmla="*/ 4 w 1022"/>
                        <a:gd name="T49" fmla="*/ 5 h 439"/>
                        <a:gd name="T50" fmla="*/ 4 w 1022"/>
                        <a:gd name="T51" fmla="*/ 5 h 439"/>
                        <a:gd name="T52" fmla="*/ 6 w 1022"/>
                        <a:gd name="T53" fmla="*/ 4 h 439"/>
                        <a:gd name="T54" fmla="*/ 8 w 1022"/>
                        <a:gd name="T55" fmla="*/ 4 h 439"/>
                        <a:gd name="T56" fmla="*/ 7 w 1022"/>
                        <a:gd name="T57" fmla="*/ 3 h 439"/>
                        <a:gd name="T58" fmla="*/ 7 w 1022"/>
                        <a:gd name="T59" fmla="*/ 3 h 439"/>
                        <a:gd name="T60" fmla="*/ 10 w 1022"/>
                        <a:gd name="T61" fmla="*/ 3 h 439"/>
                        <a:gd name="T62" fmla="*/ 13 w 1022"/>
                        <a:gd name="T63" fmla="*/ 2 h 439"/>
                        <a:gd name="T64" fmla="*/ 16 w 1022"/>
                        <a:gd name="T65" fmla="*/ 0 h 439"/>
                        <a:gd name="T66" fmla="*/ 20 w 1022"/>
                        <a:gd name="T67" fmla="*/ 0 h 439"/>
                        <a:gd name="T68" fmla="*/ 21 w 1022"/>
                        <a:gd name="T69" fmla="*/ 1 h 439"/>
                        <a:gd name="T70" fmla="*/ 25 w 1022"/>
                        <a:gd name="T71" fmla="*/ 3 h 439"/>
                        <a:gd name="T72" fmla="*/ 28 w 1022"/>
                        <a:gd name="T73" fmla="*/ 3 h 439"/>
                        <a:gd name="T74" fmla="*/ 33 w 1022"/>
                        <a:gd name="T75" fmla="*/ 2 h 439"/>
                        <a:gd name="T76" fmla="*/ 35 w 1022"/>
                        <a:gd name="T77" fmla="*/ 2 h 439"/>
                        <a:gd name="T78" fmla="*/ 37 w 1022"/>
                        <a:gd name="T79" fmla="*/ 2 h 439"/>
                        <a:gd name="T80" fmla="*/ 38 w 1022"/>
                        <a:gd name="T81" fmla="*/ 4 h 439"/>
                        <a:gd name="T82" fmla="*/ 40 w 1022"/>
                        <a:gd name="T83" fmla="*/ 6 h 439"/>
                        <a:gd name="T84" fmla="*/ 40 w 1022"/>
                        <a:gd name="T85" fmla="*/ 7 h 439"/>
                        <a:gd name="T86" fmla="*/ 40 w 1022"/>
                        <a:gd name="T87" fmla="*/ 11 h 439"/>
                        <a:gd name="T88" fmla="*/ 41 w 1022"/>
                        <a:gd name="T89" fmla="*/ 14 h 439"/>
                        <a:gd name="T90" fmla="*/ 38 w 1022"/>
                        <a:gd name="T91" fmla="*/ 13 h 439"/>
                        <a:gd name="T92" fmla="*/ 35 w 1022"/>
                        <a:gd name="T93" fmla="*/ 14 h 439"/>
                        <a:gd name="T94" fmla="*/ 33 w 1022"/>
                        <a:gd name="T95" fmla="*/ 14 h 439"/>
                        <a:gd name="T96" fmla="*/ 31 w 1022"/>
                        <a:gd name="T97" fmla="*/ 15 h 439"/>
                        <a:gd name="T98" fmla="*/ 27 w 1022"/>
                        <a:gd name="T99" fmla="*/ 15 h 439"/>
                        <a:gd name="T100" fmla="*/ 25 w 1022"/>
                        <a:gd name="T101" fmla="*/ 15 h 439"/>
                        <a:gd name="T102" fmla="*/ 24 w 1022"/>
                        <a:gd name="T103" fmla="*/ 15 h 439"/>
                        <a:gd name="T104" fmla="*/ 23 w 1022"/>
                        <a:gd name="T105" fmla="*/ 15 h 439"/>
                        <a:gd name="T106" fmla="*/ 23 w 1022"/>
                        <a:gd name="T107" fmla="*/ 16 h 439"/>
                        <a:gd name="T108" fmla="*/ 22 w 1022"/>
                        <a:gd name="T109" fmla="*/ 17 h 439"/>
                        <a:gd name="T110" fmla="*/ 22 w 1022"/>
                        <a:gd name="T111" fmla="*/ 17 h 439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60000 65536"/>
                        <a:gd name="T157" fmla="*/ 0 60000 65536"/>
                        <a:gd name="T158" fmla="*/ 0 60000 65536"/>
                        <a:gd name="T159" fmla="*/ 0 60000 65536"/>
                        <a:gd name="T160" fmla="*/ 0 60000 65536"/>
                        <a:gd name="T161" fmla="*/ 0 60000 65536"/>
                        <a:gd name="T162" fmla="*/ 0 60000 65536"/>
                        <a:gd name="T163" fmla="*/ 0 60000 65536"/>
                        <a:gd name="T164" fmla="*/ 0 60000 65536"/>
                        <a:gd name="T165" fmla="*/ 0 60000 65536"/>
                        <a:gd name="T166" fmla="*/ 0 60000 65536"/>
                        <a:gd name="T167" fmla="*/ 0 60000 65536"/>
                        <a:gd name="T168" fmla="*/ 0 w 1022"/>
                        <a:gd name="T169" fmla="*/ 0 h 439"/>
                        <a:gd name="T170" fmla="*/ 1022 w 1022"/>
                        <a:gd name="T171" fmla="*/ 439 h 439"/>
                      </a:gdLst>
                      <a:ahLst/>
                      <a:cxnLst>
                        <a:cxn ang="T112">
                          <a:pos x="T0" y="T1"/>
                        </a:cxn>
                        <a:cxn ang="T113">
                          <a:pos x="T2" y="T3"/>
                        </a:cxn>
                        <a:cxn ang="T114">
                          <a:pos x="T4" y="T5"/>
                        </a:cxn>
                        <a:cxn ang="T115">
                          <a:pos x="T6" y="T7"/>
                        </a:cxn>
                        <a:cxn ang="T116">
                          <a:pos x="T8" y="T9"/>
                        </a:cxn>
                        <a:cxn ang="T117">
                          <a:pos x="T10" y="T11"/>
                        </a:cxn>
                        <a:cxn ang="T118">
                          <a:pos x="T12" y="T13"/>
                        </a:cxn>
                        <a:cxn ang="T119">
                          <a:pos x="T14" y="T15"/>
                        </a:cxn>
                        <a:cxn ang="T120">
                          <a:pos x="T16" y="T17"/>
                        </a:cxn>
                        <a:cxn ang="T121">
                          <a:pos x="T18" y="T19"/>
                        </a:cxn>
                        <a:cxn ang="T122">
                          <a:pos x="T20" y="T21"/>
                        </a:cxn>
                        <a:cxn ang="T123">
                          <a:pos x="T22" y="T23"/>
                        </a:cxn>
                        <a:cxn ang="T124">
                          <a:pos x="T24" y="T25"/>
                        </a:cxn>
                        <a:cxn ang="T125">
                          <a:pos x="T26" y="T27"/>
                        </a:cxn>
                        <a:cxn ang="T126">
                          <a:pos x="T28" y="T29"/>
                        </a:cxn>
                        <a:cxn ang="T127">
                          <a:pos x="T30" y="T31"/>
                        </a:cxn>
                        <a:cxn ang="T128">
                          <a:pos x="T32" y="T33"/>
                        </a:cxn>
                        <a:cxn ang="T129">
                          <a:pos x="T34" y="T35"/>
                        </a:cxn>
                        <a:cxn ang="T130">
                          <a:pos x="T36" y="T37"/>
                        </a:cxn>
                        <a:cxn ang="T131">
                          <a:pos x="T38" y="T39"/>
                        </a:cxn>
                        <a:cxn ang="T132">
                          <a:pos x="T40" y="T41"/>
                        </a:cxn>
                        <a:cxn ang="T133">
                          <a:pos x="T42" y="T43"/>
                        </a:cxn>
                        <a:cxn ang="T134">
                          <a:pos x="T44" y="T45"/>
                        </a:cxn>
                        <a:cxn ang="T135">
                          <a:pos x="T46" y="T47"/>
                        </a:cxn>
                        <a:cxn ang="T136">
                          <a:pos x="T48" y="T49"/>
                        </a:cxn>
                        <a:cxn ang="T137">
                          <a:pos x="T50" y="T51"/>
                        </a:cxn>
                        <a:cxn ang="T138">
                          <a:pos x="T52" y="T53"/>
                        </a:cxn>
                        <a:cxn ang="T139">
                          <a:pos x="T54" y="T55"/>
                        </a:cxn>
                        <a:cxn ang="T140">
                          <a:pos x="T56" y="T57"/>
                        </a:cxn>
                        <a:cxn ang="T141">
                          <a:pos x="T58" y="T59"/>
                        </a:cxn>
                        <a:cxn ang="T142">
                          <a:pos x="T60" y="T61"/>
                        </a:cxn>
                        <a:cxn ang="T143">
                          <a:pos x="T62" y="T63"/>
                        </a:cxn>
                        <a:cxn ang="T144">
                          <a:pos x="T64" y="T65"/>
                        </a:cxn>
                        <a:cxn ang="T145">
                          <a:pos x="T66" y="T67"/>
                        </a:cxn>
                        <a:cxn ang="T146">
                          <a:pos x="T68" y="T69"/>
                        </a:cxn>
                        <a:cxn ang="T147">
                          <a:pos x="T70" y="T71"/>
                        </a:cxn>
                        <a:cxn ang="T148">
                          <a:pos x="T72" y="T73"/>
                        </a:cxn>
                        <a:cxn ang="T149">
                          <a:pos x="T74" y="T75"/>
                        </a:cxn>
                        <a:cxn ang="T150">
                          <a:pos x="T76" y="T77"/>
                        </a:cxn>
                        <a:cxn ang="T151">
                          <a:pos x="T78" y="T79"/>
                        </a:cxn>
                        <a:cxn ang="T152">
                          <a:pos x="T80" y="T81"/>
                        </a:cxn>
                        <a:cxn ang="T153">
                          <a:pos x="T82" y="T83"/>
                        </a:cxn>
                        <a:cxn ang="T154">
                          <a:pos x="T84" y="T85"/>
                        </a:cxn>
                        <a:cxn ang="T155">
                          <a:pos x="T86" y="T87"/>
                        </a:cxn>
                        <a:cxn ang="T156">
                          <a:pos x="T88" y="T89"/>
                        </a:cxn>
                        <a:cxn ang="T157">
                          <a:pos x="T90" y="T91"/>
                        </a:cxn>
                        <a:cxn ang="T158">
                          <a:pos x="T92" y="T93"/>
                        </a:cxn>
                        <a:cxn ang="T159">
                          <a:pos x="T94" y="T95"/>
                        </a:cxn>
                        <a:cxn ang="T160">
                          <a:pos x="T96" y="T97"/>
                        </a:cxn>
                        <a:cxn ang="T161">
                          <a:pos x="T98" y="T99"/>
                        </a:cxn>
                        <a:cxn ang="T162">
                          <a:pos x="T100" y="T101"/>
                        </a:cxn>
                        <a:cxn ang="T163">
                          <a:pos x="T102" y="T103"/>
                        </a:cxn>
                        <a:cxn ang="T164">
                          <a:pos x="T104" y="T105"/>
                        </a:cxn>
                        <a:cxn ang="T165">
                          <a:pos x="T106" y="T107"/>
                        </a:cxn>
                        <a:cxn ang="T166">
                          <a:pos x="T108" y="T109"/>
                        </a:cxn>
                        <a:cxn ang="T167">
                          <a:pos x="T110" y="T111"/>
                        </a:cxn>
                      </a:cxnLst>
                      <a:rect l="T168" t="T169" r="T170" b="T171"/>
                      <a:pathLst>
                        <a:path w="1022" h="439">
                          <a:moveTo>
                            <a:pt x="538" y="424"/>
                          </a:moveTo>
                          <a:lnTo>
                            <a:pt x="535" y="411"/>
                          </a:lnTo>
                          <a:lnTo>
                            <a:pt x="538" y="395"/>
                          </a:lnTo>
                          <a:lnTo>
                            <a:pt x="548" y="389"/>
                          </a:lnTo>
                          <a:lnTo>
                            <a:pt x="552" y="379"/>
                          </a:lnTo>
                          <a:lnTo>
                            <a:pt x="543" y="370"/>
                          </a:lnTo>
                          <a:lnTo>
                            <a:pt x="526" y="378"/>
                          </a:lnTo>
                          <a:lnTo>
                            <a:pt x="524" y="389"/>
                          </a:lnTo>
                          <a:lnTo>
                            <a:pt x="516" y="391"/>
                          </a:lnTo>
                          <a:lnTo>
                            <a:pt x="503" y="390"/>
                          </a:lnTo>
                          <a:lnTo>
                            <a:pt x="493" y="381"/>
                          </a:lnTo>
                          <a:lnTo>
                            <a:pt x="484" y="376"/>
                          </a:lnTo>
                          <a:lnTo>
                            <a:pt x="477" y="374"/>
                          </a:lnTo>
                          <a:lnTo>
                            <a:pt x="471" y="374"/>
                          </a:lnTo>
                          <a:lnTo>
                            <a:pt x="460" y="379"/>
                          </a:lnTo>
                          <a:lnTo>
                            <a:pt x="441" y="397"/>
                          </a:lnTo>
                          <a:lnTo>
                            <a:pt x="436" y="406"/>
                          </a:lnTo>
                          <a:lnTo>
                            <a:pt x="427" y="407"/>
                          </a:lnTo>
                          <a:lnTo>
                            <a:pt x="419" y="414"/>
                          </a:lnTo>
                          <a:lnTo>
                            <a:pt x="408" y="418"/>
                          </a:lnTo>
                          <a:lnTo>
                            <a:pt x="397" y="417"/>
                          </a:lnTo>
                          <a:lnTo>
                            <a:pt x="379" y="422"/>
                          </a:lnTo>
                          <a:lnTo>
                            <a:pt x="369" y="427"/>
                          </a:lnTo>
                          <a:lnTo>
                            <a:pt x="350" y="421"/>
                          </a:lnTo>
                          <a:lnTo>
                            <a:pt x="341" y="409"/>
                          </a:lnTo>
                          <a:lnTo>
                            <a:pt x="337" y="402"/>
                          </a:lnTo>
                          <a:lnTo>
                            <a:pt x="331" y="397"/>
                          </a:lnTo>
                          <a:lnTo>
                            <a:pt x="321" y="391"/>
                          </a:lnTo>
                          <a:lnTo>
                            <a:pt x="295" y="379"/>
                          </a:lnTo>
                          <a:lnTo>
                            <a:pt x="283" y="370"/>
                          </a:lnTo>
                          <a:lnTo>
                            <a:pt x="267" y="368"/>
                          </a:lnTo>
                          <a:lnTo>
                            <a:pt x="257" y="370"/>
                          </a:lnTo>
                          <a:lnTo>
                            <a:pt x="248" y="370"/>
                          </a:lnTo>
                          <a:lnTo>
                            <a:pt x="245" y="379"/>
                          </a:lnTo>
                          <a:lnTo>
                            <a:pt x="245" y="391"/>
                          </a:lnTo>
                          <a:lnTo>
                            <a:pt x="242" y="396"/>
                          </a:lnTo>
                          <a:lnTo>
                            <a:pt x="240" y="407"/>
                          </a:lnTo>
                          <a:lnTo>
                            <a:pt x="220" y="412"/>
                          </a:lnTo>
                          <a:lnTo>
                            <a:pt x="207" y="417"/>
                          </a:lnTo>
                          <a:lnTo>
                            <a:pt x="196" y="417"/>
                          </a:lnTo>
                          <a:lnTo>
                            <a:pt x="186" y="414"/>
                          </a:lnTo>
                          <a:lnTo>
                            <a:pt x="176" y="409"/>
                          </a:lnTo>
                          <a:lnTo>
                            <a:pt x="167" y="401"/>
                          </a:lnTo>
                          <a:lnTo>
                            <a:pt x="164" y="386"/>
                          </a:lnTo>
                          <a:lnTo>
                            <a:pt x="164" y="381"/>
                          </a:lnTo>
                          <a:lnTo>
                            <a:pt x="156" y="378"/>
                          </a:lnTo>
                          <a:lnTo>
                            <a:pt x="154" y="382"/>
                          </a:lnTo>
                          <a:lnTo>
                            <a:pt x="155" y="386"/>
                          </a:lnTo>
                          <a:lnTo>
                            <a:pt x="151" y="386"/>
                          </a:lnTo>
                          <a:lnTo>
                            <a:pt x="143" y="380"/>
                          </a:lnTo>
                          <a:lnTo>
                            <a:pt x="137" y="374"/>
                          </a:lnTo>
                          <a:lnTo>
                            <a:pt x="134" y="373"/>
                          </a:lnTo>
                          <a:lnTo>
                            <a:pt x="119" y="374"/>
                          </a:lnTo>
                          <a:lnTo>
                            <a:pt x="117" y="380"/>
                          </a:lnTo>
                          <a:lnTo>
                            <a:pt x="107" y="386"/>
                          </a:lnTo>
                          <a:lnTo>
                            <a:pt x="105" y="386"/>
                          </a:lnTo>
                          <a:lnTo>
                            <a:pt x="108" y="379"/>
                          </a:lnTo>
                          <a:lnTo>
                            <a:pt x="107" y="375"/>
                          </a:lnTo>
                          <a:lnTo>
                            <a:pt x="73" y="385"/>
                          </a:lnTo>
                          <a:lnTo>
                            <a:pt x="79" y="378"/>
                          </a:lnTo>
                          <a:lnTo>
                            <a:pt x="87" y="371"/>
                          </a:lnTo>
                          <a:lnTo>
                            <a:pt x="101" y="371"/>
                          </a:lnTo>
                          <a:lnTo>
                            <a:pt x="108" y="368"/>
                          </a:lnTo>
                          <a:lnTo>
                            <a:pt x="110" y="366"/>
                          </a:lnTo>
                          <a:lnTo>
                            <a:pt x="118" y="362"/>
                          </a:lnTo>
                          <a:lnTo>
                            <a:pt x="122" y="357"/>
                          </a:lnTo>
                          <a:lnTo>
                            <a:pt x="113" y="355"/>
                          </a:lnTo>
                          <a:lnTo>
                            <a:pt x="92" y="360"/>
                          </a:lnTo>
                          <a:lnTo>
                            <a:pt x="69" y="360"/>
                          </a:lnTo>
                          <a:lnTo>
                            <a:pt x="67" y="355"/>
                          </a:lnTo>
                          <a:lnTo>
                            <a:pt x="79" y="344"/>
                          </a:lnTo>
                          <a:lnTo>
                            <a:pt x="71" y="336"/>
                          </a:lnTo>
                          <a:lnTo>
                            <a:pt x="68" y="333"/>
                          </a:lnTo>
                          <a:lnTo>
                            <a:pt x="63" y="333"/>
                          </a:lnTo>
                          <a:lnTo>
                            <a:pt x="64" y="325"/>
                          </a:lnTo>
                          <a:lnTo>
                            <a:pt x="69" y="321"/>
                          </a:lnTo>
                          <a:lnTo>
                            <a:pt x="71" y="316"/>
                          </a:lnTo>
                          <a:lnTo>
                            <a:pt x="64" y="317"/>
                          </a:lnTo>
                          <a:lnTo>
                            <a:pt x="57" y="320"/>
                          </a:lnTo>
                          <a:lnTo>
                            <a:pt x="52" y="312"/>
                          </a:lnTo>
                          <a:lnTo>
                            <a:pt x="59" y="309"/>
                          </a:lnTo>
                          <a:lnTo>
                            <a:pt x="60" y="300"/>
                          </a:lnTo>
                          <a:lnTo>
                            <a:pt x="56" y="290"/>
                          </a:lnTo>
                          <a:lnTo>
                            <a:pt x="51" y="287"/>
                          </a:lnTo>
                          <a:lnTo>
                            <a:pt x="37" y="283"/>
                          </a:lnTo>
                          <a:lnTo>
                            <a:pt x="30" y="277"/>
                          </a:lnTo>
                          <a:lnTo>
                            <a:pt x="20" y="279"/>
                          </a:lnTo>
                          <a:lnTo>
                            <a:pt x="16" y="277"/>
                          </a:lnTo>
                          <a:lnTo>
                            <a:pt x="10" y="271"/>
                          </a:lnTo>
                          <a:lnTo>
                            <a:pt x="10" y="268"/>
                          </a:lnTo>
                          <a:lnTo>
                            <a:pt x="16" y="266"/>
                          </a:lnTo>
                          <a:lnTo>
                            <a:pt x="17" y="256"/>
                          </a:lnTo>
                          <a:lnTo>
                            <a:pt x="16" y="251"/>
                          </a:lnTo>
                          <a:lnTo>
                            <a:pt x="19" y="245"/>
                          </a:lnTo>
                          <a:lnTo>
                            <a:pt x="22" y="246"/>
                          </a:lnTo>
                          <a:lnTo>
                            <a:pt x="28" y="262"/>
                          </a:lnTo>
                          <a:lnTo>
                            <a:pt x="35" y="263"/>
                          </a:lnTo>
                          <a:lnTo>
                            <a:pt x="43" y="262"/>
                          </a:lnTo>
                          <a:lnTo>
                            <a:pt x="54" y="262"/>
                          </a:lnTo>
                          <a:lnTo>
                            <a:pt x="52" y="260"/>
                          </a:lnTo>
                          <a:lnTo>
                            <a:pt x="42" y="255"/>
                          </a:lnTo>
                          <a:lnTo>
                            <a:pt x="37" y="246"/>
                          </a:lnTo>
                          <a:lnTo>
                            <a:pt x="38" y="239"/>
                          </a:lnTo>
                          <a:lnTo>
                            <a:pt x="47" y="231"/>
                          </a:lnTo>
                          <a:lnTo>
                            <a:pt x="44" y="226"/>
                          </a:lnTo>
                          <a:lnTo>
                            <a:pt x="38" y="220"/>
                          </a:lnTo>
                          <a:lnTo>
                            <a:pt x="38" y="214"/>
                          </a:lnTo>
                          <a:lnTo>
                            <a:pt x="32" y="206"/>
                          </a:lnTo>
                          <a:lnTo>
                            <a:pt x="33" y="195"/>
                          </a:lnTo>
                          <a:lnTo>
                            <a:pt x="43" y="186"/>
                          </a:lnTo>
                          <a:lnTo>
                            <a:pt x="41" y="182"/>
                          </a:lnTo>
                          <a:lnTo>
                            <a:pt x="25" y="186"/>
                          </a:lnTo>
                          <a:lnTo>
                            <a:pt x="0" y="186"/>
                          </a:lnTo>
                          <a:lnTo>
                            <a:pt x="0" y="181"/>
                          </a:lnTo>
                          <a:lnTo>
                            <a:pt x="3" y="160"/>
                          </a:lnTo>
                          <a:lnTo>
                            <a:pt x="8" y="150"/>
                          </a:lnTo>
                          <a:lnTo>
                            <a:pt x="14" y="149"/>
                          </a:lnTo>
                          <a:lnTo>
                            <a:pt x="20" y="138"/>
                          </a:lnTo>
                          <a:lnTo>
                            <a:pt x="27" y="132"/>
                          </a:lnTo>
                          <a:lnTo>
                            <a:pt x="35" y="122"/>
                          </a:lnTo>
                          <a:lnTo>
                            <a:pt x="48" y="123"/>
                          </a:lnTo>
                          <a:lnTo>
                            <a:pt x="63" y="118"/>
                          </a:lnTo>
                          <a:lnTo>
                            <a:pt x="68" y="123"/>
                          </a:lnTo>
                          <a:lnTo>
                            <a:pt x="80" y="127"/>
                          </a:lnTo>
                          <a:lnTo>
                            <a:pt x="91" y="126"/>
                          </a:lnTo>
                          <a:lnTo>
                            <a:pt x="87" y="112"/>
                          </a:lnTo>
                          <a:lnTo>
                            <a:pt x="96" y="113"/>
                          </a:lnTo>
                          <a:lnTo>
                            <a:pt x="102" y="117"/>
                          </a:lnTo>
                          <a:lnTo>
                            <a:pt x="101" y="122"/>
                          </a:lnTo>
                          <a:lnTo>
                            <a:pt x="108" y="123"/>
                          </a:lnTo>
                          <a:lnTo>
                            <a:pt x="122" y="121"/>
                          </a:lnTo>
                          <a:lnTo>
                            <a:pt x="149" y="121"/>
                          </a:lnTo>
                          <a:lnTo>
                            <a:pt x="161" y="120"/>
                          </a:lnTo>
                          <a:lnTo>
                            <a:pt x="160" y="113"/>
                          </a:lnTo>
                          <a:lnTo>
                            <a:pt x="151" y="111"/>
                          </a:lnTo>
                          <a:lnTo>
                            <a:pt x="150" y="107"/>
                          </a:lnTo>
                          <a:lnTo>
                            <a:pt x="160" y="104"/>
                          </a:lnTo>
                          <a:lnTo>
                            <a:pt x="204" y="100"/>
                          </a:lnTo>
                          <a:lnTo>
                            <a:pt x="204" y="96"/>
                          </a:lnTo>
                          <a:lnTo>
                            <a:pt x="196" y="94"/>
                          </a:lnTo>
                          <a:lnTo>
                            <a:pt x="189" y="96"/>
                          </a:lnTo>
                          <a:lnTo>
                            <a:pt x="176" y="94"/>
                          </a:lnTo>
                          <a:lnTo>
                            <a:pt x="173" y="90"/>
                          </a:lnTo>
                          <a:lnTo>
                            <a:pt x="170" y="89"/>
                          </a:lnTo>
                          <a:lnTo>
                            <a:pt x="167" y="83"/>
                          </a:lnTo>
                          <a:lnTo>
                            <a:pt x="161" y="79"/>
                          </a:lnTo>
                          <a:lnTo>
                            <a:pt x="164" y="73"/>
                          </a:lnTo>
                          <a:lnTo>
                            <a:pt x="170" y="62"/>
                          </a:lnTo>
                          <a:lnTo>
                            <a:pt x="171" y="66"/>
                          </a:lnTo>
                          <a:lnTo>
                            <a:pt x="180" y="66"/>
                          </a:lnTo>
                          <a:lnTo>
                            <a:pt x="193" y="69"/>
                          </a:lnTo>
                          <a:lnTo>
                            <a:pt x="231" y="68"/>
                          </a:lnTo>
                          <a:lnTo>
                            <a:pt x="242" y="72"/>
                          </a:lnTo>
                          <a:lnTo>
                            <a:pt x="248" y="75"/>
                          </a:lnTo>
                          <a:lnTo>
                            <a:pt x="253" y="74"/>
                          </a:lnTo>
                          <a:lnTo>
                            <a:pt x="274" y="77"/>
                          </a:lnTo>
                          <a:lnTo>
                            <a:pt x="288" y="70"/>
                          </a:lnTo>
                          <a:lnTo>
                            <a:pt x="295" y="57"/>
                          </a:lnTo>
                          <a:lnTo>
                            <a:pt x="307" y="51"/>
                          </a:lnTo>
                          <a:lnTo>
                            <a:pt x="318" y="41"/>
                          </a:lnTo>
                          <a:lnTo>
                            <a:pt x="332" y="36"/>
                          </a:lnTo>
                          <a:lnTo>
                            <a:pt x="343" y="26"/>
                          </a:lnTo>
                          <a:lnTo>
                            <a:pt x="355" y="19"/>
                          </a:lnTo>
                          <a:lnTo>
                            <a:pt x="381" y="9"/>
                          </a:lnTo>
                          <a:lnTo>
                            <a:pt x="398" y="7"/>
                          </a:lnTo>
                          <a:lnTo>
                            <a:pt x="414" y="5"/>
                          </a:lnTo>
                          <a:lnTo>
                            <a:pt x="436" y="8"/>
                          </a:lnTo>
                          <a:lnTo>
                            <a:pt x="473" y="8"/>
                          </a:lnTo>
                          <a:lnTo>
                            <a:pt x="485" y="2"/>
                          </a:lnTo>
                          <a:lnTo>
                            <a:pt x="493" y="0"/>
                          </a:lnTo>
                          <a:lnTo>
                            <a:pt x="499" y="3"/>
                          </a:lnTo>
                          <a:lnTo>
                            <a:pt x="499" y="10"/>
                          </a:lnTo>
                          <a:lnTo>
                            <a:pt x="506" y="21"/>
                          </a:lnTo>
                          <a:lnTo>
                            <a:pt x="520" y="29"/>
                          </a:lnTo>
                          <a:lnTo>
                            <a:pt x="533" y="35"/>
                          </a:lnTo>
                          <a:lnTo>
                            <a:pt x="546" y="26"/>
                          </a:lnTo>
                          <a:lnTo>
                            <a:pt x="553" y="37"/>
                          </a:lnTo>
                          <a:lnTo>
                            <a:pt x="560" y="58"/>
                          </a:lnTo>
                          <a:lnTo>
                            <a:pt x="587" y="61"/>
                          </a:lnTo>
                          <a:lnTo>
                            <a:pt x="623" y="80"/>
                          </a:lnTo>
                          <a:lnTo>
                            <a:pt x="629" y="77"/>
                          </a:lnTo>
                          <a:lnTo>
                            <a:pt x="635" y="74"/>
                          </a:lnTo>
                          <a:lnTo>
                            <a:pt x="656" y="84"/>
                          </a:lnTo>
                          <a:lnTo>
                            <a:pt x="677" y="83"/>
                          </a:lnTo>
                          <a:lnTo>
                            <a:pt x="693" y="77"/>
                          </a:lnTo>
                          <a:lnTo>
                            <a:pt x="724" y="72"/>
                          </a:lnTo>
                          <a:lnTo>
                            <a:pt x="758" y="80"/>
                          </a:lnTo>
                          <a:lnTo>
                            <a:pt x="779" y="79"/>
                          </a:lnTo>
                          <a:lnTo>
                            <a:pt x="820" y="51"/>
                          </a:lnTo>
                          <a:lnTo>
                            <a:pt x="838" y="40"/>
                          </a:lnTo>
                          <a:lnTo>
                            <a:pt x="840" y="35"/>
                          </a:lnTo>
                          <a:lnTo>
                            <a:pt x="847" y="41"/>
                          </a:lnTo>
                          <a:lnTo>
                            <a:pt x="855" y="41"/>
                          </a:lnTo>
                          <a:lnTo>
                            <a:pt x="868" y="37"/>
                          </a:lnTo>
                          <a:lnTo>
                            <a:pt x="887" y="43"/>
                          </a:lnTo>
                          <a:lnTo>
                            <a:pt x="893" y="43"/>
                          </a:lnTo>
                          <a:lnTo>
                            <a:pt x="898" y="36"/>
                          </a:lnTo>
                          <a:lnTo>
                            <a:pt x="903" y="32"/>
                          </a:lnTo>
                          <a:lnTo>
                            <a:pt x="911" y="35"/>
                          </a:lnTo>
                          <a:lnTo>
                            <a:pt x="919" y="42"/>
                          </a:lnTo>
                          <a:lnTo>
                            <a:pt x="930" y="58"/>
                          </a:lnTo>
                          <a:lnTo>
                            <a:pt x="935" y="59"/>
                          </a:lnTo>
                          <a:lnTo>
                            <a:pt x="944" y="69"/>
                          </a:lnTo>
                          <a:lnTo>
                            <a:pt x="951" y="75"/>
                          </a:lnTo>
                          <a:lnTo>
                            <a:pt x="958" y="89"/>
                          </a:lnTo>
                          <a:lnTo>
                            <a:pt x="960" y="109"/>
                          </a:lnTo>
                          <a:lnTo>
                            <a:pt x="963" y="123"/>
                          </a:lnTo>
                          <a:lnTo>
                            <a:pt x="971" y="133"/>
                          </a:lnTo>
                          <a:lnTo>
                            <a:pt x="982" y="137"/>
                          </a:lnTo>
                          <a:lnTo>
                            <a:pt x="990" y="143"/>
                          </a:lnTo>
                          <a:lnTo>
                            <a:pt x="1000" y="153"/>
                          </a:lnTo>
                          <a:lnTo>
                            <a:pt x="1008" y="156"/>
                          </a:lnTo>
                          <a:lnTo>
                            <a:pt x="1012" y="161"/>
                          </a:lnTo>
                          <a:lnTo>
                            <a:pt x="1003" y="179"/>
                          </a:lnTo>
                          <a:lnTo>
                            <a:pt x="1001" y="186"/>
                          </a:lnTo>
                          <a:lnTo>
                            <a:pt x="987" y="195"/>
                          </a:lnTo>
                          <a:lnTo>
                            <a:pt x="988" y="202"/>
                          </a:lnTo>
                          <a:lnTo>
                            <a:pt x="995" y="219"/>
                          </a:lnTo>
                          <a:lnTo>
                            <a:pt x="997" y="246"/>
                          </a:lnTo>
                          <a:lnTo>
                            <a:pt x="997" y="263"/>
                          </a:lnTo>
                          <a:lnTo>
                            <a:pt x="999" y="279"/>
                          </a:lnTo>
                          <a:lnTo>
                            <a:pt x="995" y="300"/>
                          </a:lnTo>
                          <a:lnTo>
                            <a:pt x="1009" y="308"/>
                          </a:lnTo>
                          <a:lnTo>
                            <a:pt x="1021" y="325"/>
                          </a:lnTo>
                          <a:lnTo>
                            <a:pt x="1022" y="341"/>
                          </a:lnTo>
                          <a:lnTo>
                            <a:pt x="1015" y="348"/>
                          </a:lnTo>
                          <a:lnTo>
                            <a:pt x="1000" y="347"/>
                          </a:lnTo>
                          <a:lnTo>
                            <a:pt x="990" y="336"/>
                          </a:lnTo>
                          <a:lnTo>
                            <a:pt x="973" y="337"/>
                          </a:lnTo>
                          <a:lnTo>
                            <a:pt x="942" y="336"/>
                          </a:lnTo>
                          <a:lnTo>
                            <a:pt x="922" y="327"/>
                          </a:lnTo>
                          <a:lnTo>
                            <a:pt x="897" y="348"/>
                          </a:lnTo>
                          <a:lnTo>
                            <a:pt x="888" y="349"/>
                          </a:lnTo>
                          <a:lnTo>
                            <a:pt x="887" y="347"/>
                          </a:lnTo>
                          <a:lnTo>
                            <a:pt x="887" y="342"/>
                          </a:lnTo>
                          <a:lnTo>
                            <a:pt x="883" y="339"/>
                          </a:lnTo>
                          <a:lnTo>
                            <a:pt x="881" y="337"/>
                          </a:lnTo>
                          <a:lnTo>
                            <a:pt x="872" y="344"/>
                          </a:lnTo>
                          <a:lnTo>
                            <a:pt x="855" y="352"/>
                          </a:lnTo>
                          <a:lnTo>
                            <a:pt x="820" y="354"/>
                          </a:lnTo>
                          <a:lnTo>
                            <a:pt x="810" y="351"/>
                          </a:lnTo>
                          <a:lnTo>
                            <a:pt x="801" y="351"/>
                          </a:lnTo>
                          <a:lnTo>
                            <a:pt x="785" y="355"/>
                          </a:lnTo>
                          <a:lnTo>
                            <a:pt x="775" y="364"/>
                          </a:lnTo>
                          <a:lnTo>
                            <a:pt x="767" y="368"/>
                          </a:lnTo>
                          <a:lnTo>
                            <a:pt x="754" y="371"/>
                          </a:lnTo>
                          <a:lnTo>
                            <a:pt x="750" y="375"/>
                          </a:lnTo>
                          <a:lnTo>
                            <a:pt x="716" y="381"/>
                          </a:lnTo>
                          <a:lnTo>
                            <a:pt x="689" y="378"/>
                          </a:lnTo>
                          <a:lnTo>
                            <a:pt x="678" y="366"/>
                          </a:lnTo>
                          <a:lnTo>
                            <a:pt x="671" y="365"/>
                          </a:lnTo>
                          <a:lnTo>
                            <a:pt x="657" y="366"/>
                          </a:lnTo>
                          <a:lnTo>
                            <a:pt x="648" y="373"/>
                          </a:lnTo>
                          <a:lnTo>
                            <a:pt x="634" y="378"/>
                          </a:lnTo>
                          <a:lnTo>
                            <a:pt x="626" y="380"/>
                          </a:lnTo>
                          <a:lnTo>
                            <a:pt x="622" y="384"/>
                          </a:lnTo>
                          <a:lnTo>
                            <a:pt x="607" y="381"/>
                          </a:lnTo>
                          <a:lnTo>
                            <a:pt x="598" y="384"/>
                          </a:lnTo>
                          <a:lnTo>
                            <a:pt x="597" y="381"/>
                          </a:lnTo>
                          <a:lnTo>
                            <a:pt x="597" y="379"/>
                          </a:lnTo>
                          <a:lnTo>
                            <a:pt x="597" y="378"/>
                          </a:lnTo>
                          <a:lnTo>
                            <a:pt x="592" y="374"/>
                          </a:lnTo>
                          <a:lnTo>
                            <a:pt x="583" y="373"/>
                          </a:lnTo>
                          <a:lnTo>
                            <a:pt x="578" y="370"/>
                          </a:lnTo>
                          <a:lnTo>
                            <a:pt x="573" y="381"/>
                          </a:lnTo>
                          <a:lnTo>
                            <a:pt x="571" y="382"/>
                          </a:lnTo>
                          <a:lnTo>
                            <a:pt x="571" y="387"/>
                          </a:lnTo>
                          <a:lnTo>
                            <a:pt x="569" y="396"/>
                          </a:lnTo>
                          <a:lnTo>
                            <a:pt x="579" y="408"/>
                          </a:lnTo>
                          <a:lnTo>
                            <a:pt x="579" y="411"/>
                          </a:lnTo>
                          <a:lnTo>
                            <a:pt x="576" y="412"/>
                          </a:lnTo>
                          <a:lnTo>
                            <a:pt x="569" y="412"/>
                          </a:lnTo>
                          <a:lnTo>
                            <a:pt x="560" y="414"/>
                          </a:lnTo>
                          <a:lnTo>
                            <a:pt x="560" y="418"/>
                          </a:lnTo>
                          <a:lnTo>
                            <a:pt x="560" y="427"/>
                          </a:lnTo>
                          <a:lnTo>
                            <a:pt x="554" y="432"/>
                          </a:lnTo>
                          <a:lnTo>
                            <a:pt x="551" y="433"/>
                          </a:lnTo>
                          <a:lnTo>
                            <a:pt x="548" y="439"/>
                          </a:lnTo>
                          <a:lnTo>
                            <a:pt x="542" y="435"/>
                          </a:lnTo>
                          <a:lnTo>
                            <a:pt x="540" y="432"/>
                          </a:lnTo>
                          <a:lnTo>
                            <a:pt x="536" y="432"/>
                          </a:lnTo>
                          <a:lnTo>
                            <a:pt x="538" y="424"/>
                          </a:lnTo>
                          <a:close/>
                        </a:path>
                      </a:pathLst>
                    </a:custGeom>
                    <a:solidFill>
                      <a:schemeClr val="bg2">
                        <a:lumMod val="60000"/>
                        <a:lumOff val="40000"/>
                      </a:schemeClr>
                    </a:solidFill>
                    <a:ln w="6350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txBody>
                    <a:bodyPr/>
                    <a:lstStyle/>
                    <a:p>
                      <a:endParaRPr lang="ru-RU" sz="1400"/>
                    </a:p>
                  </p:txBody>
                </p:sp>
                <p:sp>
                  <p:nvSpPr>
                    <p:cNvPr id="545" name="Freeform 95"/>
                    <p:cNvSpPr>
                      <a:spLocks/>
                    </p:cNvSpPr>
                    <p:nvPr/>
                  </p:nvSpPr>
                  <p:spPr bwMode="gray">
                    <a:xfrm>
                      <a:off x="2802" y="1980"/>
                      <a:ext cx="33" cy="28"/>
                    </a:xfrm>
                    <a:custGeom>
                      <a:avLst/>
                      <a:gdLst>
                        <a:gd name="T0" fmla="*/ 4 w 166"/>
                        <a:gd name="T1" fmla="*/ 0 h 140"/>
                        <a:gd name="T2" fmla="*/ 4 w 166"/>
                        <a:gd name="T3" fmla="*/ 0 h 140"/>
                        <a:gd name="T4" fmla="*/ 3 w 166"/>
                        <a:gd name="T5" fmla="*/ 0 h 140"/>
                        <a:gd name="T6" fmla="*/ 2 w 166"/>
                        <a:gd name="T7" fmla="*/ 0 h 140"/>
                        <a:gd name="T8" fmla="*/ 2 w 166"/>
                        <a:gd name="T9" fmla="*/ 0 h 140"/>
                        <a:gd name="T10" fmla="*/ 1 w 166"/>
                        <a:gd name="T11" fmla="*/ 0 h 140"/>
                        <a:gd name="T12" fmla="*/ 1 w 166"/>
                        <a:gd name="T13" fmla="*/ 1 h 140"/>
                        <a:gd name="T14" fmla="*/ 1 w 166"/>
                        <a:gd name="T15" fmla="*/ 1 h 140"/>
                        <a:gd name="T16" fmla="*/ 1 w 166"/>
                        <a:gd name="T17" fmla="*/ 1 h 140"/>
                        <a:gd name="T18" fmla="*/ 1 w 166"/>
                        <a:gd name="T19" fmla="*/ 2 h 140"/>
                        <a:gd name="T20" fmla="*/ 1 w 166"/>
                        <a:gd name="T21" fmla="*/ 2 h 140"/>
                        <a:gd name="T22" fmla="*/ 1 w 166"/>
                        <a:gd name="T23" fmla="*/ 3 h 140"/>
                        <a:gd name="T24" fmla="*/ 0 w 166"/>
                        <a:gd name="T25" fmla="*/ 3 h 140"/>
                        <a:gd name="T26" fmla="*/ 0 w 166"/>
                        <a:gd name="T27" fmla="*/ 4 h 140"/>
                        <a:gd name="T28" fmla="*/ 0 w 166"/>
                        <a:gd name="T29" fmla="*/ 4 h 140"/>
                        <a:gd name="T30" fmla="*/ 0 w 166"/>
                        <a:gd name="T31" fmla="*/ 4 h 140"/>
                        <a:gd name="T32" fmla="*/ 2 w 166"/>
                        <a:gd name="T33" fmla="*/ 4 h 140"/>
                        <a:gd name="T34" fmla="*/ 1 w 166"/>
                        <a:gd name="T35" fmla="*/ 4 h 140"/>
                        <a:gd name="T36" fmla="*/ 1 w 166"/>
                        <a:gd name="T37" fmla="*/ 5 h 140"/>
                        <a:gd name="T38" fmla="*/ 0 w 166"/>
                        <a:gd name="T39" fmla="*/ 5 h 140"/>
                        <a:gd name="T40" fmla="*/ 0 w 166"/>
                        <a:gd name="T41" fmla="*/ 5 h 140"/>
                        <a:gd name="T42" fmla="*/ 0 w 166"/>
                        <a:gd name="T43" fmla="*/ 6 h 140"/>
                        <a:gd name="T44" fmla="*/ 1 w 166"/>
                        <a:gd name="T45" fmla="*/ 5 h 140"/>
                        <a:gd name="T46" fmla="*/ 1 w 166"/>
                        <a:gd name="T47" fmla="*/ 5 h 140"/>
                        <a:gd name="T48" fmla="*/ 1 w 166"/>
                        <a:gd name="T49" fmla="*/ 5 h 140"/>
                        <a:gd name="T50" fmla="*/ 2 w 166"/>
                        <a:gd name="T51" fmla="*/ 4 h 140"/>
                        <a:gd name="T52" fmla="*/ 3 w 166"/>
                        <a:gd name="T53" fmla="*/ 3 h 140"/>
                        <a:gd name="T54" fmla="*/ 3 w 166"/>
                        <a:gd name="T55" fmla="*/ 3 h 140"/>
                        <a:gd name="T56" fmla="*/ 4 w 166"/>
                        <a:gd name="T57" fmla="*/ 3 h 140"/>
                        <a:gd name="T58" fmla="*/ 4 w 166"/>
                        <a:gd name="T59" fmla="*/ 3 h 140"/>
                        <a:gd name="T60" fmla="*/ 5 w 166"/>
                        <a:gd name="T61" fmla="*/ 3 h 140"/>
                        <a:gd name="T62" fmla="*/ 5 w 166"/>
                        <a:gd name="T63" fmla="*/ 3 h 140"/>
                        <a:gd name="T64" fmla="*/ 6 w 166"/>
                        <a:gd name="T65" fmla="*/ 3 h 140"/>
                        <a:gd name="T66" fmla="*/ 6 w 166"/>
                        <a:gd name="T67" fmla="*/ 3 h 140"/>
                        <a:gd name="T68" fmla="*/ 7 w 166"/>
                        <a:gd name="T69" fmla="*/ 3 h 140"/>
                        <a:gd name="T70" fmla="*/ 7 w 166"/>
                        <a:gd name="T71" fmla="*/ 2 h 140"/>
                        <a:gd name="T72" fmla="*/ 6 w 166"/>
                        <a:gd name="T73" fmla="*/ 2 h 140"/>
                        <a:gd name="T74" fmla="*/ 6 w 166"/>
                        <a:gd name="T75" fmla="*/ 2 h 140"/>
                        <a:gd name="T76" fmla="*/ 5 w 166"/>
                        <a:gd name="T77" fmla="*/ 2 h 140"/>
                        <a:gd name="T78" fmla="*/ 5 w 166"/>
                        <a:gd name="T79" fmla="*/ 1 h 140"/>
                        <a:gd name="T80" fmla="*/ 4 w 166"/>
                        <a:gd name="T81" fmla="*/ 1 h 140"/>
                        <a:gd name="T82" fmla="*/ 4 w 166"/>
                        <a:gd name="T83" fmla="*/ 1 h 140"/>
                        <a:gd name="T84" fmla="*/ 4 w 166"/>
                        <a:gd name="T85" fmla="*/ 0 h 140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w 166"/>
                        <a:gd name="T130" fmla="*/ 0 h 140"/>
                        <a:gd name="T131" fmla="*/ 166 w 166"/>
                        <a:gd name="T132" fmla="*/ 140 h 140"/>
                      </a:gdLst>
                      <a:ahLst/>
                      <a:cxnLst>
                        <a:cxn ang="T86">
                          <a:pos x="T0" y="T1"/>
                        </a:cxn>
                        <a:cxn ang="T87">
                          <a:pos x="T2" y="T3"/>
                        </a:cxn>
                        <a:cxn ang="T88">
                          <a:pos x="T4" y="T5"/>
                        </a:cxn>
                        <a:cxn ang="T89">
                          <a:pos x="T6" y="T7"/>
                        </a:cxn>
                        <a:cxn ang="T90">
                          <a:pos x="T8" y="T9"/>
                        </a:cxn>
                        <a:cxn ang="T91">
                          <a:pos x="T10" y="T11"/>
                        </a:cxn>
                        <a:cxn ang="T92">
                          <a:pos x="T12" y="T13"/>
                        </a:cxn>
                        <a:cxn ang="T93">
                          <a:pos x="T14" y="T15"/>
                        </a:cxn>
                        <a:cxn ang="T94">
                          <a:pos x="T16" y="T17"/>
                        </a:cxn>
                        <a:cxn ang="T95">
                          <a:pos x="T18" y="T19"/>
                        </a:cxn>
                        <a:cxn ang="T96">
                          <a:pos x="T20" y="T21"/>
                        </a:cxn>
                        <a:cxn ang="T97">
                          <a:pos x="T22" y="T23"/>
                        </a:cxn>
                        <a:cxn ang="T98">
                          <a:pos x="T24" y="T25"/>
                        </a:cxn>
                        <a:cxn ang="T99">
                          <a:pos x="T26" y="T27"/>
                        </a:cxn>
                        <a:cxn ang="T100">
                          <a:pos x="T28" y="T29"/>
                        </a:cxn>
                        <a:cxn ang="T101">
                          <a:pos x="T30" y="T31"/>
                        </a:cxn>
                        <a:cxn ang="T102">
                          <a:pos x="T32" y="T33"/>
                        </a:cxn>
                        <a:cxn ang="T103">
                          <a:pos x="T34" y="T35"/>
                        </a:cxn>
                        <a:cxn ang="T104">
                          <a:pos x="T36" y="T37"/>
                        </a:cxn>
                        <a:cxn ang="T105">
                          <a:pos x="T38" y="T39"/>
                        </a:cxn>
                        <a:cxn ang="T106">
                          <a:pos x="T40" y="T41"/>
                        </a:cxn>
                        <a:cxn ang="T107">
                          <a:pos x="T42" y="T43"/>
                        </a:cxn>
                        <a:cxn ang="T108">
                          <a:pos x="T44" y="T45"/>
                        </a:cxn>
                        <a:cxn ang="T109">
                          <a:pos x="T46" y="T47"/>
                        </a:cxn>
                        <a:cxn ang="T110">
                          <a:pos x="T48" y="T49"/>
                        </a:cxn>
                        <a:cxn ang="T111">
                          <a:pos x="T50" y="T51"/>
                        </a:cxn>
                        <a:cxn ang="T112">
                          <a:pos x="T52" y="T53"/>
                        </a:cxn>
                        <a:cxn ang="T113">
                          <a:pos x="T54" y="T55"/>
                        </a:cxn>
                        <a:cxn ang="T114">
                          <a:pos x="T56" y="T57"/>
                        </a:cxn>
                        <a:cxn ang="T115">
                          <a:pos x="T58" y="T59"/>
                        </a:cxn>
                        <a:cxn ang="T116">
                          <a:pos x="T60" y="T61"/>
                        </a:cxn>
                        <a:cxn ang="T117">
                          <a:pos x="T62" y="T63"/>
                        </a:cxn>
                        <a:cxn ang="T118">
                          <a:pos x="T64" y="T65"/>
                        </a:cxn>
                        <a:cxn ang="T119">
                          <a:pos x="T66" y="T67"/>
                        </a:cxn>
                        <a:cxn ang="T120">
                          <a:pos x="T68" y="T69"/>
                        </a:cxn>
                        <a:cxn ang="T121">
                          <a:pos x="T70" y="T71"/>
                        </a:cxn>
                        <a:cxn ang="T122">
                          <a:pos x="T72" y="T73"/>
                        </a:cxn>
                        <a:cxn ang="T123">
                          <a:pos x="T74" y="T75"/>
                        </a:cxn>
                        <a:cxn ang="T124">
                          <a:pos x="T76" y="T77"/>
                        </a:cxn>
                        <a:cxn ang="T125">
                          <a:pos x="T78" y="T79"/>
                        </a:cxn>
                        <a:cxn ang="T126">
                          <a:pos x="T80" y="T81"/>
                        </a:cxn>
                        <a:cxn ang="T127">
                          <a:pos x="T82" y="T83"/>
                        </a:cxn>
                        <a:cxn ang="T128">
                          <a:pos x="T84" y="T85"/>
                        </a:cxn>
                      </a:cxnLst>
                      <a:rect l="T129" t="T130" r="T131" b="T132"/>
                      <a:pathLst>
                        <a:path w="166" h="140">
                          <a:moveTo>
                            <a:pt x="108" y="8"/>
                          </a:moveTo>
                          <a:lnTo>
                            <a:pt x="100" y="6"/>
                          </a:lnTo>
                          <a:lnTo>
                            <a:pt x="77" y="10"/>
                          </a:lnTo>
                          <a:lnTo>
                            <a:pt x="59" y="0"/>
                          </a:lnTo>
                          <a:lnTo>
                            <a:pt x="39" y="8"/>
                          </a:lnTo>
                          <a:lnTo>
                            <a:pt x="25" y="10"/>
                          </a:lnTo>
                          <a:lnTo>
                            <a:pt x="16" y="18"/>
                          </a:lnTo>
                          <a:lnTo>
                            <a:pt x="19" y="24"/>
                          </a:lnTo>
                          <a:lnTo>
                            <a:pt x="28" y="31"/>
                          </a:lnTo>
                          <a:lnTo>
                            <a:pt x="27" y="42"/>
                          </a:lnTo>
                          <a:lnTo>
                            <a:pt x="16" y="51"/>
                          </a:lnTo>
                          <a:lnTo>
                            <a:pt x="14" y="67"/>
                          </a:lnTo>
                          <a:lnTo>
                            <a:pt x="10" y="81"/>
                          </a:lnTo>
                          <a:lnTo>
                            <a:pt x="0" y="96"/>
                          </a:lnTo>
                          <a:lnTo>
                            <a:pt x="3" y="100"/>
                          </a:lnTo>
                          <a:lnTo>
                            <a:pt x="10" y="104"/>
                          </a:lnTo>
                          <a:lnTo>
                            <a:pt x="43" y="100"/>
                          </a:lnTo>
                          <a:lnTo>
                            <a:pt x="36" y="107"/>
                          </a:lnTo>
                          <a:lnTo>
                            <a:pt x="21" y="113"/>
                          </a:lnTo>
                          <a:lnTo>
                            <a:pt x="10" y="120"/>
                          </a:lnTo>
                          <a:lnTo>
                            <a:pt x="9" y="127"/>
                          </a:lnTo>
                          <a:lnTo>
                            <a:pt x="9" y="140"/>
                          </a:lnTo>
                          <a:lnTo>
                            <a:pt x="17" y="137"/>
                          </a:lnTo>
                          <a:lnTo>
                            <a:pt x="23" y="127"/>
                          </a:lnTo>
                          <a:lnTo>
                            <a:pt x="33" y="118"/>
                          </a:lnTo>
                          <a:lnTo>
                            <a:pt x="58" y="101"/>
                          </a:lnTo>
                          <a:lnTo>
                            <a:pt x="76" y="86"/>
                          </a:lnTo>
                          <a:lnTo>
                            <a:pt x="85" y="75"/>
                          </a:lnTo>
                          <a:lnTo>
                            <a:pt x="97" y="75"/>
                          </a:lnTo>
                          <a:lnTo>
                            <a:pt x="108" y="73"/>
                          </a:lnTo>
                          <a:lnTo>
                            <a:pt x="124" y="73"/>
                          </a:lnTo>
                          <a:lnTo>
                            <a:pt x="138" y="74"/>
                          </a:lnTo>
                          <a:lnTo>
                            <a:pt x="145" y="78"/>
                          </a:lnTo>
                          <a:lnTo>
                            <a:pt x="160" y="73"/>
                          </a:lnTo>
                          <a:lnTo>
                            <a:pt x="166" y="64"/>
                          </a:lnTo>
                          <a:lnTo>
                            <a:pt x="166" y="56"/>
                          </a:lnTo>
                          <a:lnTo>
                            <a:pt x="156" y="54"/>
                          </a:lnTo>
                          <a:lnTo>
                            <a:pt x="139" y="48"/>
                          </a:lnTo>
                          <a:lnTo>
                            <a:pt x="125" y="42"/>
                          </a:lnTo>
                          <a:lnTo>
                            <a:pt x="117" y="36"/>
                          </a:lnTo>
                          <a:lnTo>
                            <a:pt x="109" y="27"/>
                          </a:lnTo>
                          <a:lnTo>
                            <a:pt x="107" y="16"/>
                          </a:lnTo>
                          <a:lnTo>
                            <a:pt x="108" y="8"/>
                          </a:ln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6350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txBody>
                    <a:bodyPr/>
                    <a:lstStyle/>
                    <a:p>
                      <a:endParaRPr lang="ru-RU" sz="1400"/>
                    </a:p>
                  </p:txBody>
                </p:sp>
              </p:grpSp>
              <p:sp>
                <p:nvSpPr>
                  <p:cNvPr id="541" name="Freeform 96"/>
                  <p:cNvSpPr>
                    <a:spLocks/>
                  </p:cNvSpPr>
                  <p:nvPr/>
                </p:nvSpPr>
                <p:spPr bwMode="gray">
                  <a:xfrm>
                    <a:off x="2898" y="2100"/>
                    <a:ext cx="47" cy="54"/>
                  </a:xfrm>
                  <a:custGeom>
                    <a:avLst/>
                    <a:gdLst>
                      <a:gd name="T0" fmla="*/ 9 w 231"/>
                      <a:gd name="T1" fmla="*/ 4 h 269"/>
                      <a:gd name="T2" fmla="*/ 10 w 231"/>
                      <a:gd name="T3" fmla="*/ 3 h 269"/>
                      <a:gd name="T4" fmla="*/ 9 w 231"/>
                      <a:gd name="T5" fmla="*/ 0 h 269"/>
                      <a:gd name="T6" fmla="*/ 7 w 231"/>
                      <a:gd name="T7" fmla="*/ 1 h 269"/>
                      <a:gd name="T8" fmla="*/ 6 w 231"/>
                      <a:gd name="T9" fmla="*/ 2 h 269"/>
                      <a:gd name="T10" fmla="*/ 4 w 231"/>
                      <a:gd name="T11" fmla="*/ 3 h 269"/>
                      <a:gd name="T12" fmla="*/ 4 w 231"/>
                      <a:gd name="T13" fmla="*/ 3 h 269"/>
                      <a:gd name="T14" fmla="*/ 3 w 231"/>
                      <a:gd name="T15" fmla="*/ 3 h 269"/>
                      <a:gd name="T16" fmla="*/ 3 w 231"/>
                      <a:gd name="T17" fmla="*/ 3 h 269"/>
                      <a:gd name="T18" fmla="*/ 3 w 231"/>
                      <a:gd name="T19" fmla="*/ 2 h 269"/>
                      <a:gd name="T20" fmla="*/ 2 w 231"/>
                      <a:gd name="T21" fmla="*/ 2 h 269"/>
                      <a:gd name="T22" fmla="*/ 2 w 231"/>
                      <a:gd name="T23" fmla="*/ 2 h 269"/>
                      <a:gd name="T24" fmla="*/ 2 w 231"/>
                      <a:gd name="T25" fmla="*/ 2 h 269"/>
                      <a:gd name="T26" fmla="*/ 1 w 231"/>
                      <a:gd name="T27" fmla="*/ 2 h 269"/>
                      <a:gd name="T28" fmla="*/ 1 w 231"/>
                      <a:gd name="T29" fmla="*/ 3 h 269"/>
                      <a:gd name="T30" fmla="*/ 1 w 231"/>
                      <a:gd name="T31" fmla="*/ 3 h 269"/>
                      <a:gd name="T32" fmla="*/ 1 w 231"/>
                      <a:gd name="T33" fmla="*/ 3 h 269"/>
                      <a:gd name="T34" fmla="*/ 1 w 231"/>
                      <a:gd name="T35" fmla="*/ 3 h 269"/>
                      <a:gd name="T36" fmla="*/ 1 w 231"/>
                      <a:gd name="T37" fmla="*/ 4 h 269"/>
                      <a:gd name="T38" fmla="*/ 1 w 231"/>
                      <a:gd name="T39" fmla="*/ 4 h 269"/>
                      <a:gd name="T40" fmla="*/ 1 w 231"/>
                      <a:gd name="T41" fmla="*/ 4 h 269"/>
                      <a:gd name="T42" fmla="*/ 1 w 231"/>
                      <a:gd name="T43" fmla="*/ 5 h 269"/>
                      <a:gd name="T44" fmla="*/ 1 w 231"/>
                      <a:gd name="T45" fmla="*/ 5 h 269"/>
                      <a:gd name="T46" fmla="*/ 1 w 231"/>
                      <a:gd name="T47" fmla="*/ 5 h 269"/>
                      <a:gd name="T48" fmla="*/ 1 w 231"/>
                      <a:gd name="T49" fmla="*/ 6 h 269"/>
                      <a:gd name="T50" fmla="*/ 1 w 231"/>
                      <a:gd name="T51" fmla="*/ 6 h 269"/>
                      <a:gd name="T52" fmla="*/ 1 w 231"/>
                      <a:gd name="T53" fmla="*/ 7 h 269"/>
                      <a:gd name="T54" fmla="*/ 0 w 231"/>
                      <a:gd name="T55" fmla="*/ 7 h 269"/>
                      <a:gd name="T56" fmla="*/ 0 w 231"/>
                      <a:gd name="T57" fmla="*/ 9 h 269"/>
                      <a:gd name="T58" fmla="*/ 0 w 231"/>
                      <a:gd name="T59" fmla="*/ 10 h 269"/>
                      <a:gd name="T60" fmla="*/ 0 w 231"/>
                      <a:gd name="T61" fmla="*/ 10 h 269"/>
                      <a:gd name="T62" fmla="*/ 0 w 231"/>
                      <a:gd name="T63" fmla="*/ 10 h 269"/>
                      <a:gd name="T64" fmla="*/ 0 w 231"/>
                      <a:gd name="T65" fmla="*/ 10 h 269"/>
                      <a:gd name="T66" fmla="*/ 3 w 231"/>
                      <a:gd name="T67" fmla="*/ 11 h 269"/>
                      <a:gd name="T68" fmla="*/ 3 w 231"/>
                      <a:gd name="T69" fmla="*/ 10 h 269"/>
                      <a:gd name="T70" fmla="*/ 3 w 231"/>
                      <a:gd name="T71" fmla="*/ 10 h 269"/>
                      <a:gd name="T72" fmla="*/ 4 w 231"/>
                      <a:gd name="T73" fmla="*/ 9 h 269"/>
                      <a:gd name="T74" fmla="*/ 6 w 231"/>
                      <a:gd name="T75" fmla="*/ 9 h 269"/>
                      <a:gd name="T76" fmla="*/ 6 w 231"/>
                      <a:gd name="T77" fmla="*/ 8 h 269"/>
                      <a:gd name="T78" fmla="*/ 6 w 231"/>
                      <a:gd name="T79" fmla="*/ 8 h 269"/>
                      <a:gd name="T80" fmla="*/ 7 w 231"/>
                      <a:gd name="T81" fmla="*/ 7 h 269"/>
                      <a:gd name="T82" fmla="*/ 7 w 231"/>
                      <a:gd name="T83" fmla="*/ 7 h 269"/>
                      <a:gd name="T84" fmla="*/ 5 w 231"/>
                      <a:gd name="T85" fmla="*/ 5 h 269"/>
                      <a:gd name="T86" fmla="*/ 4 w 231"/>
                      <a:gd name="T87" fmla="*/ 5 h 269"/>
                      <a:gd name="T88" fmla="*/ 6 w 231"/>
                      <a:gd name="T89" fmla="*/ 4 h 269"/>
                      <a:gd name="T90" fmla="*/ 9 w 231"/>
                      <a:gd name="T91" fmla="*/ 4 h 269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w 231"/>
                      <a:gd name="T139" fmla="*/ 0 h 269"/>
                      <a:gd name="T140" fmla="*/ 231 w 231"/>
                      <a:gd name="T141" fmla="*/ 269 h 269"/>
                    </a:gdLst>
                    <a:ahLst/>
                    <a:cxnLst>
                      <a:cxn ang="T92">
                        <a:pos x="T0" y="T1"/>
                      </a:cxn>
                      <a:cxn ang="T93">
                        <a:pos x="T2" y="T3"/>
                      </a:cxn>
                      <a:cxn ang="T94">
                        <a:pos x="T4" y="T5"/>
                      </a:cxn>
                      <a:cxn ang="T95">
                        <a:pos x="T6" y="T7"/>
                      </a:cxn>
                      <a:cxn ang="T96">
                        <a:pos x="T8" y="T9"/>
                      </a:cxn>
                      <a:cxn ang="T97">
                        <a:pos x="T10" y="T11"/>
                      </a:cxn>
                      <a:cxn ang="T98">
                        <a:pos x="T12" y="T13"/>
                      </a:cxn>
                      <a:cxn ang="T99">
                        <a:pos x="T14" y="T15"/>
                      </a:cxn>
                      <a:cxn ang="T100">
                        <a:pos x="T16" y="T17"/>
                      </a:cxn>
                      <a:cxn ang="T101">
                        <a:pos x="T18" y="T19"/>
                      </a:cxn>
                      <a:cxn ang="T102">
                        <a:pos x="T20" y="T21"/>
                      </a:cxn>
                      <a:cxn ang="T103">
                        <a:pos x="T22" y="T23"/>
                      </a:cxn>
                      <a:cxn ang="T104">
                        <a:pos x="T24" y="T25"/>
                      </a:cxn>
                      <a:cxn ang="T105">
                        <a:pos x="T26" y="T27"/>
                      </a:cxn>
                      <a:cxn ang="T106">
                        <a:pos x="T28" y="T29"/>
                      </a:cxn>
                      <a:cxn ang="T107">
                        <a:pos x="T30" y="T31"/>
                      </a:cxn>
                      <a:cxn ang="T108">
                        <a:pos x="T32" y="T33"/>
                      </a:cxn>
                      <a:cxn ang="T109">
                        <a:pos x="T34" y="T35"/>
                      </a:cxn>
                      <a:cxn ang="T110">
                        <a:pos x="T36" y="T37"/>
                      </a:cxn>
                      <a:cxn ang="T111">
                        <a:pos x="T38" y="T39"/>
                      </a:cxn>
                      <a:cxn ang="T112">
                        <a:pos x="T40" y="T41"/>
                      </a:cxn>
                      <a:cxn ang="T113">
                        <a:pos x="T42" y="T43"/>
                      </a:cxn>
                      <a:cxn ang="T114">
                        <a:pos x="T44" y="T45"/>
                      </a:cxn>
                      <a:cxn ang="T115">
                        <a:pos x="T46" y="T47"/>
                      </a:cxn>
                      <a:cxn ang="T116">
                        <a:pos x="T48" y="T49"/>
                      </a:cxn>
                      <a:cxn ang="T117">
                        <a:pos x="T50" y="T51"/>
                      </a:cxn>
                      <a:cxn ang="T118">
                        <a:pos x="T52" y="T53"/>
                      </a:cxn>
                      <a:cxn ang="T119">
                        <a:pos x="T54" y="T55"/>
                      </a:cxn>
                      <a:cxn ang="T120">
                        <a:pos x="T56" y="T57"/>
                      </a:cxn>
                      <a:cxn ang="T121">
                        <a:pos x="T58" y="T59"/>
                      </a:cxn>
                      <a:cxn ang="T122">
                        <a:pos x="T60" y="T61"/>
                      </a:cxn>
                      <a:cxn ang="T123">
                        <a:pos x="T62" y="T63"/>
                      </a:cxn>
                      <a:cxn ang="T124">
                        <a:pos x="T64" y="T65"/>
                      </a:cxn>
                      <a:cxn ang="T125">
                        <a:pos x="T66" y="T67"/>
                      </a:cxn>
                      <a:cxn ang="T126">
                        <a:pos x="T68" y="T69"/>
                      </a:cxn>
                      <a:cxn ang="T127">
                        <a:pos x="T70" y="T71"/>
                      </a:cxn>
                      <a:cxn ang="T128">
                        <a:pos x="T72" y="T73"/>
                      </a:cxn>
                      <a:cxn ang="T129">
                        <a:pos x="T74" y="T75"/>
                      </a:cxn>
                      <a:cxn ang="T130">
                        <a:pos x="T76" y="T77"/>
                      </a:cxn>
                      <a:cxn ang="T131">
                        <a:pos x="T78" y="T79"/>
                      </a:cxn>
                      <a:cxn ang="T132">
                        <a:pos x="T80" y="T81"/>
                      </a:cxn>
                      <a:cxn ang="T133">
                        <a:pos x="T82" y="T83"/>
                      </a:cxn>
                      <a:cxn ang="T134">
                        <a:pos x="T84" y="T85"/>
                      </a:cxn>
                      <a:cxn ang="T135">
                        <a:pos x="T86" y="T87"/>
                      </a:cxn>
                      <a:cxn ang="T136">
                        <a:pos x="T88" y="T89"/>
                      </a:cxn>
                      <a:cxn ang="T137">
                        <a:pos x="T90" y="T91"/>
                      </a:cxn>
                    </a:cxnLst>
                    <a:rect l="T138" t="T139" r="T140" b="T141"/>
                    <a:pathLst>
                      <a:path w="231" h="269">
                        <a:moveTo>
                          <a:pt x="215" y="94"/>
                        </a:moveTo>
                        <a:lnTo>
                          <a:pt x="231" y="75"/>
                        </a:lnTo>
                        <a:lnTo>
                          <a:pt x="215" y="0"/>
                        </a:lnTo>
                        <a:lnTo>
                          <a:pt x="165" y="26"/>
                        </a:lnTo>
                        <a:lnTo>
                          <a:pt x="141" y="39"/>
                        </a:lnTo>
                        <a:lnTo>
                          <a:pt x="96" y="67"/>
                        </a:lnTo>
                        <a:lnTo>
                          <a:pt x="87" y="69"/>
                        </a:lnTo>
                        <a:lnTo>
                          <a:pt x="75" y="67"/>
                        </a:lnTo>
                        <a:lnTo>
                          <a:pt x="70" y="65"/>
                        </a:lnTo>
                        <a:lnTo>
                          <a:pt x="62" y="55"/>
                        </a:lnTo>
                        <a:lnTo>
                          <a:pt x="54" y="51"/>
                        </a:lnTo>
                        <a:lnTo>
                          <a:pt x="48" y="43"/>
                        </a:lnTo>
                        <a:lnTo>
                          <a:pt x="44" y="42"/>
                        </a:lnTo>
                        <a:lnTo>
                          <a:pt x="32" y="44"/>
                        </a:lnTo>
                        <a:lnTo>
                          <a:pt x="32" y="64"/>
                        </a:lnTo>
                        <a:lnTo>
                          <a:pt x="32" y="66"/>
                        </a:lnTo>
                        <a:lnTo>
                          <a:pt x="31" y="75"/>
                        </a:lnTo>
                        <a:lnTo>
                          <a:pt x="30" y="82"/>
                        </a:lnTo>
                        <a:lnTo>
                          <a:pt x="28" y="94"/>
                        </a:lnTo>
                        <a:lnTo>
                          <a:pt x="31" y="103"/>
                        </a:lnTo>
                        <a:lnTo>
                          <a:pt x="28" y="109"/>
                        </a:lnTo>
                        <a:lnTo>
                          <a:pt x="27" y="118"/>
                        </a:lnTo>
                        <a:lnTo>
                          <a:pt x="25" y="120"/>
                        </a:lnTo>
                        <a:lnTo>
                          <a:pt x="27" y="124"/>
                        </a:lnTo>
                        <a:lnTo>
                          <a:pt x="23" y="137"/>
                        </a:lnTo>
                        <a:lnTo>
                          <a:pt x="26" y="145"/>
                        </a:lnTo>
                        <a:lnTo>
                          <a:pt x="17" y="163"/>
                        </a:lnTo>
                        <a:lnTo>
                          <a:pt x="11" y="183"/>
                        </a:lnTo>
                        <a:lnTo>
                          <a:pt x="5" y="236"/>
                        </a:lnTo>
                        <a:lnTo>
                          <a:pt x="1" y="247"/>
                        </a:lnTo>
                        <a:lnTo>
                          <a:pt x="0" y="253"/>
                        </a:lnTo>
                        <a:lnTo>
                          <a:pt x="3" y="261"/>
                        </a:lnTo>
                        <a:lnTo>
                          <a:pt x="64" y="269"/>
                        </a:lnTo>
                        <a:lnTo>
                          <a:pt x="81" y="252"/>
                        </a:lnTo>
                        <a:lnTo>
                          <a:pt x="82" y="248"/>
                        </a:lnTo>
                        <a:lnTo>
                          <a:pt x="97" y="223"/>
                        </a:lnTo>
                        <a:lnTo>
                          <a:pt x="139" y="217"/>
                        </a:lnTo>
                        <a:lnTo>
                          <a:pt x="140" y="207"/>
                        </a:lnTo>
                        <a:lnTo>
                          <a:pt x="146" y="191"/>
                        </a:lnTo>
                        <a:lnTo>
                          <a:pt x="168" y="179"/>
                        </a:lnTo>
                        <a:lnTo>
                          <a:pt x="170" y="178"/>
                        </a:lnTo>
                        <a:lnTo>
                          <a:pt x="117" y="124"/>
                        </a:lnTo>
                        <a:lnTo>
                          <a:pt x="108" y="118"/>
                        </a:lnTo>
                        <a:lnTo>
                          <a:pt x="149" y="108"/>
                        </a:lnTo>
                        <a:lnTo>
                          <a:pt x="215" y="94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42" name="Freeform 97"/>
                  <p:cNvSpPr>
                    <a:spLocks/>
                  </p:cNvSpPr>
                  <p:nvPr/>
                </p:nvSpPr>
                <p:spPr bwMode="gray">
                  <a:xfrm>
                    <a:off x="2905" y="2047"/>
                    <a:ext cx="77" cy="67"/>
                  </a:xfrm>
                  <a:custGeom>
                    <a:avLst/>
                    <a:gdLst>
                      <a:gd name="T0" fmla="*/ 10 w 387"/>
                      <a:gd name="T1" fmla="*/ 9 h 337"/>
                      <a:gd name="T2" fmla="*/ 12 w 387"/>
                      <a:gd name="T3" fmla="*/ 8 h 337"/>
                      <a:gd name="T4" fmla="*/ 13 w 387"/>
                      <a:gd name="T5" fmla="*/ 7 h 337"/>
                      <a:gd name="T6" fmla="*/ 14 w 387"/>
                      <a:gd name="T7" fmla="*/ 2 h 337"/>
                      <a:gd name="T8" fmla="*/ 15 w 387"/>
                      <a:gd name="T9" fmla="*/ 0 h 337"/>
                      <a:gd name="T10" fmla="*/ 15 w 387"/>
                      <a:gd name="T11" fmla="*/ 0 h 337"/>
                      <a:gd name="T12" fmla="*/ 14 w 387"/>
                      <a:gd name="T13" fmla="*/ 1 h 337"/>
                      <a:gd name="T14" fmla="*/ 12 w 387"/>
                      <a:gd name="T15" fmla="*/ 1 h 337"/>
                      <a:gd name="T16" fmla="*/ 10 w 387"/>
                      <a:gd name="T17" fmla="*/ 1 h 337"/>
                      <a:gd name="T18" fmla="*/ 8 w 387"/>
                      <a:gd name="T19" fmla="*/ 2 h 337"/>
                      <a:gd name="T20" fmla="*/ 6 w 387"/>
                      <a:gd name="T21" fmla="*/ 1 h 337"/>
                      <a:gd name="T22" fmla="*/ 5 w 387"/>
                      <a:gd name="T23" fmla="*/ 2 h 337"/>
                      <a:gd name="T24" fmla="*/ 4 w 387"/>
                      <a:gd name="T25" fmla="*/ 2 h 337"/>
                      <a:gd name="T26" fmla="*/ 3 w 387"/>
                      <a:gd name="T27" fmla="*/ 2 h 337"/>
                      <a:gd name="T28" fmla="*/ 3 w 387"/>
                      <a:gd name="T29" fmla="*/ 1 h 337"/>
                      <a:gd name="T30" fmla="*/ 2 w 387"/>
                      <a:gd name="T31" fmla="*/ 2 h 337"/>
                      <a:gd name="T32" fmla="*/ 3 w 387"/>
                      <a:gd name="T33" fmla="*/ 3 h 337"/>
                      <a:gd name="T34" fmla="*/ 2 w 387"/>
                      <a:gd name="T35" fmla="*/ 3 h 337"/>
                      <a:gd name="T36" fmla="*/ 2 w 387"/>
                      <a:gd name="T37" fmla="*/ 4 h 337"/>
                      <a:gd name="T38" fmla="*/ 2 w 387"/>
                      <a:gd name="T39" fmla="*/ 4 h 337"/>
                      <a:gd name="T40" fmla="*/ 1 w 387"/>
                      <a:gd name="T41" fmla="*/ 4 h 337"/>
                      <a:gd name="T42" fmla="*/ 1 w 387"/>
                      <a:gd name="T43" fmla="*/ 5 h 337"/>
                      <a:gd name="T44" fmla="*/ 1 w 387"/>
                      <a:gd name="T45" fmla="*/ 7 h 337"/>
                      <a:gd name="T46" fmla="*/ 2 w 387"/>
                      <a:gd name="T47" fmla="*/ 7 h 337"/>
                      <a:gd name="T48" fmla="*/ 2 w 387"/>
                      <a:gd name="T49" fmla="*/ 7 h 337"/>
                      <a:gd name="T50" fmla="*/ 2 w 387"/>
                      <a:gd name="T51" fmla="*/ 7 h 337"/>
                      <a:gd name="T52" fmla="*/ 2 w 387"/>
                      <a:gd name="T53" fmla="*/ 8 h 337"/>
                      <a:gd name="T54" fmla="*/ 3 w 387"/>
                      <a:gd name="T55" fmla="*/ 8 h 337"/>
                      <a:gd name="T56" fmla="*/ 3 w 387"/>
                      <a:gd name="T57" fmla="*/ 8 h 337"/>
                      <a:gd name="T58" fmla="*/ 3 w 387"/>
                      <a:gd name="T59" fmla="*/ 9 h 337"/>
                      <a:gd name="T60" fmla="*/ 2 w 387"/>
                      <a:gd name="T61" fmla="*/ 9 h 337"/>
                      <a:gd name="T62" fmla="*/ 2 w 387"/>
                      <a:gd name="T63" fmla="*/ 9 h 337"/>
                      <a:gd name="T64" fmla="*/ 2 w 387"/>
                      <a:gd name="T65" fmla="*/ 9 h 337"/>
                      <a:gd name="T66" fmla="*/ 1 w 387"/>
                      <a:gd name="T67" fmla="*/ 9 h 337"/>
                      <a:gd name="T68" fmla="*/ 1 w 387"/>
                      <a:gd name="T69" fmla="*/ 10 h 337"/>
                      <a:gd name="T70" fmla="*/ 1 w 387"/>
                      <a:gd name="T71" fmla="*/ 10 h 337"/>
                      <a:gd name="T72" fmla="*/ 1 w 387"/>
                      <a:gd name="T73" fmla="*/ 11 h 337"/>
                      <a:gd name="T74" fmla="*/ 0 w 387"/>
                      <a:gd name="T75" fmla="*/ 11 h 337"/>
                      <a:gd name="T76" fmla="*/ 0 w 387"/>
                      <a:gd name="T77" fmla="*/ 12 h 337"/>
                      <a:gd name="T78" fmla="*/ 0 w 387"/>
                      <a:gd name="T79" fmla="*/ 12 h 337"/>
                      <a:gd name="T80" fmla="*/ 1 w 387"/>
                      <a:gd name="T81" fmla="*/ 13 h 337"/>
                      <a:gd name="T82" fmla="*/ 2 w 387"/>
                      <a:gd name="T83" fmla="*/ 13 h 337"/>
                      <a:gd name="T84" fmla="*/ 4 w 387"/>
                      <a:gd name="T85" fmla="*/ 12 h 33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387"/>
                      <a:gd name="T130" fmla="*/ 0 h 337"/>
                      <a:gd name="T131" fmla="*/ 387 w 387"/>
                      <a:gd name="T132" fmla="*/ 337 h 33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387" h="337">
                        <a:moveTo>
                          <a:pt x="183" y="268"/>
                        </a:moveTo>
                        <a:lnTo>
                          <a:pt x="226" y="238"/>
                        </a:lnTo>
                        <a:lnTo>
                          <a:pt x="241" y="227"/>
                        </a:lnTo>
                        <a:lnTo>
                          <a:pt x="256" y="222"/>
                        </a:lnTo>
                        <a:lnTo>
                          <a:pt x="278" y="210"/>
                        </a:lnTo>
                        <a:lnTo>
                          <a:pt x="290" y="203"/>
                        </a:lnTo>
                        <a:lnTo>
                          <a:pt x="294" y="199"/>
                        </a:lnTo>
                        <a:lnTo>
                          <a:pt x="306" y="194"/>
                        </a:lnTo>
                        <a:lnTo>
                          <a:pt x="316" y="170"/>
                        </a:lnTo>
                        <a:lnTo>
                          <a:pt x="319" y="133"/>
                        </a:lnTo>
                        <a:lnTo>
                          <a:pt x="323" y="63"/>
                        </a:lnTo>
                        <a:lnTo>
                          <a:pt x="354" y="50"/>
                        </a:lnTo>
                        <a:lnTo>
                          <a:pt x="372" y="21"/>
                        </a:lnTo>
                        <a:lnTo>
                          <a:pt x="387" y="12"/>
                        </a:lnTo>
                        <a:lnTo>
                          <a:pt x="378" y="12"/>
                        </a:lnTo>
                        <a:lnTo>
                          <a:pt x="377" y="10"/>
                        </a:lnTo>
                        <a:lnTo>
                          <a:pt x="377" y="5"/>
                        </a:lnTo>
                        <a:lnTo>
                          <a:pt x="373" y="2"/>
                        </a:lnTo>
                        <a:lnTo>
                          <a:pt x="371" y="0"/>
                        </a:lnTo>
                        <a:lnTo>
                          <a:pt x="362" y="7"/>
                        </a:lnTo>
                        <a:lnTo>
                          <a:pt x="345" y="15"/>
                        </a:lnTo>
                        <a:lnTo>
                          <a:pt x="310" y="17"/>
                        </a:lnTo>
                        <a:lnTo>
                          <a:pt x="300" y="14"/>
                        </a:lnTo>
                        <a:lnTo>
                          <a:pt x="291" y="14"/>
                        </a:lnTo>
                        <a:lnTo>
                          <a:pt x="275" y="18"/>
                        </a:lnTo>
                        <a:lnTo>
                          <a:pt x="265" y="27"/>
                        </a:lnTo>
                        <a:lnTo>
                          <a:pt x="257" y="31"/>
                        </a:lnTo>
                        <a:lnTo>
                          <a:pt x="244" y="34"/>
                        </a:lnTo>
                        <a:lnTo>
                          <a:pt x="238" y="38"/>
                        </a:lnTo>
                        <a:lnTo>
                          <a:pt x="206" y="45"/>
                        </a:lnTo>
                        <a:lnTo>
                          <a:pt x="179" y="41"/>
                        </a:lnTo>
                        <a:lnTo>
                          <a:pt x="168" y="31"/>
                        </a:lnTo>
                        <a:lnTo>
                          <a:pt x="161" y="28"/>
                        </a:lnTo>
                        <a:lnTo>
                          <a:pt x="147" y="29"/>
                        </a:lnTo>
                        <a:lnTo>
                          <a:pt x="138" y="36"/>
                        </a:lnTo>
                        <a:lnTo>
                          <a:pt x="124" y="41"/>
                        </a:lnTo>
                        <a:lnTo>
                          <a:pt x="116" y="43"/>
                        </a:lnTo>
                        <a:lnTo>
                          <a:pt x="112" y="47"/>
                        </a:lnTo>
                        <a:lnTo>
                          <a:pt x="97" y="44"/>
                        </a:lnTo>
                        <a:lnTo>
                          <a:pt x="88" y="47"/>
                        </a:lnTo>
                        <a:lnTo>
                          <a:pt x="87" y="44"/>
                        </a:lnTo>
                        <a:lnTo>
                          <a:pt x="87" y="42"/>
                        </a:lnTo>
                        <a:lnTo>
                          <a:pt x="87" y="41"/>
                        </a:lnTo>
                        <a:lnTo>
                          <a:pt x="82" y="37"/>
                        </a:lnTo>
                        <a:lnTo>
                          <a:pt x="73" y="36"/>
                        </a:lnTo>
                        <a:lnTo>
                          <a:pt x="68" y="33"/>
                        </a:lnTo>
                        <a:lnTo>
                          <a:pt x="63" y="44"/>
                        </a:lnTo>
                        <a:lnTo>
                          <a:pt x="61" y="45"/>
                        </a:lnTo>
                        <a:lnTo>
                          <a:pt x="61" y="50"/>
                        </a:lnTo>
                        <a:lnTo>
                          <a:pt x="59" y="59"/>
                        </a:lnTo>
                        <a:lnTo>
                          <a:pt x="68" y="71"/>
                        </a:lnTo>
                        <a:lnTo>
                          <a:pt x="69" y="74"/>
                        </a:lnTo>
                        <a:lnTo>
                          <a:pt x="66" y="75"/>
                        </a:lnTo>
                        <a:lnTo>
                          <a:pt x="59" y="75"/>
                        </a:lnTo>
                        <a:lnTo>
                          <a:pt x="50" y="77"/>
                        </a:lnTo>
                        <a:lnTo>
                          <a:pt x="50" y="81"/>
                        </a:lnTo>
                        <a:lnTo>
                          <a:pt x="50" y="90"/>
                        </a:lnTo>
                        <a:lnTo>
                          <a:pt x="44" y="95"/>
                        </a:lnTo>
                        <a:lnTo>
                          <a:pt x="41" y="96"/>
                        </a:lnTo>
                        <a:lnTo>
                          <a:pt x="38" y="102"/>
                        </a:lnTo>
                        <a:lnTo>
                          <a:pt x="32" y="98"/>
                        </a:lnTo>
                        <a:lnTo>
                          <a:pt x="30" y="95"/>
                        </a:lnTo>
                        <a:lnTo>
                          <a:pt x="26" y="95"/>
                        </a:lnTo>
                        <a:lnTo>
                          <a:pt x="26" y="106"/>
                        </a:lnTo>
                        <a:lnTo>
                          <a:pt x="21" y="119"/>
                        </a:lnTo>
                        <a:lnTo>
                          <a:pt x="23" y="123"/>
                        </a:lnTo>
                        <a:lnTo>
                          <a:pt x="28" y="136"/>
                        </a:lnTo>
                        <a:lnTo>
                          <a:pt x="28" y="155"/>
                        </a:lnTo>
                        <a:lnTo>
                          <a:pt x="26" y="167"/>
                        </a:lnTo>
                        <a:lnTo>
                          <a:pt x="28" y="178"/>
                        </a:lnTo>
                        <a:lnTo>
                          <a:pt x="45" y="178"/>
                        </a:lnTo>
                        <a:lnTo>
                          <a:pt x="48" y="174"/>
                        </a:lnTo>
                        <a:lnTo>
                          <a:pt x="50" y="174"/>
                        </a:lnTo>
                        <a:lnTo>
                          <a:pt x="52" y="179"/>
                        </a:lnTo>
                        <a:lnTo>
                          <a:pt x="57" y="179"/>
                        </a:lnTo>
                        <a:lnTo>
                          <a:pt x="58" y="181"/>
                        </a:lnTo>
                        <a:lnTo>
                          <a:pt x="58" y="183"/>
                        </a:lnTo>
                        <a:lnTo>
                          <a:pt x="53" y="183"/>
                        </a:lnTo>
                        <a:lnTo>
                          <a:pt x="53" y="185"/>
                        </a:lnTo>
                        <a:lnTo>
                          <a:pt x="50" y="187"/>
                        </a:lnTo>
                        <a:lnTo>
                          <a:pt x="50" y="189"/>
                        </a:lnTo>
                        <a:lnTo>
                          <a:pt x="57" y="189"/>
                        </a:lnTo>
                        <a:lnTo>
                          <a:pt x="58" y="193"/>
                        </a:lnTo>
                        <a:lnTo>
                          <a:pt x="63" y="195"/>
                        </a:lnTo>
                        <a:lnTo>
                          <a:pt x="61" y="199"/>
                        </a:lnTo>
                        <a:lnTo>
                          <a:pt x="65" y="204"/>
                        </a:lnTo>
                        <a:lnTo>
                          <a:pt x="64" y="208"/>
                        </a:lnTo>
                        <a:lnTo>
                          <a:pt x="66" y="210"/>
                        </a:lnTo>
                        <a:lnTo>
                          <a:pt x="64" y="212"/>
                        </a:lnTo>
                        <a:lnTo>
                          <a:pt x="63" y="216"/>
                        </a:lnTo>
                        <a:lnTo>
                          <a:pt x="60" y="216"/>
                        </a:lnTo>
                        <a:lnTo>
                          <a:pt x="55" y="221"/>
                        </a:lnTo>
                        <a:lnTo>
                          <a:pt x="50" y="222"/>
                        </a:lnTo>
                        <a:lnTo>
                          <a:pt x="50" y="226"/>
                        </a:lnTo>
                        <a:lnTo>
                          <a:pt x="47" y="227"/>
                        </a:lnTo>
                        <a:lnTo>
                          <a:pt x="45" y="230"/>
                        </a:lnTo>
                        <a:lnTo>
                          <a:pt x="50" y="233"/>
                        </a:lnTo>
                        <a:lnTo>
                          <a:pt x="52" y="236"/>
                        </a:lnTo>
                        <a:lnTo>
                          <a:pt x="50" y="237"/>
                        </a:lnTo>
                        <a:lnTo>
                          <a:pt x="45" y="236"/>
                        </a:lnTo>
                        <a:lnTo>
                          <a:pt x="32" y="237"/>
                        </a:lnTo>
                        <a:lnTo>
                          <a:pt x="31" y="242"/>
                        </a:lnTo>
                        <a:lnTo>
                          <a:pt x="28" y="243"/>
                        </a:lnTo>
                        <a:lnTo>
                          <a:pt x="26" y="249"/>
                        </a:lnTo>
                        <a:lnTo>
                          <a:pt x="31" y="252"/>
                        </a:lnTo>
                        <a:lnTo>
                          <a:pt x="31" y="257"/>
                        </a:lnTo>
                        <a:lnTo>
                          <a:pt x="28" y="257"/>
                        </a:lnTo>
                        <a:lnTo>
                          <a:pt x="25" y="263"/>
                        </a:lnTo>
                        <a:lnTo>
                          <a:pt x="18" y="267"/>
                        </a:lnTo>
                        <a:lnTo>
                          <a:pt x="17" y="270"/>
                        </a:lnTo>
                        <a:lnTo>
                          <a:pt x="12" y="270"/>
                        </a:lnTo>
                        <a:lnTo>
                          <a:pt x="5" y="276"/>
                        </a:lnTo>
                        <a:lnTo>
                          <a:pt x="5" y="286"/>
                        </a:lnTo>
                        <a:lnTo>
                          <a:pt x="2" y="290"/>
                        </a:lnTo>
                        <a:lnTo>
                          <a:pt x="4" y="295"/>
                        </a:lnTo>
                        <a:lnTo>
                          <a:pt x="2" y="300"/>
                        </a:lnTo>
                        <a:lnTo>
                          <a:pt x="5" y="306"/>
                        </a:lnTo>
                        <a:lnTo>
                          <a:pt x="0" y="312"/>
                        </a:lnTo>
                        <a:lnTo>
                          <a:pt x="12" y="310"/>
                        </a:lnTo>
                        <a:lnTo>
                          <a:pt x="16" y="311"/>
                        </a:lnTo>
                        <a:lnTo>
                          <a:pt x="22" y="319"/>
                        </a:lnTo>
                        <a:lnTo>
                          <a:pt x="30" y="324"/>
                        </a:lnTo>
                        <a:lnTo>
                          <a:pt x="38" y="333"/>
                        </a:lnTo>
                        <a:lnTo>
                          <a:pt x="43" y="335"/>
                        </a:lnTo>
                        <a:lnTo>
                          <a:pt x="55" y="337"/>
                        </a:lnTo>
                        <a:lnTo>
                          <a:pt x="63" y="335"/>
                        </a:lnTo>
                        <a:lnTo>
                          <a:pt x="109" y="307"/>
                        </a:lnTo>
                        <a:lnTo>
                          <a:pt x="133" y="294"/>
                        </a:lnTo>
                        <a:lnTo>
                          <a:pt x="183" y="268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43" name="Freeform 98"/>
                  <p:cNvSpPr>
                    <a:spLocks/>
                  </p:cNvSpPr>
                  <p:nvPr/>
                </p:nvSpPr>
                <p:spPr bwMode="gray">
                  <a:xfrm>
                    <a:off x="2871" y="2069"/>
                    <a:ext cx="25" cy="15"/>
                  </a:xfrm>
                  <a:custGeom>
                    <a:avLst/>
                    <a:gdLst>
                      <a:gd name="T0" fmla="*/ 4 w 126"/>
                      <a:gd name="T1" fmla="*/ 1 h 75"/>
                      <a:gd name="T2" fmla="*/ 4 w 126"/>
                      <a:gd name="T3" fmla="*/ 0 h 75"/>
                      <a:gd name="T4" fmla="*/ 4 w 126"/>
                      <a:gd name="T5" fmla="*/ 0 h 75"/>
                      <a:gd name="T6" fmla="*/ 5 w 126"/>
                      <a:gd name="T7" fmla="*/ 0 h 75"/>
                      <a:gd name="T8" fmla="*/ 5 w 126"/>
                      <a:gd name="T9" fmla="*/ 0 h 75"/>
                      <a:gd name="T10" fmla="*/ 5 w 126"/>
                      <a:gd name="T11" fmla="*/ 0 h 75"/>
                      <a:gd name="T12" fmla="*/ 5 w 126"/>
                      <a:gd name="T13" fmla="*/ 1 h 75"/>
                      <a:gd name="T14" fmla="*/ 4 w 126"/>
                      <a:gd name="T15" fmla="*/ 1 h 75"/>
                      <a:gd name="T16" fmla="*/ 4 w 126"/>
                      <a:gd name="T17" fmla="*/ 1 h 75"/>
                      <a:gd name="T18" fmla="*/ 4 w 126"/>
                      <a:gd name="T19" fmla="*/ 2 h 75"/>
                      <a:gd name="T20" fmla="*/ 4 w 126"/>
                      <a:gd name="T21" fmla="*/ 2 h 75"/>
                      <a:gd name="T22" fmla="*/ 3 w 126"/>
                      <a:gd name="T23" fmla="*/ 2 h 75"/>
                      <a:gd name="T24" fmla="*/ 3 w 126"/>
                      <a:gd name="T25" fmla="*/ 3 h 75"/>
                      <a:gd name="T26" fmla="*/ 2 w 126"/>
                      <a:gd name="T27" fmla="*/ 3 h 75"/>
                      <a:gd name="T28" fmla="*/ 2 w 126"/>
                      <a:gd name="T29" fmla="*/ 3 h 75"/>
                      <a:gd name="T30" fmla="*/ 1 w 126"/>
                      <a:gd name="T31" fmla="*/ 3 h 75"/>
                      <a:gd name="T32" fmla="*/ 1 w 126"/>
                      <a:gd name="T33" fmla="*/ 3 h 75"/>
                      <a:gd name="T34" fmla="*/ 0 w 126"/>
                      <a:gd name="T35" fmla="*/ 2 h 75"/>
                      <a:gd name="T36" fmla="*/ 0 w 126"/>
                      <a:gd name="T37" fmla="*/ 2 h 75"/>
                      <a:gd name="T38" fmla="*/ 1 w 126"/>
                      <a:gd name="T39" fmla="*/ 2 h 75"/>
                      <a:gd name="T40" fmla="*/ 1 w 126"/>
                      <a:gd name="T41" fmla="*/ 1 h 75"/>
                      <a:gd name="T42" fmla="*/ 1 w 126"/>
                      <a:gd name="T43" fmla="*/ 1 h 75"/>
                      <a:gd name="T44" fmla="*/ 2 w 126"/>
                      <a:gd name="T45" fmla="*/ 1 h 75"/>
                      <a:gd name="T46" fmla="*/ 2 w 126"/>
                      <a:gd name="T47" fmla="*/ 1 h 75"/>
                      <a:gd name="T48" fmla="*/ 2 w 126"/>
                      <a:gd name="T49" fmla="*/ 1 h 75"/>
                      <a:gd name="T50" fmla="*/ 3 w 126"/>
                      <a:gd name="T51" fmla="*/ 1 h 75"/>
                      <a:gd name="T52" fmla="*/ 4 w 126"/>
                      <a:gd name="T53" fmla="*/ 1 h 75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w 126"/>
                      <a:gd name="T82" fmla="*/ 0 h 75"/>
                      <a:gd name="T83" fmla="*/ 126 w 126"/>
                      <a:gd name="T84" fmla="*/ 75 h 75"/>
                    </a:gdLst>
                    <a:ahLst/>
                    <a:cxnLst>
                      <a:cxn ang="T54">
                        <a:pos x="T0" y="T1"/>
                      </a:cxn>
                      <a:cxn ang="T55">
                        <a:pos x="T2" y="T3"/>
                      </a:cxn>
                      <a:cxn ang="T56">
                        <a:pos x="T4" y="T5"/>
                      </a:cxn>
                      <a:cxn ang="T57">
                        <a:pos x="T6" y="T7"/>
                      </a:cxn>
                      <a:cxn ang="T58">
                        <a:pos x="T8" y="T9"/>
                      </a:cxn>
                      <a:cxn ang="T59">
                        <a:pos x="T10" y="T11"/>
                      </a:cxn>
                      <a:cxn ang="T60">
                        <a:pos x="T12" y="T13"/>
                      </a:cxn>
                      <a:cxn ang="T61">
                        <a:pos x="T14" y="T15"/>
                      </a:cxn>
                      <a:cxn ang="T62">
                        <a:pos x="T16" y="T17"/>
                      </a:cxn>
                      <a:cxn ang="T63">
                        <a:pos x="T18" y="T19"/>
                      </a:cxn>
                      <a:cxn ang="T64">
                        <a:pos x="T20" y="T21"/>
                      </a:cxn>
                      <a:cxn ang="T65">
                        <a:pos x="T22" y="T23"/>
                      </a:cxn>
                      <a:cxn ang="T66">
                        <a:pos x="T24" y="T25"/>
                      </a:cxn>
                      <a:cxn ang="T67">
                        <a:pos x="T26" y="T27"/>
                      </a:cxn>
                      <a:cxn ang="T68">
                        <a:pos x="T28" y="T29"/>
                      </a:cxn>
                      <a:cxn ang="T69">
                        <a:pos x="T30" y="T31"/>
                      </a:cxn>
                      <a:cxn ang="T70">
                        <a:pos x="T32" y="T33"/>
                      </a:cxn>
                      <a:cxn ang="T71">
                        <a:pos x="T34" y="T35"/>
                      </a:cxn>
                      <a:cxn ang="T72">
                        <a:pos x="T36" y="T37"/>
                      </a:cxn>
                      <a:cxn ang="T73">
                        <a:pos x="T38" y="T39"/>
                      </a:cxn>
                      <a:cxn ang="T74">
                        <a:pos x="T40" y="T41"/>
                      </a:cxn>
                      <a:cxn ang="T75">
                        <a:pos x="T42" y="T43"/>
                      </a:cxn>
                      <a:cxn ang="T76">
                        <a:pos x="T44" y="T45"/>
                      </a:cxn>
                      <a:cxn ang="T77">
                        <a:pos x="T46" y="T47"/>
                      </a:cxn>
                      <a:cxn ang="T78">
                        <a:pos x="T48" y="T49"/>
                      </a:cxn>
                      <a:cxn ang="T79">
                        <a:pos x="T50" y="T51"/>
                      </a:cxn>
                      <a:cxn ang="T80">
                        <a:pos x="T52" y="T53"/>
                      </a:cxn>
                    </a:cxnLst>
                    <a:rect l="T81" t="T82" r="T83" b="T84"/>
                    <a:pathLst>
                      <a:path w="126" h="75">
                        <a:moveTo>
                          <a:pt x="92" y="16"/>
                        </a:moveTo>
                        <a:lnTo>
                          <a:pt x="106" y="11"/>
                        </a:lnTo>
                        <a:lnTo>
                          <a:pt x="112" y="5"/>
                        </a:lnTo>
                        <a:lnTo>
                          <a:pt x="122" y="0"/>
                        </a:lnTo>
                        <a:lnTo>
                          <a:pt x="126" y="0"/>
                        </a:lnTo>
                        <a:lnTo>
                          <a:pt x="123" y="9"/>
                        </a:lnTo>
                        <a:lnTo>
                          <a:pt x="115" y="17"/>
                        </a:lnTo>
                        <a:lnTo>
                          <a:pt x="107" y="21"/>
                        </a:lnTo>
                        <a:lnTo>
                          <a:pt x="96" y="37"/>
                        </a:lnTo>
                        <a:lnTo>
                          <a:pt x="99" y="43"/>
                        </a:lnTo>
                        <a:lnTo>
                          <a:pt x="92" y="52"/>
                        </a:lnTo>
                        <a:lnTo>
                          <a:pt x="80" y="54"/>
                        </a:lnTo>
                        <a:lnTo>
                          <a:pt x="69" y="64"/>
                        </a:lnTo>
                        <a:lnTo>
                          <a:pt x="53" y="68"/>
                        </a:lnTo>
                        <a:lnTo>
                          <a:pt x="43" y="75"/>
                        </a:lnTo>
                        <a:lnTo>
                          <a:pt x="25" y="72"/>
                        </a:lnTo>
                        <a:lnTo>
                          <a:pt x="13" y="66"/>
                        </a:lnTo>
                        <a:lnTo>
                          <a:pt x="5" y="57"/>
                        </a:lnTo>
                        <a:lnTo>
                          <a:pt x="0" y="45"/>
                        </a:lnTo>
                        <a:lnTo>
                          <a:pt x="13" y="42"/>
                        </a:lnTo>
                        <a:lnTo>
                          <a:pt x="21" y="37"/>
                        </a:lnTo>
                        <a:lnTo>
                          <a:pt x="31" y="36"/>
                        </a:lnTo>
                        <a:lnTo>
                          <a:pt x="38" y="33"/>
                        </a:lnTo>
                        <a:lnTo>
                          <a:pt x="40" y="25"/>
                        </a:lnTo>
                        <a:lnTo>
                          <a:pt x="43" y="26"/>
                        </a:lnTo>
                        <a:lnTo>
                          <a:pt x="63" y="25"/>
                        </a:lnTo>
                        <a:lnTo>
                          <a:pt x="92" y="16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</p:grpSp>
            <p:sp>
              <p:nvSpPr>
                <p:cNvPr id="424" name="Freeform 99"/>
                <p:cNvSpPr>
                  <a:spLocks/>
                </p:cNvSpPr>
                <p:nvPr/>
              </p:nvSpPr>
              <p:spPr bwMode="gray">
                <a:xfrm>
                  <a:off x="5196710" y="2152573"/>
                  <a:ext cx="60274" cy="61153"/>
                </a:xfrm>
                <a:custGeom>
                  <a:avLst/>
                  <a:gdLst>
                    <a:gd name="T0" fmla="*/ 6682 w 170"/>
                    <a:gd name="T1" fmla="*/ 9869 h 175"/>
                    <a:gd name="T2" fmla="*/ 6236 w 170"/>
                    <a:gd name="T3" fmla="*/ 8635 h 175"/>
                    <a:gd name="T4" fmla="*/ 5791 w 170"/>
                    <a:gd name="T5" fmla="*/ 8224 h 175"/>
                    <a:gd name="T6" fmla="*/ 4900 w 170"/>
                    <a:gd name="T7" fmla="*/ 8224 h 175"/>
                    <a:gd name="T8" fmla="*/ 4009 w 170"/>
                    <a:gd name="T9" fmla="*/ 7402 h 175"/>
                    <a:gd name="T10" fmla="*/ 3563 w 170"/>
                    <a:gd name="T11" fmla="*/ 6990 h 175"/>
                    <a:gd name="T12" fmla="*/ 2227 w 170"/>
                    <a:gd name="T13" fmla="*/ 6579 h 175"/>
                    <a:gd name="T14" fmla="*/ 1782 w 170"/>
                    <a:gd name="T15" fmla="*/ 5757 h 175"/>
                    <a:gd name="T16" fmla="*/ 1336 w 170"/>
                    <a:gd name="T17" fmla="*/ 4523 h 175"/>
                    <a:gd name="T18" fmla="*/ 1336 w 170"/>
                    <a:gd name="T19" fmla="*/ 2878 h 175"/>
                    <a:gd name="T20" fmla="*/ 445 w 170"/>
                    <a:gd name="T21" fmla="*/ 1645 h 175"/>
                    <a:gd name="T22" fmla="*/ 0 w 170"/>
                    <a:gd name="T23" fmla="*/ 1234 h 175"/>
                    <a:gd name="T24" fmla="*/ 1782 w 170"/>
                    <a:gd name="T25" fmla="*/ 1234 h 175"/>
                    <a:gd name="T26" fmla="*/ 2673 w 170"/>
                    <a:gd name="T27" fmla="*/ 822 h 175"/>
                    <a:gd name="T28" fmla="*/ 4009 w 170"/>
                    <a:gd name="T29" fmla="*/ 822 h 175"/>
                    <a:gd name="T30" fmla="*/ 4454 w 170"/>
                    <a:gd name="T31" fmla="*/ 411 h 175"/>
                    <a:gd name="T32" fmla="*/ 5791 w 170"/>
                    <a:gd name="T33" fmla="*/ 411 h 175"/>
                    <a:gd name="T34" fmla="*/ 6682 w 170"/>
                    <a:gd name="T35" fmla="*/ 411 h 175"/>
                    <a:gd name="T36" fmla="*/ 7572 w 170"/>
                    <a:gd name="T37" fmla="*/ 0 h 175"/>
                    <a:gd name="T38" fmla="*/ 7572 w 170"/>
                    <a:gd name="T39" fmla="*/ 0 h 175"/>
                    <a:gd name="T40" fmla="*/ 8018 w 170"/>
                    <a:gd name="T41" fmla="*/ 822 h 175"/>
                    <a:gd name="T42" fmla="*/ 8909 w 170"/>
                    <a:gd name="T43" fmla="*/ 1645 h 175"/>
                    <a:gd name="T44" fmla="*/ 9354 w 170"/>
                    <a:gd name="T45" fmla="*/ 1645 h 175"/>
                    <a:gd name="T46" fmla="*/ 10245 w 170"/>
                    <a:gd name="T47" fmla="*/ 2056 h 175"/>
                    <a:gd name="T48" fmla="*/ 10245 w 170"/>
                    <a:gd name="T49" fmla="*/ 2878 h 175"/>
                    <a:gd name="T50" fmla="*/ 9800 w 170"/>
                    <a:gd name="T51" fmla="*/ 3290 h 175"/>
                    <a:gd name="T52" fmla="*/ 9800 w 170"/>
                    <a:gd name="T53" fmla="*/ 4112 h 175"/>
                    <a:gd name="T54" fmla="*/ 10245 w 170"/>
                    <a:gd name="T55" fmla="*/ 4523 h 175"/>
                    <a:gd name="T56" fmla="*/ 10690 w 170"/>
                    <a:gd name="T57" fmla="*/ 5346 h 175"/>
                    <a:gd name="T58" fmla="*/ 11136 w 170"/>
                    <a:gd name="T59" fmla="*/ 5757 h 175"/>
                    <a:gd name="T60" fmla="*/ 12027 w 170"/>
                    <a:gd name="T61" fmla="*/ 6168 h 175"/>
                    <a:gd name="T62" fmla="*/ 12472 w 170"/>
                    <a:gd name="T63" fmla="*/ 6990 h 175"/>
                    <a:gd name="T64" fmla="*/ 12027 w 170"/>
                    <a:gd name="T65" fmla="*/ 7813 h 175"/>
                    <a:gd name="T66" fmla="*/ 11136 w 170"/>
                    <a:gd name="T67" fmla="*/ 7813 h 175"/>
                    <a:gd name="T68" fmla="*/ 11581 w 170"/>
                    <a:gd name="T69" fmla="*/ 8224 h 175"/>
                    <a:gd name="T70" fmla="*/ 12472 w 170"/>
                    <a:gd name="T71" fmla="*/ 9458 h 175"/>
                    <a:gd name="T72" fmla="*/ 13808 w 170"/>
                    <a:gd name="T73" fmla="*/ 9869 h 175"/>
                    <a:gd name="T74" fmla="*/ 14254 w 170"/>
                    <a:gd name="T75" fmla="*/ 9869 h 175"/>
                    <a:gd name="T76" fmla="*/ 15145 w 170"/>
                    <a:gd name="T77" fmla="*/ 10280 h 175"/>
                    <a:gd name="T78" fmla="*/ 14699 w 170"/>
                    <a:gd name="T79" fmla="*/ 10691 h 175"/>
                    <a:gd name="T80" fmla="*/ 14699 w 170"/>
                    <a:gd name="T81" fmla="*/ 11514 h 175"/>
                    <a:gd name="T82" fmla="*/ 15145 w 170"/>
                    <a:gd name="T83" fmla="*/ 11925 h 175"/>
                    <a:gd name="T84" fmla="*/ 15145 w 170"/>
                    <a:gd name="T85" fmla="*/ 12336 h 175"/>
                    <a:gd name="T86" fmla="*/ 14254 w 170"/>
                    <a:gd name="T87" fmla="*/ 12747 h 175"/>
                    <a:gd name="T88" fmla="*/ 14699 w 170"/>
                    <a:gd name="T89" fmla="*/ 13158 h 175"/>
                    <a:gd name="T90" fmla="*/ 15145 w 170"/>
                    <a:gd name="T91" fmla="*/ 13981 h 175"/>
                    <a:gd name="T92" fmla="*/ 15145 w 170"/>
                    <a:gd name="T93" fmla="*/ 14392 h 175"/>
                    <a:gd name="T94" fmla="*/ 14699 w 170"/>
                    <a:gd name="T95" fmla="*/ 14392 h 175"/>
                    <a:gd name="T96" fmla="*/ 12918 w 170"/>
                    <a:gd name="T97" fmla="*/ 14392 h 175"/>
                    <a:gd name="T98" fmla="*/ 12472 w 170"/>
                    <a:gd name="T99" fmla="*/ 14392 h 175"/>
                    <a:gd name="T100" fmla="*/ 12472 w 170"/>
                    <a:gd name="T101" fmla="*/ 12336 h 175"/>
                    <a:gd name="T102" fmla="*/ 12027 w 170"/>
                    <a:gd name="T103" fmla="*/ 11925 h 175"/>
                    <a:gd name="T104" fmla="*/ 11581 w 170"/>
                    <a:gd name="T105" fmla="*/ 11102 h 175"/>
                    <a:gd name="T106" fmla="*/ 11581 w 170"/>
                    <a:gd name="T107" fmla="*/ 10691 h 175"/>
                    <a:gd name="T108" fmla="*/ 10690 w 170"/>
                    <a:gd name="T109" fmla="*/ 10280 h 175"/>
                    <a:gd name="T110" fmla="*/ 10245 w 170"/>
                    <a:gd name="T111" fmla="*/ 10691 h 175"/>
                    <a:gd name="T112" fmla="*/ 9354 w 170"/>
                    <a:gd name="T113" fmla="*/ 10691 h 175"/>
                    <a:gd name="T114" fmla="*/ 8909 w 170"/>
                    <a:gd name="T115" fmla="*/ 10280 h 175"/>
                    <a:gd name="T116" fmla="*/ 8463 w 170"/>
                    <a:gd name="T117" fmla="*/ 9458 h 175"/>
                    <a:gd name="T118" fmla="*/ 7572 w 170"/>
                    <a:gd name="T119" fmla="*/ 9458 h 175"/>
                    <a:gd name="T120" fmla="*/ 6682 w 170"/>
                    <a:gd name="T121" fmla="*/ 9869 h 175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170"/>
                    <a:gd name="T184" fmla="*/ 0 h 175"/>
                    <a:gd name="T185" fmla="*/ 170 w 170"/>
                    <a:gd name="T186" fmla="*/ 175 h 175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170" h="175">
                      <a:moveTo>
                        <a:pt x="77" y="118"/>
                      </a:moveTo>
                      <a:lnTo>
                        <a:pt x="68" y="107"/>
                      </a:lnTo>
                      <a:lnTo>
                        <a:pt x="64" y="102"/>
                      </a:lnTo>
                      <a:lnTo>
                        <a:pt x="56" y="99"/>
                      </a:lnTo>
                      <a:lnTo>
                        <a:pt x="46" y="89"/>
                      </a:lnTo>
                      <a:lnTo>
                        <a:pt x="38" y="83"/>
                      </a:lnTo>
                      <a:lnTo>
                        <a:pt x="27" y="79"/>
                      </a:lnTo>
                      <a:lnTo>
                        <a:pt x="19" y="69"/>
                      </a:lnTo>
                      <a:lnTo>
                        <a:pt x="16" y="55"/>
                      </a:lnTo>
                      <a:lnTo>
                        <a:pt x="14" y="35"/>
                      </a:lnTo>
                      <a:lnTo>
                        <a:pt x="7" y="21"/>
                      </a:lnTo>
                      <a:lnTo>
                        <a:pt x="0" y="15"/>
                      </a:lnTo>
                      <a:lnTo>
                        <a:pt x="21" y="14"/>
                      </a:lnTo>
                      <a:lnTo>
                        <a:pt x="28" y="9"/>
                      </a:lnTo>
                      <a:lnTo>
                        <a:pt x="44" y="8"/>
                      </a:lnTo>
                      <a:lnTo>
                        <a:pt x="51" y="4"/>
                      </a:lnTo>
                      <a:lnTo>
                        <a:pt x="67" y="7"/>
                      </a:lnTo>
                      <a:lnTo>
                        <a:pt x="76" y="5"/>
                      </a:lnTo>
                      <a:lnTo>
                        <a:pt x="86" y="0"/>
                      </a:lnTo>
                      <a:lnTo>
                        <a:pt x="87" y="0"/>
                      </a:lnTo>
                      <a:lnTo>
                        <a:pt x="89" y="8"/>
                      </a:lnTo>
                      <a:lnTo>
                        <a:pt x="99" y="20"/>
                      </a:lnTo>
                      <a:lnTo>
                        <a:pt x="107" y="21"/>
                      </a:lnTo>
                      <a:lnTo>
                        <a:pt x="114" y="26"/>
                      </a:lnTo>
                      <a:lnTo>
                        <a:pt x="115" y="34"/>
                      </a:lnTo>
                      <a:lnTo>
                        <a:pt x="110" y="40"/>
                      </a:lnTo>
                      <a:lnTo>
                        <a:pt x="110" y="48"/>
                      </a:lnTo>
                      <a:lnTo>
                        <a:pt x="113" y="56"/>
                      </a:lnTo>
                      <a:lnTo>
                        <a:pt x="118" y="63"/>
                      </a:lnTo>
                      <a:lnTo>
                        <a:pt x="123" y="68"/>
                      </a:lnTo>
                      <a:lnTo>
                        <a:pt x="137" y="77"/>
                      </a:lnTo>
                      <a:lnTo>
                        <a:pt x="138" y="84"/>
                      </a:lnTo>
                      <a:lnTo>
                        <a:pt x="135" y="93"/>
                      </a:lnTo>
                      <a:lnTo>
                        <a:pt x="126" y="94"/>
                      </a:lnTo>
                      <a:lnTo>
                        <a:pt x="129" y="101"/>
                      </a:lnTo>
                      <a:lnTo>
                        <a:pt x="138" y="113"/>
                      </a:lnTo>
                      <a:lnTo>
                        <a:pt x="153" y="122"/>
                      </a:lnTo>
                      <a:lnTo>
                        <a:pt x="161" y="122"/>
                      </a:lnTo>
                      <a:lnTo>
                        <a:pt x="168" y="123"/>
                      </a:lnTo>
                      <a:lnTo>
                        <a:pt x="164" y="131"/>
                      </a:lnTo>
                      <a:lnTo>
                        <a:pt x="163" y="139"/>
                      </a:lnTo>
                      <a:lnTo>
                        <a:pt x="169" y="144"/>
                      </a:lnTo>
                      <a:lnTo>
                        <a:pt x="168" y="152"/>
                      </a:lnTo>
                      <a:lnTo>
                        <a:pt x="161" y="154"/>
                      </a:lnTo>
                      <a:lnTo>
                        <a:pt x="166" y="160"/>
                      </a:lnTo>
                      <a:lnTo>
                        <a:pt x="169" y="168"/>
                      </a:lnTo>
                      <a:lnTo>
                        <a:pt x="170" y="175"/>
                      </a:lnTo>
                      <a:lnTo>
                        <a:pt x="164" y="175"/>
                      </a:lnTo>
                      <a:lnTo>
                        <a:pt x="147" y="175"/>
                      </a:lnTo>
                      <a:lnTo>
                        <a:pt x="142" y="175"/>
                      </a:lnTo>
                      <a:lnTo>
                        <a:pt x="141" y="150"/>
                      </a:lnTo>
                      <a:lnTo>
                        <a:pt x="137" y="143"/>
                      </a:lnTo>
                      <a:lnTo>
                        <a:pt x="132" y="136"/>
                      </a:lnTo>
                      <a:lnTo>
                        <a:pt x="129" y="128"/>
                      </a:lnTo>
                      <a:lnTo>
                        <a:pt x="121" y="126"/>
                      </a:lnTo>
                      <a:lnTo>
                        <a:pt x="114" y="128"/>
                      </a:lnTo>
                      <a:lnTo>
                        <a:pt x="107" y="128"/>
                      </a:lnTo>
                      <a:lnTo>
                        <a:pt x="99" y="125"/>
                      </a:lnTo>
                      <a:lnTo>
                        <a:pt x="94" y="117"/>
                      </a:lnTo>
                      <a:lnTo>
                        <a:pt x="87" y="116"/>
                      </a:lnTo>
                      <a:lnTo>
                        <a:pt x="77" y="118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25" name="Freeform 100"/>
                <p:cNvSpPr>
                  <a:spLocks/>
                </p:cNvSpPr>
                <p:nvPr/>
              </p:nvSpPr>
              <p:spPr bwMode="gray">
                <a:xfrm>
                  <a:off x="5256984" y="1740809"/>
                  <a:ext cx="784813" cy="418559"/>
                </a:xfrm>
                <a:custGeom>
                  <a:avLst/>
                  <a:gdLst>
                    <a:gd name="T0" fmla="*/ 41426 w 2230"/>
                    <a:gd name="T1" fmla="*/ 93342 h 1190"/>
                    <a:gd name="T2" fmla="*/ 31626 w 2230"/>
                    <a:gd name="T3" fmla="*/ 91286 h 1190"/>
                    <a:gd name="T4" fmla="*/ 23163 w 2230"/>
                    <a:gd name="T5" fmla="*/ 85118 h 1190"/>
                    <a:gd name="T6" fmla="*/ 22272 w 2230"/>
                    <a:gd name="T7" fmla="*/ 76483 h 1190"/>
                    <a:gd name="T8" fmla="*/ 26726 w 2230"/>
                    <a:gd name="T9" fmla="*/ 72371 h 1190"/>
                    <a:gd name="T10" fmla="*/ 36971 w 2230"/>
                    <a:gd name="T11" fmla="*/ 72371 h 1190"/>
                    <a:gd name="T12" fmla="*/ 37417 w 2230"/>
                    <a:gd name="T13" fmla="*/ 67848 h 1190"/>
                    <a:gd name="T14" fmla="*/ 29844 w 2230"/>
                    <a:gd name="T15" fmla="*/ 60035 h 1190"/>
                    <a:gd name="T16" fmla="*/ 21381 w 2230"/>
                    <a:gd name="T17" fmla="*/ 59212 h 1190"/>
                    <a:gd name="T18" fmla="*/ 8909 w 2230"/>
                    <a:gd name="T19" fmla="*/ 64147 h 1190"/>
                    <a:gd name="T20" fmla="*/ 9354 w 2230"/>
                    <a:gd name="T21" fmla="*/ 57568 h 1190"/>
                    <a:gd name="T22" fmla="*/ 3118 w 2230"/>
                    <a:gd name="T23" fmla="*/ 54278 h 1190"/>
                    <a:gd name="T24" fmla="*/ 1336 w 2230"/>
                    <a:gd name="T25" fmla="*/ 44821 h 1190"/>
                    <a:gd name="T26" fmla="*/ 5791 w 2230"/>
                    <a:gd name="T27" fmla="*/ 37830 h 1190"/>
                    <a:gd name="T28" fmla="*/ 11136 w 2230"/>
                    <a:gd name="T29" fmla="*/ 35774 h 1190"/>
                    <a:gd name="T30" fmla="*/ 17372 w 2230"/>
                    <a:gd name="T31" fmla="*/ 31251 h 1190"/>
                    <a:gd name="T32" fmla="*/ 23608 w 2230"/>
                    <a:gd name="T33" fmla="*/ 29606 h 1190"/>
                    <a:gd name="T34" fmla="*/ 29399 w 2230"/>
                    <a:gd name="T35" fmla="*/ 29606 h 1190"/>
                    <a:gd name="T36" fmla="*/ 37417 w 2230"/>
                    <a:gd name="T37" fmla="*/ 32896 h 1190"/>
                    <a:gd name="T38" fmla="*/ 39198 w 2230"/>
                    <a:gd name="T39" fmla="*/ 33718 h 1190"/>
                    <a:gd name="T40" fmla="*/ 47216 w 2230"/>
                    <a:gd name="T41" fmla="*/ 34952 h 1190"/>
                    <a:gd name="T42" fmla="*/ 52562 w 2230"/>
                    <a:gd name="T43" fmla="*/ 32896 h 1190"/>
                    <a:gd name="T44" fmla="*/ 60134 w 2230"/>
                    <a:gd name="T45" fmla="*/ 35774 h 1190"/>
                    <a:gd name="T46" fmla="*/ 67706 w 2230"/>
                    <a:gd name="T47" fmla="*/ 35774 h 1190"/>
                    <a:gd name="T48" fmla="*/ 70824 w 2230"/>
                    <a:gd name="T49" fmla="*/ 30017 h 1190"/>
                    <a:gd name="T50" fmla="*/ 67706 w 2230"/>
                    <a:gd name="T51" fmla="*/ 25083 h 1190"/>
                    <a:gd name="T52" fmla="*/ 71715 w 2230"/>
                    <a:gd name="T53" fmla="*/ 18504 h 1190"/>
                    <a:gd name="T54" fmla="*/ 71715 w 2230"/>
                    <a:gd name="T55" fmla="*/ 15626 h 1190"/>
                    <a:gd name="T56" fmla="*/ 71270 w 2230"/>
                    <a:gd name="T57" fmla="*/ 12336 h 1190"/>
                    <a:gd name="T58" fmla="*/ 78397 w 2230"/>
                    <a:gd name="T59" fmla="*/ 11514 h 1190"/>
                    <a:gd name="T60" fmla="*/ 85969 w 2230"/>
                    <a:gd name="T61" fmla="*/ 9046 h 1190"/>
                    <a:gd name="T62" fmla="*/ 92205 w 2230"/>
                    <a:gd name="T63" fmla="*/ 6168 h 1190"/>
                    <a:gd name="T64" fmla="*/ 105569 w 2230"/>
                    <a:gd name="T65" fmla="*/ 3290 h 1190"/>
                    <a:gd name="T66" fmla="*/ 110468 w 2230"/>
                    <a:gd name="T67" fmla="*/ 0 h 1190"/>
                    <a:gd name="T68" fmla="*/ 118041 w 2230"/>
                    <a:gd name="T69" fmla="*/ 822 h 1190"/>
                    <a:gd name="T70" fmla="*/ 120268 w 2230"/>
                    <a:gd name="T71" fmla="*/ 8224 h 1190"/>
                    <a:gd name="T72" fmla="*/ 124722 w 2230"/>
                    <a:gd name="T73" fmla="*/ 8635 h 1190"/>
                    <a:gd name="T74" fmla="*/ 126949 w 2230"/>
                    <a:gd name="T75" fmla="*/ 10280 h 1190"/>
                    <a:gd name="T76" fmla="*/ 132740 w 2230"/>
                    <a:gd name="T77" fmla="*/ 11925 h 1190"/>
                    <a:gd name="T78" fmla="*/ 134522 w 2230"/>
                    <a:gd name="T79" fmla="*/ 14392 h 1190"/>
                    <a:gd name="T80" fmla="*/ 141203 w 2230"/>
                    <a:gd name="T81" fmla="*/ 10280 h 1190"/>
                    <a:gd name="T82" fmla="*/ 147440 w 2230"/>
                    <a:gd name="T83" fmla="*/ 9869 h 1190"/>
                    <a:gd name="T84" fmla="*/ 165257 w 2230"/>
                    <a:gd name="T85" fmla="*/ 32485 h 1190"/>
                    <a:gd name="T86" fmla="*/ 172829 w 2230"/>
                    <a:gd name="T87" fmla="*/ 34952 h 1190"/>
                    <a:gd name="T88" fmla="*/ 180847 w 2230"/>
                    <a:gd name="T89" fmla="*/ 33718 h 1190"/>
                    <a:gd name="T90" fmla="*/ 185302 w 2230"/>
                    <a:gd name="T91" fmla="*/ 38653 h 1190"/>
                    <a:gd name="T92" fmla="*/ 192429 w 2230"/>
                    <a:gd name="T93" fmla="*/ 43998 h 1190"/>
                    <a:gd name="T94" fmla="*/ 198219 w 2230"/>
                    <a:gd name="T95" fmla="*/ 45643 h 1190"/>
                    <a:gd name="T96" fmla="*/ 190647 w 2230"/>
                    <a:gd name="T97" fmla="*/ 60446 h 1190"/>
                    <a:gd name="T98" fmla="*/ 176393 w 2230"/>
                    <a:gd name="T99" fmla="*/ 63736 h 1190"/>
                    <a:gd name="T100" fmla="*/ 163921 w 2230"/>
                    <a:gd name="T101" fmla="*/ 74016 h 1190"/>
                    <a:gd name="T102" fmla="*/ 165702 w 2230"/>
                    <a:gd name="T103" fmla="*/ 87174 h 1190"/>
                    <a:gd name="T104" fmla="*/ 157685 w 2230"/>
                    <a:gd name="T105" fmla="*/ 87174 h 1190"/>
                    <a:gd name="T106" fmla="*/ 144322 w 2230"/>
                    <a:gd name="T107" fmla="*/ 86351 h 1190"/>
                    <a:gd name="T108" fmla="*/ 134076 w 2230"/>
                    <a:gd name="T109" fmla="*/ 85118 h 1190"/>
                    <a:gd name="T110" fmla="*/ 126504 w 2230"/>
                    <a:gd name="T111" fmla="*/ 87996 h 1190"/>
                    <a:gd name="T112" fmla="*/ 119822 w 2230"/>
                    <a:gd name="T113" fmla="*/ 88819 h 1190"/>
                    <a:gd name="T114" fmla="*/ 111805 w 2230"/>
                    <a:gd name="T115" fmla="*/ 94987 h 1190"/>
                    <a:gd name="T116" fmla="*/ 105569 w 2230"/>
                    <a:gd name="T117" fmla="*/ 97043 h 1190"/>
                    <a:gd name="T118" fmla="*/ 93542 w 2230"/>
                    <a:gd name="T119" fmla="*/ 83884 h 1190"/>
                    <a:gd name="T120" fmla="*/ 65925 w 2230"/>
                    <a:gd name="T121" fmla="*/ 74016 h 1190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2230"/>
                    <a:gd name="T184" fmla="*/ 0 h 1190"/>
                    <a:gd name="T185" fmla="*/ 2230 w 2230"/>
                    <a:gd name="T186" fmla="*/ 1190 h 1190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2230" h="1190">
                      <a:moveTo>
                        <a:pt x="518" y="898"/>
                      </a:moveTo>
                      <a:lnTo>
                        <a:pt x="518" y="968"/>
                      </a:lnTo>
                      <a:lnTo>
                        <a:pt x="518" y="1042"/>
                      </a:lnTo>
                      <a:lnTo>
                        <a:pt x="518" y="1107"/>
                      </a:lnTo>
                      <a:lnTo>
                        <a:pt x="518" y="1168"/>
                      </a:lnTo>
                      <a:lnTo>
                        <a:pt x="506" y="1174"/>
                      </a:lnTo>
                      <a:lnTo>
                        <a:pt x="486" y="1173"/>
                      </a:lnTo>
                      <a:lnTo>
                        <a:pt x="477" y="1166"/>
                      </a:lnTo>
                      <a:lnTo>
                        <a:pt x="468" y="1143"/>
                      </a:lnTo>
                      <a:lnTo>
                        <a:pt x="464" y="1136"/>
                      </a:lnTo>
                      <a:lnTo>
                        <a:pt x="458" y="1130"/>
                      </a:lnTo>
                      <a:lnTo>
                        <a:pt x="452" y="1115"/>
                      </a:lnTo>
                      <a:lnTo>
                        <a:pt x="447" y="1108"/>
                      </a:lnTo>
                      <a:lnTo>
                        <a:pt x="432" y="1102"/>
                      </a:lnTo>
                      <a:lnTo>
                        <a:pt x="425" y="1097"/>
                      </a:lnTo>
                      <a:lnTo>
                        <a:pt x="418" y="1092"/>
                      </a:lnTo>
                      <a:lnTo>
                        <a:pt x="410" y="1092"/>
                      </a:lnTo>
                      <a:lnTo>
                        <a:pt x="402" y="1093"/>
                      </a:lnTo>
                      <a:lnTo>
                        <a:pt x="378" y="1100"/>
                      </a:lnTo>
                      <a:lnTo>
                        <a:pt x="355" y="1109"/>
                      </a:lnTo>
                      <a:lnTo>
                        <a:pt x="325" y="1135"/>
                      </a:lnTo>
                      <a:lnTo>
                        <a:pt x="324" y="1096"/>
                      </a:lnTo>
                      <a:lnTo>
                        <a:pt x="333" y="1085"/>
                      </a:lnTo>
                      <a:lnTo>
                        <a:pt x="335" y="1065"/>
                      </a:lnTo>
                      <a:lnTo>
                        <a:pt x="323" y="1060"/>
                      </a:lnTo>
                      <a:lnTo>
                        <a:pt x="311" y="1059"/>
                      </a:lnTo>
                      <a:lnTo>
                        <a:pt x="291" y="1050"/>
                      </a:lnTo>
                      <a:lnTo>
                        <a:pt x="281" y="1037"/>
                      </a:lnTo>
                      <a:lnTo>
                        <a:pt x="274" y="1037"/>
                      </a:lnTo>
                      <a:lnTo>
                        <a:pt x="262" y="1035"/>
                      </a:lnTo>
                      <a:lnTo>
                        <a:pt x="259" y="996"/>
                      </a:lnTo>
                      <a:lnTo>
                        <a:pt x="247" y="976"/>
                      </a:lnTo>
                      <a:lnTo>
                        <a:pt x="239" y="970"/>
                      </a:lnTo>
                      <a:lnTo>
                        <a:pt x="232" y="956"/>
                      </a:lnTo>
                      <a:lnTo>
                        <a:pt x="209" y="947"/>
                      </a:lnTo>
                      <a:lnTo>
                        <a:pt x="198" y="930"/>
                      </a:lnTo>
                      <a:lnTo>
                        <a:pt x="205" y="924"/>
                      </a:lnTo>
                      <a:lnTo>
                        <a:pt x="223" y="924"/>
                      </a:lnTo>
                      <a:lnTo>
                        <a:pt x="241" y="927"/>
                      </a:lnTo>
                      <a:lnTo>
                        <a:pt x="250" y="932"/>
                      </a:lnTo>
                      <a:lnTo>
                        <a:pt x="258" y="930"/>
                      </a:lnTo>
                      <a:lnTo>
                        <a:pt x="271" y="931"/>
                      </a:lnTo>
                      <a:lnTo>
                        <a:pt x="268" y="924"/>
                      </a:lnTo>
                      <a:lnTo>
                        <a:pt x="264" y="913"/>
                      </a:lnTo>
                      <a:lnTo>
                        <a:pt x="262" y="894"/>
                      </a:lnTo>
                      <a:lnTo>
                        <a:pt x="266" y="883"/>
                      </a:lnTo>
                      <a:lnTo>
                        <a:pt x="276" y="878"/>
                      </a:lnTo>
                      <a:lnTo>
                        <a:pt x="276" y="886"/>
                      </a:lnTo>
                      <a:lnTo>
                        <a:pt x="287" y="887"/>
                      </a:lnTo>
                      <a:lnTo>
                        <a:pt x="298" y="882"/>
                      </a:lnTo>
                      <a:lnTo>
                        <a:pt x="301" y="873"/>
                      </a:lnTo>
                      <a:lnTo>
                        <a:pt x="311" y="865"/>
                      </a:lnTo>
                      <a:lnTo>
                        <a:pt x="328" y="863"/>
                      </a:lnTo>
                      <a:lnTo>
                        <a:pt x="344" y="873"/>
                      </a:lnTo>
                      <a:lnTo>
                        <a:pt x="360" y="879"/>
                      </a:lnTo>
                      <a:lnTo>
                        <a:pt x="376" y="876"/>
                      </a:lnTo>
                      <a:lnTo>
                        <a:pt x="386" y="868"/>
                      </a:lnTo>
                      <a:lnTo>
                        <a:pt x="389" y="870"/>
                      </a:lnTo>
                      <a:lnTo>
                        <a:pt x="394" y="874"/>
                      </a:lnTo>
                      <a:lnTo>
                        <a:pt x="413" y="881"/>
                      </a:lnTo>
                      <a:lnTo>
                        <a:pt x="424" y="887"/>
                      </a:lnTo>
                      <a:lnTo>
                        <a:pt x="435" y="884"/>
                      </a:lnTo>
                      <a:lnTo>
                        <a:pt x="447" y="887"/>
                      </a:lnTo>
                      <a:lnTo>
                        <a:pt x="451" y="879"/>
                      </a:lnTo>
                      <a:lnTo>
                        <a:pt x="443" y="867"/>
                      </a:lnTo>
                      <a:lnTo>
                        <a:pt x="453" y="867"/>
                      </a:lnTo>
                      <a:lnTo>
                        <a:pt x="446" y="855"/>
                      </a:lnTo>
                      <a:lnTo>
                        <a:pt x="435" y="841"/>
                      </a:lnTo>
                      <a:lnTo>
                        <a:pt x="425" y="834"/>
                      </a:lnTo>
                      <a:lnTo>
                        <a:pt x="420" y="823"/>
                      </a:lnTo>
                      <a:lnTo>
                        <a:pt x="409" y="823"/>
                      </a:lnTo>
                      <a:lnTo>
                        <a:pt x="398" y="806"/>
                      </a:lnTo>
                      <a:lnTo>
                        <a:pt x="392" y="782"/>
                      </a:lnTo>
                      <a:lnTo>
                        <a:pt x="384" y="771"/>
                      </a:lnTo>
                      <a:lnTo>
                        <a:pt x="382" y="777"/>
                      </a:lnTo>
                      <a:lnTo>
                        <a:pt x="375" y="760"/>
                      </a:lnTo>
                      <a:lnTo>
                        <a:pt x="370" y="760"/>
                      </a:lnTo>
                      <a:lnTo>
                        <a:pt x="367" y="749"/>
                      </a:lnTo>
                      <a:lnTo>
                        <a:pt x="348" y="732"/>
                      </a:lnTo>
                      <a:lnTo>
                        <a:pt x="336" y="731"/>
                      </a:lnTo>
                      <a:lnTo>
                        <a:pt x="336" y="725"/>
                      </a:lnTo>
                      <a:lnTo>
                        <a:pt x="323" y="723"/>
                      </a:lnTo>
                      <a:lnTo>
                        <a:pt x="312" y="728"/>
                      </a:lnTo>
                      <a:lnTo>
                        <a:pt x="303" y="730"/>
                      </a:lnTo>
                      <a:lnTo>
                        <a:pt x="292" y="736"/>
                      </a:lnTo>
                      <a:lnTo>
                        <a:pt x="289" y="725"/>
                      </a:lnTo>
                      <a:lnTo>
                        <a:pt x="274" y="725"/>
                      </a:lnTo>
                      <a:lnTo>
                        <a:pt x="270" y="722"/>
                      </a:lnTo>
                      <a:lnTo>
                        <a:pt x="257" y="720"/>
                      </a:lnTo>
                      <a:lnTo>
                        <a:pt x="242" y="718"/>
                      </a:lnTo>
                      <a:lnTo>
                        <a:pt x="207" y="752"/>
                      </a:lnTo>
                      <a:lnTo>
                        <a:pt x="188" y="753"/>
                      </a:lnTo>
                      <a:lnTo>
                        <a:pt x="162" y="761"/>
                      </a:lnTo>
                      <a:lnTo>
                        <a:pt x="136" y="765"/>
                      </a:lnTo>
                      <a:lnTo>
                        <a:pt x="114" y="771"/>
                      </a:lnTo>
                      <a:lnTo>
                        <a:pt x="136" y="786"/>
                      </a:lnTo>
                      <a:lnTo>
                        <a:pt x="119" y="793"/>
                      </a:lnTo>
                      <a:lnTo>
                        <a:pt x="112" y="791"/>
                      </a:lnTo>
                      <a:lnTo>
                        <a:pt x="108" y="785"/>
                      </a:lnTo>
                      <a:lnTo>
                        <a:pt x="102" y="781"/>
                      </a:lnTo>
                      <a:lnTo>
                        <a:pt x="93" y="781"/>
                      </a:lnTo>
                      <a:lnTo>
                        <a:pt x="86" y="779"/>
                      </a:lnTo>
                      <a:lnTo>
                        <a:pt x="83" y="773"/>
                      </a:lnTo>
                      <a:lnTo>
                        <a:pt x="90" y="766"/>
                      </a:lnTo>
                      <a:lnTo>
                        <a:pt x="91" y="758"/>
                      </a:lnTo>
                      <a:lnTo>
                        <a:pt x="98" y="755"/>
                      </a:lnTo>
                      <a:lnTo>
                        <a:pt x="107" y="761"/>
                      </a:lnTo>
                      <a:lnTo>
                        <a:pt x="119" y="758"/>
                      </a:lnTo>
                      <a:lnTo>
                        <a:pt x="110" y="701"/>
                      </a:lnTo>
                      <a:lnTo>
                        <a:pt x="103" y="699"/>
                      </a:lnTo>
                      <a:lnTo>
                        <a:pt x="98" y="693"/>
                      </a:lnTo>
                      <a:lnTo>
                        <a:pt x="96" y="684"/>
                      </a:lnTo>
                      <a:lnTo>
                        <a:pt x="92" y="678"/>
                      </a:lnTo>
                      <a:lnTo>
                        <a:pt x="86" y="672"/>
                      </a:lnTo>
                      <a:lnTo>
                        <a:pt x="79" y="672"/>
                      </a:lnTo>
                      <a:lnTo>
                        <a:pt x="61" y="674"/>
                      </a:lnTo>
                      <a:lnTo>
                        <a:pt x="48" y="671"/>
                      </a:lnTo>
                      <a:lnTo>
                        <a:pt x="47" y="679"/>
                      </a:lnTo>
                      <a:lnTo>
                        <a:pt x="34" y="667"/>
                      </a:lnTo>
                      <a:lnTo>
                        <a:pt x="33" y="660"/>
                      </a:lnTo>
                      <a:lnTo>
                        <a:pt x="29" y="652"/>
                      </a:lnTo>
                      <a:lnTo>
                        <a:pt x="34" y="646"/>
                      </a:lnTo>
                      <a:lnTo>
                        <a:pt x="29" y="639"/>
                      </a:lnTo>
                      <a:lnTo>
                        <a:pt x="28" y="631"/>
                      </a:lnTo>
                      <a:lnTo>
                        <a:pt x="0" y="621"/>
                      </a:lnTo>
                      <a:lnTo>
                        <a:pt x="11" y="577"/>
                      </a:lnTo>
                      <a:lnTo>
                        <a:pt x="24" y="570"/>
                      </a:lnTo>
                      <a:lnTo>
                        <a:pt x="29" y="562"/>
                      </a:lnTo>
                      <a:lnTo>
                        <a:pt x="27" y="555"/>
                      </a:lnTo>
                      <a:lnTo>
                        <a:pt x="16" y="544"/>
                      </a:lnTo>
                      <a:lnTo>
                        <a:pt x="26" y="499"/>
                      </a:lnTo>
                      <a:lnTo>
                        <a:pt x="39" y="490"/>
                      </a:lnTo>
                      <a:lnTo>
                        <a:pt x="44" y="484"/>
                      </a:lnTo>
                      <a:lnTo>
                        <a:pt x="42" y="475"/>
                      </a:lnTo>
                      <a:lnTo>
                        <a:pt x="45" y="468"/>
                      </a:lnTo>
                      <a:lnTo>
                        <a:pt x="45" y="461"/>
                      </a:lnTo>
                      <a:lnTo>
                        <a:pt x="49" y="452"/>
                      </a:lnTo>
                      <a:lnTo>
                        <a:pt x="54" y="446"/>
                      </a:lnTo>
                      <a:lnTo>
                        <a:pt x="60" y="451"/>
                      </a:lnTo>
                      <a:lnTo>
                        <a:pt x="64" y="458"/>
                      </a:lnTo>
                      <a:lnTo>
                        <a:pt x="76" y="468"/>
                      </a:lnTo>
                      <a:lnTo>
                        <a:pt x="93" y="505"/>
                      </a:lnTo>
                      <a:lnTo>
                        <a:pt x="102" y="507"/>
                      </a:lnTo>
                      <a:lnTo>
                        <a:pt x="128" y="490"/>
                      </a:lnTo>
                      <a:lnTo>
                        <a:pt x="125" y="481"/>
                      </a:lnTo>
                      <a:lnTo>
                        <a:pt x="122" y="474"/>
                      </a:lnTo>
                      <a:lnTo>
                        <a:pt x="118" y="449"/>
                      </a:lnTo>
                      <a:lnTo>
                        <a:pt x="110" y="436"/>
                      </a:lnTo>
                      <a:lnTo>
                        <a:pt x="119" y="437"/>
                      </a:lnTo>
                      <a:lnTo>
                        <a:pt x="126" y="435"/>
                      </a:lnTo>
                      <a:lnTo>
                        <a:pt x="146" y="420"/>
                      </a:lnTo>
                      <a:lnTo>
                        <a:pt x="153" y="416"/>
                      </a:lnTo>
                      <a:lnTo>
                        <a:pt x="158" y="410"/>
                      </a:lnTo>
                      <a:lnTo>
                        <a:pt x="158" y="402"/>
                      </a:lnTo>
                      <a:lnTo>
                        <a:pt x="158" y="393"/>
                      </a:lnTo>
                      <a:lnTo>
                        <a:pt x="166" y="392"/>
                      </a:lnTo>
                      <a:lnTo>
                        <a:pt x="174" y="393"/>
                      </a:lnTo>
                      <a:lnTo>
                        <a:pt x="182" y="391"/>
                      </a:lnTo>
                      <a:lnTo>
                        <a:pt x="187" y="383"/>
                      </a:lnTo>
                      <a:lnTo>
                        <a:pt x="193" y="379"/>
                      </a:lnTo>
                      <a:lnTo>
                        <a:pt x="201" y="377"/>
                      </a:lnTo>
                      <a:lnTo>
                        <a:pt x="206" y="371"/>
                      </a:lnTo>
                      <a:lnTo>
                        <a:pt x="214" y="366"/>
                      </a:lnTo>
                      <a:lnTo>
                        <a:pt x="219" y="360"/>
                      </a:lnTo>
                      <a:lnTo>
                        <a:pt x="220" y="352"/>
                      </a:lnTo>
                      <a:lnTo>
                        <a:pt x="227" y="348"/>
                      </a:lnTo>
                      <a:lnTo>
                        <a:pt x="242" y="343"/>
                      </a:lnTo>
                      <a:lnTo>
                        <a:pt x="258" y="343"/>
                      </a:lnTo>
                      <a:lnTo>
                        <a:pt x="259" y="351"/>
                      </a:lnTo>
                      <a:lnTo>
                        <a:pt x="263" y="359"/>
                      </a:lnTo>
                      <a:lnTo>
                        <a:pt x="279" y="355"/>
                      </a:lnTo>
                      <a:lnTo>
                        <a:pt x="284" y="361"/>
                      </a:lnTo>
                      <a:lnTo>
                        <a:pt x="289" y="354"/>
                      </a:lnTo>
                      <a:lnTo>
                        <a:pt x="291" y="345"/>
                      </a:lnTo>
                      <a:lnTo>
                        <a:pt x="296" y="339"/>
                      </a:lnTo>
                      <a:lnTo>
                        <a:pt x="303" y="340"/>
                      </a:lnTo>
                      <a:lnTo>
                        <a:pt x="311" y="336"/>
                      </a:lnTo>
                      <a:lnTo>
                        <a:pt x="318" y="336"/>
                      </a:lnTo>
                      <a:lnTo>
                        <a:pt x="324" y="352"/>
                      </a:lnTo>
                      <a:lnTo>
                        <a:pt x="329" y="359"/>
                      </a:lnTo>
                      <a:lnTo>
                        <a:pt x="338" y="355"/>
                      </a:lnTo>
                      <a:lnTo>
                        <a:pt x="345" y="355"/>
                      </a:lnTo>
                      <a:lnTo>
                        <a:pt x="352" y="357"/>
                      </a:lnTo>
                      <a:lnTo>
                        <a:pt x="368" y="354"/>
                      </a:lnTo>
                      <a:lnTo>
                        <a:pt x="376" y="355"/>
                      </a:lnTo>
                      <a:lnTo>
                        <a:pt x="383" y="360"/>
                      </a:lnTo>
                      <a:lnTo>
                        <a:pt x="389" y="365"/>
                      </a:lnTo>
                      <a:lnTo>
                        <a:pt x="395" y="379"/>
                      </a:lnTo>
                      <a:lnTo>
                        <a:pt x="416" y="392"/>
                      </a:lnTo>
                      <a:lnTo>
                        <a:pt x="421" y="398"/>
                      </a:lnTo>
                      <a:lnTo>
                        <a:pt x="424" y="406"/>
                      </a:lnTo>
                      <a:lnTo>
                        <a:pt x="435" y="419"/>
                      </a:lnTo>
                      <a:lnTo>
                        <a:pt x="434" y="426"/>
                      </a:lnTo>
                      <a:lnTo>
                        <a:pt x="435" y="435"/>
                      </a:lnTo>
                      <a:lnTo>
                        <a:pt x="440" y="441"/>
                      </a:lnTo>
                      <a:lnTo>
                        <a:pt x="447" y="438"/>
                      </a:lnTo>
                      <a:lnTo>
                        <a:pt x="447" y="431"/>
                      </a:lnTo>
                      <a:lnTo>
                        <a:pt x="446" y="422"/>
                      </a:lnTo>
                      <a:lnTo>
                        <a:pt x="447" y="415"/>
                      </a:lnTo>
                      <a:lnTo>
                        <a:pt x="442" y="408"/>
                      </a:lnTo>
                      <a:lnTo>
                        <a:pt x="447" y="402"/>
                      </a:lnTo>
                      <a:lnTo>
                        <a:pt x="456" y="400"/>
                      </a:lnTo>
                      <a:lnTo>
                        <a:pt x="458" y="408"/>
                      </a:lnTo>
                      <a:lnTo>
                        <a:pt x="464" y="414"/>
                      </a:lnTo>
                      <a:lnTo>
                        <a:pt x="467" y="421"/>
                      </a:lnTo>
                      <a:lnTo>
                        <a:pt x="473" y="426"/>
                      </a:lnTo>
                      <a:lnTo>
                        <a:pt x="488" y="432"/>
                      </a:lnTo>
                      <a:lnTo>
                        <a:pt x="502" y="440"/>
                      </a:lnTo>
                      <a:lnTo>
                        <a:pt x="511" y="437"/>
                      </a:lnTo>
                      <a:lnTo>
                        <a:pt x="531" y="424"/>
                      </a:lnTo>
                      <a:lnTo>
                        <a:pt x="531" y="415"/>
                      </a:lnTo>
                      <a:lnTo>
                        <a:pt x="537" y="411"/>
                      </a:lnTo>
                      <a:lnTo>
                        <a:pt x="543" y="406"/>
                      </a:lnTo>
                      <a:lnTo>
                        <a:pt x="551" y="405"/>
                      </a:lnTo>
                      <a:lnTo>
                        <a:pt x="559" y="408"/>
                      </a:lnTo>
                      <a:lnTo>
                        <a:pt x="559" y="400"/>
                      </a:lnTo>
                      <a:lnTo>
                        <a:pt x="567" y="399"/>
                      </a:lnTo>
                      <a:lnTo>
                        <a:pt x="575" y="402"/>
                      </a:lnTo>
                      <a:lnTo>
                        <a:pt x="582" y="397"/>
                      </a:lnTo>
                      <a:lnTo>
                        <a:pt x="590" y="402"/>
                      </a:lnTo>
                      <a:lnTo>
                        <a:pt x="601" y="413"/>
                      </a:lnTo>
                      <a:lnTo>
                        <a:pt x="615" y="404"/>
                      </a:lnTo>
                      <a:lnTo>
                        <a:pt x="619" y="397"/>
                      </a:lnTo>
                      <a:lnTo>
                        <a:pt x="634" y="397"/>
                      </a:lnTo>
                      <a:lnTo>
                        <a:pt x="641" y="393"/>
                      </a:lnTo>
                      <a:lnTo>
                        <a:pt x="657" y="399"/>
                      </a:lnTo>
                      <a:lnTo>
                        <a:pt x="662" y="405"/>
                      </a:lnTo>
                      <a:lnTo>
                        <a:pt x="663" y="421"/>
                      </a:lnTo>
                      <a:lnTo>
                        <a:pt x="669" y="427"/>
                      </a:lnTo>
                      <a:lnTo>
                        <a:pt x="674" y="434"/>
                      </a:lnTo>
                      <a:lnTo>
                        <a:pt x="690" y="432"/>
                      </a:lnTo>
                      <a:lnTo>
                        <a:pt x="705" y="435"/>
                      </a:lnTo>
                      <a:lnTo>
                        <a:pt x="707" y="446"/>
                      </a:lnTo>
                      <a:lnTo>
                        <a:pt x="725" y="445"/>
                      </a:lnTo>
                      <a:lnTo>
                        <a:pt x="731" y="440"/>
                      </a:lnTo>
                      <a:lnTo>
                        <a:pt x="738" y="425"/>
                      </a:lnTo>
                      <a:lnTo>
                        <a:pt x="743" y="419"/>
                      </a:lnTo>
                      <a:lnTo>
                        <a:pt x="749" y="421"/>
                      </a:lnTo>
                      <a:lnTo>
                        <a:pt x="760" y="434"/>
                      </a:lnTo>
                      <a:lnTo>
                        <a:pt x="776" y="435"/>
                      </a:lnTo>
                      <a:lnTo>
                        <a:pt x="792" y="432"/>
                      </a:lnTo>
                      <a:lnTo>
                        <a:pt x="800" y="426"/>
                      </a:lnTo>
                      <a:lnTo>
                        <a:pt x="814" y="421"/>
                      </a:lnTo>
                      <a:lnTo>
                        <a:pt x="827" y="383"/>
                      </a:lnTo>
                      <a:lnTo>
                        <a:pt x="830" y="376"/>
                      </a:lnTo>
                      <a:lnTo>
                        <a:pt x="824" y="370"/>
                      </a:lnTo>
                      <a:lnTo>
                        <a:pt x="823" y="366"/>
                      </a:lnTo>
                      <a:lnTo>
                        <a:pt x="809" y="365"/>
                      </a:lnTo>
                      <a:lnTo>
                        <a:pt x="793" y="363"/>
                      </a:lnTo>
                      <a:lnTo>
                        <a:pt x="787" y="356"/>
                      </a:lnTo>
                      <a:lnTo>
                        <a:pt x="784" y="351"/>
                      </a:lnTo>
                      <a:lnTo>
                        <a:pt x="766" y="348"/>
                      </a:lnTo>
                      <a:lnTo>
                        <a:pt x="759" y="345"/>
                      </a:lnTo>
                      <a:lnTo>
                        <a:pt x="760" y="336"/>
                      </a:lnTo>
                      <a:lnTo>
                        <a:pt x="755" y="329"/>
                      </a:lnTo>
                      <a:lnTo>
                        <a:pt x="739" y="327"/>
                      </a:lnTo>
                      <a:lnTo>
                        <a:pt x="741" y="318"/>
                      </a:lnTo>
                      <a:lnTo>
                        <a:pt x="748" y="316"/>
                      </a:lnTo>
                      <a:lnTo>
                        <a:pt x="760" y="306"/>
                      </a:lnTo>
                      <a:lnTo>
                        <a:pt x="776" y="301"/>
                      </a:lnTo>
                      <a:lnTo>
                        <a:pt x="790" y="291"/>
                      </a:lnTo>
                      <a:lnTo>
                        <a:pt x="793" y="285"/>
                      </a:lnTo>
                      <a:lnTo>
                        <a:pt x="795" y="276"/>
                      </a:lnTo>
                      <a:lnTo>
                        <a:pt x="776" y="249"/>
                      </a:lnTo>
                      <a:lnTo>
                        <a:pt x="784" y="246"/>
                      </a:lnTo>
                      <a:lnTo>
                        <a:pt x="790" y="241"/>
                      </a:lnTo>
                      <a:lnTo>
                        <a:pt x="792" y="232"/>
                      </a:lnTo>
                      <a:lnTo>
                        <a:pt x="798" y="227"/>
                      </a:lnTo>
                      <a:lnTo>
                        <a:pt x="807" y="226"/>
                      </a:lnTo>
                      <a:lnTo>
                        <a:pt x="814" y="227"/>
                      </a:lnTo>
                      <a:lnTo>
                        <a:pt x="823" y="226"/>
                      </a:lnTo>
                      <a:lnTo>
                        <a:pt x="830" y="228"/>
                      </a:lnTo>
                      <a:lnTo>
                        <a:pt x="846" y="228"/>
                      </a:lnTo>
                      <a:lnTo>
                        <a:pt x="855" y="226"/>
                      </a:lnTo>
                      <a:lnTo>
                        <a:pt x="857" y="217"/>
                      </a:lnTo>
                      <a:lnTo>
                        <a:pt x="854" y="211"/>
                      </a:lnTo>
                      <a:lnTo>
                        <a:pt x="839" y="203"/>
                      </a:lnTo>
                      <a:lnTo>
                        <a:pt x="807" y="199"/>
                      </a:lnTo>
                      <a:lnTo>
                        <a:pt x="803" y="192"/>
                      </a:lnTo>
                      <a:lnTo>
                        <a:pt x="805" y="183"/>
                      </a:lnTo>
                      <a:lnTo>
                        <a:pt x="812" y="183"/>
                      </a:lnTo>
                      <a:lnTo>
                        <a:pt x="819" y="180"/>
                      </a:lnTo>
                      <a:lnTo>
                        <a:pt x="823" y="173"/>
                      </a:lnTo>
                      <a:lnTo>
                        <a:pt x="818" y="168"/>
                      </a:lnTo>
                      <a:lnTo>
                        <a:pt x="811" y="172"/>
                      </a:lnTo>
                      <a:lnTo>
                        <a:pt x="795" y="172"/>
                      </a:lnTo>
                      <a:lnTo>
                        <a:pt x="795" y="163"/>
                      </a:lnTo>
                      <a:lnTo>
                        <a:pt x="797" y="156"/>
                      </a:lnTo>
                      <a:lnTo>
                        <a:pt x="802" y="150"/>
                      </a:lnTo>
                      <a:lnTo>
                        <a:pt x="791" y="139"/>
                      </a:lnTo>
                      <a:lnTo>
                        <a:pt x="807" y="137"/>
                      </a:lnTo>
                      <a:lnTo>
                        <a:pt x="811" y="131"/>
                      </a:lnTo>
                      <a:lnTo>
                        <a:pt x="820" y="131"/>
                      </a:lnTo>
                      <a:lnTo>
                        <a:pt x="825" y="137"/>
                      </a:lnTo>
                      <a:lnTo>
                        <a:pt x="833" y="136"/>
                      </a:lnTo>
                      <a:lnTo>
                        <a:pt x="841" y="137"/>
                      </a:lnTo>
                      <a:lnTo>
                        <a:pt x="849" y="135"/>
                      </a:lnTo>
                      <a:lnTo>
                        <a:pt x="873" y="136"/>
                      </a:lnTo>
                      <a:lnTo>
                        <a:pt x="878" y="142"/>
                      </a:lnTo>
                      <a:lnTo>
                        <a:pt x="888" y="130"/>
                      </a:lnTo>
                      <a:lnTo>
                        <a:pt x="895" y="128"/>
                      </a:lnTo>
                      <a:lnTo>
                        <a:pt x="911" y="128"/>
                      </a:lnTo>
                      <a:lnTo>
                        <a:pt x="918" y="123"/>
                      </a:lnTo>
                      <a:lnTo>
                        <a:pt x="926" y="120"/>
                      </a:lnTo>
                      <a:lnTo>
                        <a:pt x="938" y="110"/>
                      </a:lnTo>
                      <a:lnTo>
                        <a:pt x="947" y="113"/>
                      </a:lnTo>
                      <a:lnTo>
                        <a:pt x="952" y="118"/>
                      </a:lnTo>
                      <a:lnTo>
                        <a:pt x="961" y="118"/>
                      </a:lnTo>
                      <a:lnTo>
                        <a:pt x="963" y="110"/>
                      </a:lnTo>
                      <a:lnTo>
                        <a:pt x="980" y="107"/>
                      </a:lnTo>
                      <a:lnTo>
                        <a:pt x="986" y="102"/>
                      </a:lnTo>
                      <a:lnTo>
                        <a:pt x="995" y="102"/>
                      </a:lnTo>
                      <a:lnTo>
                        <a:pt x="1002" y="98"/>
                      </a:lnTo>
                      <a:lnTo>
                        <a:pt x="1010" y="98"/>
                      </a:lnTo>
                      <a:lnTo>
                        <a:pt x="1017" y="101"/>
                      </a:lnTo>
                      <a:lnTo>
                        <a:pt x="1022" y="93"/>
                      </a:lnTo>
                      <a:lnTo>
                        <a:pt x="1023" y="86"/>
                      </a:lnTo>
                      <a:lnTo>
                        <a:pt x="1027" y="79"/>
                      </a:lnTo>
                      <a:lnTo>
                        <a:pt x="1034" y="74"/>
                      </a:lnTo>
                      <a:lnTo>
                        <a:pt x="1042" y="72"/>
                      </a:lnTo>
                      <a:lnTo>
                        <a:pt x="1049" y="76"/>
                      </a:lnTo>
                      <a:lnTo>
                        <a:pt x="1067" y="70"/>
                      </a:lnTo>
                      <a:lnTo>
                        <a:pt x="1067" y="71"/>
                      </a:lnTo>
                      <a:lnTo>
                        <a:pt x="1104" y="61"/>
                      </a:lnTo>
                      <a:lnTo>
                        <a:pt x="1136" y="58"/>
                      </a:lnTo>
                      <a:lnTo>
                        <a:pt x="1164" y="49"/>
                      </a:lnTo>
                      <a:lnTo>
                        <a:pt x="1171" y="44"/>
                      </a:lnTo>
                      <a:lnTo>
                        <a:pt x="1179" y="44"/>
                      </a:lnTo>
                      <a:lnTo>
                        <a:pt x="1187" y="42"/>
                      </a:lnTo>
                      <a:lnTo>
                        <a:pt x="1191" y="36"/>
                      </a:lnTo>
                      <a:lnTo>
                        <a:pt x="1191" y="28"/>
                      </a:lnTo>
                      <a:lnTo>
                        <a:pt x="1191" y="20"/>
                      </a:lnTo>
                      <a:lnTo>
                        <a:pt x="1200" y="21"/>
                      </a:lnTo>
                      <a:lnTo>
                        <a:pt x="1207" y="20"/>
                      </a:lnTo>
                      <a:lnTo>
                        <a:pt x="1212" y="12"/>
                      </a:lnTo>
                      <a:lnTo>
                        <a:pt x="1218" y="7"/>
                      </a:lnTo>
                      <a:lnTo>
                        <a:pt x="1227" y="7"/>
                      </a:lnTo>
                      <a:lnTo>
                        <a:pt x="1232" y="1"/>
                      </a:lnTo>
                      <a:lnTo>
                        <a:pt x="1239" y="0"/>
                      </a:lnTo>
                      <a:lnTo>
                        <a:pt x="1244" y="6"/>
                      </a:lnTo>
                      <a:lnTo>
                        <a:pt x="1253" y="4"/>
                      </a:lnTo>
                      <a:lnTo>
                        <a:pt x="1260" y="7"/>
                      </a:lnTo>
                      <a:lnTo>
                        <a:pt x="1269" y="5"/>
                      </a:lnTo>
                      <a:lnTo>
                        <a:pt x="1276" y="9"/>
                      </a:lnTo>
                      <a:lnTo>
                        <a:pt x="1281" y="15"/>
                      </a:lnTo>
                      <a:lnTo>
                        <a:pt x="1295" y="23"/>
                      </a:lnTo>
                      <a:lnTo>
                        <a:pt x="1302" y="20"/>
                      </a:lnTo>
                      <a:lnTo>
                        <a:pt x="1308" y="15"/>
                      </a:lnTo>
                      <a:lnTo>
                        <a:pt x="1324" y="12"/>
                      </a:lnTo>
                      <a:lnTo>
                        <a:pt x="1332" y="15"/>
                      </a:lnTo>
                      <a:lnTo>
                        <a:pt x="1338" y="21"/>
                      </a:lnTo>
                      <a:lnTo>
                        <a:pt x="1341" y="28"/>
                      </a:lnTo>
                      <a:lnTo>
                        <a:pt x="1343" y="44"/>
                      </a:lnTo>
                      <a:lnTo>
                        <a:pt x="1341" y="53"/>
                      </a:lnTo>
                      <a:lnTo>
                        <a:pt x="1344" y="60"/>
                      </a:lnTo>
                      <a:lnTo>
                        <a:pt x="1356" y="71"/>
                      </a:lnTo>
                      <a:lnTo>
                        <a:pt x="1352" y="79"/>
                      </a:lnTo>
                      <a:lnTo>
                        <a:pt x="1354" y="94"/>
                      </a:lnTo>
                      <a:lnTo>
                        <a:pt x="1349" y="102"/>
                      </a:lnTo>
                      <a:lnTo>
                        <a:pt x="1344" y="107"/>
                      </a:lnTo>
                      <a:lnTo>
                        <a:pt x="1347" y="114"/>
                      </a:lnTo>
                      <a:lnTo>
                        <a:pt x="1350" y="123"/>
                      </a:lnTo>
                      <a:lnTo>
                        <a:pt x="1366" y="118"/>
                      </a:lnTo>
                      <a:lnTo>
                        <a:pt x="1373" y="123"/>
                      </a:lnTo>
                      <a:lnTo>
                        <a:pt x="1381" y="122"/>
                      </a:lnTo>
                      <a:lnTo>
                        <a:pt x="1384" y="113"/>
                      </a:lnTo>
                      <a:lnTo>
                        <a:pt x="1392" y="113"/>
                      </a:lnTo>
                      <a:lnTo>
                        <a:pt x="1399" y="115"/>
                      </a:lnTo>
                      <a:lnTo>
                        <a:pt x="1402" y="107"/>
                      </a:lnTo>
                      <a:lnTo>
                        <a:pt x="1402" y="99"/>
                      </a:lnTo>
                      <a:lnTo>
                        <a:pt x="1409" y="101"/>
                      </a:lnTo>
                      <a:lnTo>
                        <a:pt x="1413" y="108"/>
                      </a:lnTo>
                      <a:lnTo>
                        <a:pt x="1415" y="117"/>
                      </a:lnTo>
                      <a:lnTo>
                        <a:pt x="1420" y="122"/>
                      </a:lnTo>
                      <a:lnTo>
                        <a:pt x="1418" y="129"/>
                      </a:lnTo>
                      <a:lnTo>
                        <a:pt x="1416" y="137"/>
                      </a:lnTo>
                      <a:lnTo>
                        <a:pt x="1432" y="139"/>
                      </a:lnTo>
                      <a:lnTo>
                        <a:pt x="1430" y="131"/>
                      </a:lnTo>
                      <a:lnTo>
                        <a:pt x="1425" y="125"/>
                      </a:lnTo>
                      <a:lnTo>
                        <a:pt x="1432" y="123"/>
                      </a:lnTo>
                      <a:lnTo>
                        <a:pt x="1448" y="125"/>
                      </a:lnTo>
                      <a:lnTo>
                        <a:pt x="1456" y="130"/>
                      </a:lnTo>
                      <a:lnTo>
                        <a:pt x="1461" y="136"/>
                      </a:lnTo>
                      <a:lnTo>
                        <a:pt x="1469" y="140"/>
                      </a:lnTo>
                      <a:lnTo>
                        <a:pt x="1476" y="140"/>
                      </a:lnTo>
                      <a:lnTo>
                        <a:pt x="1480" y="133"/>
                      </a:lnTo>
                      <a:lnTo>
                        <a:pt x="1488" y="129"/>
                      </a:lnTo>
                      <a:lnTo>
                        <a:pt x="1490" y="137"/>
                      </a:lnTo>
                      <a:lnTo>
                        <a:pt x="1490" y="145"/>
                      </a:lnTo>
                      <a:lnTo>
                        <a:pt x="1481" y="147"/>
                      </a:lnTo>
                      <a:lnTo>
                        <a:pt x="1475" y="152"/>
                      </a:lnTo>
                      <a:lnTo>
                        <a:pt x="1470" y="160"/>
                      </a:lnTo>
                      <a:lnTo>
                        <a:pt x="1468" y="167"/>
                      </a:lnTo>
                      <a:lnTo>
                        <a:pt x="1469" y="176"/>
                      </a:lnTo>
                      <a:lnTo>
                        <a:pt x="1474" y="183"/>
                      </a:lnTo>
                      <a:lnTo>
                        <a:pt x="1481" y="182"/>
                      </a:lnTo>
                      <a:lnTo>
                        <a:pt x="1486" y="176"/>
                      </a:lnTo>
                      <a:lnTo>
                        <a:pt x="1501" y="169"/>
                      </a:lnTo>
                      <a:lnTo>
                        <a:pt x="1508" y="173"/>
                      </a:lnTo>
                      <a:lnTo>
                        <a:pt x="1517" y="172"/>
                      </a:lnTo>
                      <a:lnTo>
                        <a:pt x="1522" y="177"/>
                      </a:lnTo>
                      <a:lnTo>
                        <a:pt x="1531" y="177"/>
                      </a:lnTo>
                      <a:lnTo>
                        <a:pt x="1528" y="169"/>
                      </a:lnTo>
                      <a:lnTo>
                        <a:pt x="1533" y="163"/>
                      </a:lnTo>
                      <a:lnTo>
                        <a:pt x="1542" y="163"/>
                      </a:lnTo>
                      <a:lnTo>
                        <a:pt x="1551" y="151"/>
                      </a:lnTo>
                      <a:lnTo>
                        <a:pt x="1567" y="149"/>
                      </a:lnTo>
                      <a:lnTo>
                        <a:pt x="1580" y="137"/>
                      </a:lnTo>
                      <a:lnTo>
                        <a:pt x="1586" y="123"/>
                      </a:lnTo>
                      <a:lnTo>
                        <a:pt x="1592" y="118"/>
                      </a:lnTo>
                      <a:lnTo>
                        <a:pt x="1601" y="119"/>
                      </a:lnTo>
                      <a:lnTo>
                        <a:pt x="1617" y="115"/>
                      </a:lnTo>
                      <a:lnTo>
                        <a:pt x="1624" y="113"/>
                      </a:lnTo>
                      <a:lnTo>
                        <a:pt x="1628" y="106"/>
                      </a:lnTo>
                      <a:lnTo>
                        <a:pt x="1644" y="104"/>
                      </a:lnTo>
                      <a:lnTo>
                        <a:pt x="1657" y="96"/>
                      </a:lnTo>
                      <a:lnTo>
                        <a:pt x="1661" y="103"/>
                      </a:lnTo>
                      <a:lnTo>
                        <a:pt x="1662" y="110"/>
                      </a:lnTo>
                      <a:lnTo>
                        <a:pt x="1657" y="118"/>
                      </a:lnTo>
                      <a:lnTo>
                        <a:pt x="1650" y="122"/>
                      </a:lnTo>
                      <a:lnTo>
                        <a:pt x="1642" y="120"/>
                      </a:lnTo>
                      <a:lnTo>
                        <a:pt x="1641" y="128"/>
                      </a:lnTo>
                      <a:lnTo>
                        <a:pt x="1644" y="135"/>
                      </a:lnTo>
                      <a:lnTo>
                        <a:pt x="1648" y="137"/>
                      </a:lnTo>
                      <a:lnTo>
                        <a:pt x="1720" y="204"/>
                      </a:lnTo>
                      <a:lnTo>
                        <a:pt x="1840" y="422"/>
                      </a:lnTo>
                      <a:lnTo>
                        <a:pt x="1854" y="411"/>
                      </a:lnTo>
                      <a:lnTo>
                        <a:pt x="1857" y="404"/>
                      </a:lnTo>
                      <a:lnTo>
                        <a:pt x="1857" y="397"/>
                      </a:lnTo>
                      <a:lnTo>
                        <a:pt x="1868" y="383"/>
                      </a:lnTo>
                      <a:lnTo>
                        <a:pt x="1876" y="382"/>
                      </a:lnTo>
                      <a:lnTo>
                        <a:pt x="1881" y="388"/>
                      </a:lnTo>
                      <a:lnTo>
                        <a:pt x="1889" y="391"/>
                      </a:lnTo>
                      <a:lnTo>
                        <a:pt x="1903" y="399"/>
                      </a:lnTo>
                      <a:lnTo>
                        <a:pt x="1899" y="406"/>
                      </a:lnTo>
                      <a:lnTo>
                        <a:pt x="1903" y="413"/>
                      </a:lnTo>
                      <a:lnTo>
                        <a:pt x="1909" y="414"/>
                      </a:lnTo>
                      <a:lnTo>
                        <a:pt x="1914" y="427"/>
                      </a:lnTo>
                      <a:lnTo>
                        <a:pt x="1938" y="425"/>
                      </a:lnTo>
                      <a:lnTo>
                        <a:pt x="1956" y="430"/>
                      </a:lnTo>
                      <a:lnTo>
                        <a:pt x="1963" y="427"/>
                      </a:lnTo>
                      <a:lnTo>
                        <a:pt x="1979" y="427"/>
                      </a:lnTo>
                      <a:lnTo>
                        <a:pt x="1981" y="420"/>
                      </a:lnTo>
                      <a:lnTo>
                        <a:pt x="1986" y="414"/>
                      </a:lnTo>
                      <a:lnTo>
                        <a:pt x="1995" y="415"/>
                      </a:lnTo>
                      <a:lnTo>
                        <a:pt x="2002" y="415"/>
                      </a:lnTo>
                      <a:lnTo>
                        <a:pt x="2006" y="408"/>
                      </a:lnTo>
                      <a:lnTo>
                        <a:pt x="2012" y="403"/>
                      </a:lnTo>
                      <a:lnTo>
                        <a:pt x="2028" y="408"/>
                      </a:lnTo>
                      <a:lnTo>
                        <a:pt x="2035" y="411"/>
                      </a:lnTo>
                      <a:lnTo>
                        <a:pt x="2039" y="419"/>
                      </a:lnTo>
                      <a:lnTo>
                        <a:pt x="2046" y="422"/>
                      </a:lnTo>
                      <a:lnTo>
                        <a:pt x="2056" y="435"/>
                      </a:lnTo>
                      <a:lnTo>
                        <a:pt x="2064" y="438"/>
                      </a:lnTo>
                      <a:lnTo>
                        <a:pt x="2067" y="446"/>
                      </a:lnTo>
                      <a:lnTo>
                        <a:pt x="2065" y="454"/>
                      </a:lnTo>
                      <a:lnTo>
                        <a:pt x="2066" y="462"/>
                      </a:lnTo>
                      <a:lnTo>
                        <a:pt x="2070" y="469"/>
                      </a:lnTo>
                      <a:lnTo>
                        <a:pt x="2078" y="470"/>
                      </a:lnTo>
                      <a:lnTo>
                        <a:pt x="2099" y="481"/>
                      </a:lnTo>
                      <a:lnTo>
                        <a:pt x="2103" y="489"/>
                      </a:lnTo>
                      <a:lnTo>
                        <a:pt x="2103" y="496"/>
                      </a:lnTo>
                      <a:lnTo>
                        <a:pt x="2110" y="500"/>
                      </a:lnTo>
                      <a:lnTo>
                        <a:pt x="2115" y="505"/>
                      </a:lnTo>
                      <a:lnTo>
                        <a:pt x="2123" y="519"/>
                      </a:lnTo>
                      <a:lnTo>
                        <a:pt x="2129" y="524"/>
                      </a:lnTo>
                      <a:lnTo>
                        <a:pt x="2145" y="526"/>
                      </a:lnTo>
                      <a:lnTo>
                        <a:pt x="2152" y="531"/>
                      </a:lnTo>
                      <a:lnTo>
                        <a:pt x="2159" y="533"/>
                      </a:lnTo>
                      <a:lnTo>
                        <a:pt x="2168" y="534"/>
                      </a:lnTo>
                      <a:lnTo>
                        <a:pt x="2177" y="534"/>
                      </a:lnTo>
                      <a:lnTo>
                        <a:pt x="2179" y="527"/>
                      </a:lnTo>
                      <a:lnTo>
                        <a:pt x="2184" y="521"/>
                      </a:lnTo>
                      <a:lnTo>
                        <a:pt x="2199" y="515"/>
                      </a:lnTo>
                      <a:lnTo>
                        <a:pt x="2201" y="523"/>
                      </a:lnTo>
                      <a:lnTo>
                        <a:pt x="2205" y="531"/>
                      </a:lnTo>
                      <a:lnTo>
                        <a:pt x="2212" y="535"/>
                      </a:lnTo>
                      <a:lnTo>
                        <a:pt x="2218" y="549"/>
                      </a:lnTo>
                      <a:lnTo>
                        <a:pt x="2226" y="554"/>
                      </a:lnTo>
                      <a:lnTo>
                        <a:pt x="2230" y="561"/>
                      </a:lnTo>
                      <a:lnTo>
                        <a:pt x="2217" y="587"/>
                      </a:lnTo>
                      <a:lnTo>
                        <a:pt x="2207" y="607"/>
                      </a:lnTo>
                      <a:lnTo>
                        <a:pt x="2191" y="623"/>
                      </a:lnTo>
                      <a:lnTo>
                        <a:pt x="2171" y="629"/>
                      </a:lnTo>
                      <a:lnTo>
                        <a:pt x="2156" y="628"/>
                      </a:lnTo>
                      <a:lnTo>
                        <a:pt x="2145" y="648"/>
                      </a:lnTo>
                      <a:lnTo>
                        <a:pt x="2140" y="673"/>
                      </a:lnTo>
                      <a:lnTo>
                        <a:pt x="2142" y="696"/>
                      </a:lnTo>
                      <a:lnTo>
                        <a:pt x="2139" y="733"/>
                      </a:lnTo>
                      <a:lnTo>
                        <a:pt x="2116" y="741"/>
                      </a:lnTo>
                      <a:lnTo>
                        <a:pt x="2102" y="753"/>
                      </a:lnTo>
                      <a:lnTo>
                        <a:pt x="2092" y="745"/>
                      </a:lnTo>
                      <a:lnTo>
                        <a:pt x="2082" y="736"/>
                      </a:lnTo>
                      <a:lnTo>
                        <a:pt x="2048" y="739"/>
                      </a:lnTo>
                      <a:lnTo>
                        <a:pt x="2030" y="733"/>
                      </a:lnTo>
                      <a:lnTo>
                        <a:pt x="2021" y="726"/>
                      </a:lnTo>
                      <a:lnTo>
                        <a:pt x="1996" y="726"/>
                      </a:lnTo>
                      <a:lnTo>
                        <a:pt x="1986" y="747"/>
                      </a:lnTo>
                      <a:lnTo>
                        <a:pt x="1978" y="773"/>
                      </a:lnTo>
                      <a:lnTo>
                        <a:pt x="1965" y="800"/>
                      </a:lnTo>
                      <a:lnTo>
                        <a:pt x="1959" y="824"/>
                      </a:lnTo>
                      <a:lnTo>
                        <a:pt x="1956" y="844"/>
                      </a:lnTo>
                      <a:lnTo>
                        <a:pt x="1958" y="859"/>
                      </a:lnTo>
                      <a:lnTo>
                        <a:pt x="1964" y="877"/>
                      </a:lnTo>
                      <a:lnTo>
                        <a:pt x="1957" y="882"/>
                      </a:lnTo>
                      <a:lnTo>
                        <a:pt x="1902" y="884"/>
                      </a:lnTo>
                      <a:lnTo>
                        <a:pt x="1879" y="892"/>
                      </a:lnTo>
                      <a:lnTo>
                        <a:pt x="1861" y="894"/>
                      </a:lnTo>
                      <a:lnTo>
                        <a:pt x="1841" y="901"/>
                      </a:lnTo>
                      <a:lnTo>
                        <a:pt x="1831" y="909"/>
                      </a:lnTo>
                      <a:lnTo>
                        <a:pt x="1840" y="916"/>
                      </a:lnTo>
                      <a:lnTo>
                        <a:pt x="1847" y="931"/>
                      </a:lnTo>
                      <a:lnTo>
                        <a:pt x="1852" y="969"/>
                      </a:lnTo>
                      <a:lnTo>
                        <a:pt x="1856" y="984"/>
                      </a:lnTo>
                      <a:lnTo>
                        <a:pt x="1863" y="996"/>
                      </a:lnTo>
                      <a:lnTo>
                        <a:pt x="1872" y="1023"/>
                      </a:lnTo>
                      <a:lnTo>
                        <a:pt x="1872" y="1038"/>
                      </a:lnTo>
                      <a:lnTo>
                        <a:pt x="1859" y="1048"/>
                      </a:lnTo>
                      <a:lnTo>
                        <a:pt x="1860" y="1061"/>
                      </a:lnTo>
                      <a:lnTo>
                        <a:pt x="1852" y="1070"/>
                      </a:lnTo>
                      <a:lnTo>
                        <a:pt x="1850" y="1081"/>
                      </a:lnTo>
                      <a:lnTo>
                        <a:pt x="1850" y="1099"/>
                      </a:lnTo>
                      <a:lnTo>
                        <a:pt x="1843" y="1099"/>
                      </a:lnTo>
                      <a:lnTo>
                        <a:pt x="1823" y="1086"/>
                      </a:lnTo>
                      <a:lnTo>
                        <a:pt x="1807" y="1083"/>
                      </a:lnTo>
                      <a:lnTo>
                        <a:pt x="1792" y="1065"/>
                      </a:lnTo>
                      <a:lnTo>
                        <a:pt x="1776" y="1064"/>
                      </a:lnTo>
                      <a:lnTo>
                        <a:pt x="1768" y="1061"/>
                      </a:lnTo>
                      <a:lnTo>
                        <a:pt x="1760" y="1061"/>
                      </a:lnTo>
                      <a:lnTo>
                        <a:pt x="1753" y="1057"/>
                      </a:lnTo>
                      <a:lnTo>
                        <a:pt x="1745" y="1056"/>
                      </a:lnTo>
                      <a:lnTo>
                        <a:pt x="1721" y="1057"/>
                      </a:lnTo>
                      <a:lnTo>
                        <a:pt x="1698" y="1054"/>
                      </a:lnTo>
                      <a:lnTo>
                        <a:pt x="1689" y="1055"/>
                      </a:lnTo>
                      <a:lnTo>
                        <a:pt x="1674" y="1048"/>
                      </a:lnTo>
                      <a:lnTo>
                        <a:pt x="1667" y="1048"/>
                      </a:lnTo>
                      <a:lnTo>
                        <a:pt x="1652" y="1054"/>
                      </a:lnTo>
                      <a:lnTo>
                        <a:pt x="1620" y="1050"/>
                      </a:lnTo>
                      <a:lnTo>
                        <a:pt x="1612" y="1050"/>
                      </a:lnTo>
                      <a:lnTo>
                        <a:pt x="1596" y="1054"/>
                      </a:lnTo>
                      <a:lnTo>
                        <a:pt x="1580" y="1054"/>
                      </a:lnTo>
                      <a:lnTo>
                        <a:pt x="1571" y="1053"/>
                      </a:lnTo>
                      <a:lnTo>
                        <a:pt x="1565" y="1048"/>
                      </a:lnTo>
                      <a:lnTo>
                        <a:pt x="1556" y="1046"/>
                      </a:lnTo>
                      <a:lnTo>
                        <a:pt x="1540" y="1048"/>
                      </a:lnTo>
                      <a:lnTo>
                        <a:pt x="1534" y="1043"/>
                      </a:lnTo>
                      <a:lnTo>
                        <a:pt x="1513" y="1030"/>
                      </a:lnTo>
                      <a:lnTo>
                        <a:pt x="1506" y="1034"/>
                      </a:lnTo>
                      <a:lnTo>
                        <a:pt x="1499" y="1035"/>
                      </a:lnTo>
                      <a:lnTo>
                        <a:pt x="1491" y="1038"/>
                      </a:lnTo>
                      <a:lnTo>
                        <a:pt x="1479" y="1048"/>
                      </a:lnTo>
                      <a:lnTo>
                        <a:pt x="1478" y="1056"/>
                      </a:lnTo>
                      <a:lnTo>
                        <a:pt x="1473" y="1064"/>
                      </a:lnTo>
                      <a:lnTo>
                        <a:pt x="1470" y="1080"/>
                      </a:lnTo>
                      <a:lnTo>
                        <a:pt x="1467" y="1086"/>
                      </a:lnTo>
                      <a:lnTo>
                        <a:pt x="1451" y="1082"/>
                      </a:lnTo>
                      <a:lnTo>
                        <a:pt x="1437" y="1075"/>
                      </a:lnTo>
                      <a:lnTo>
                        <a:pt x="1421" y="1070"/>
                      </a:lnTo>
                      <a:lnTo>
                        <a:pt x="1414" y="1066"/>
                      </a:lnTo>
                      <a:lnTo>
                        <a:pt x="1406" y="1064"/>
                      </a:lnTo>
                      <a:lnTo>
                        <a:pt x="1398" y="1064"/>
                      </a:lnTo>
                      <a:lnTo>
                        <a:pt x="1383" y="1061"/>
                      </a:lnTo>
                      <a:lnTo>
                        <a:pt x="1375" y="1062"/>
                      </a:lnTo>
                      <a:lnTo>
                        <a:pt x="1367" y="1060"/>
                      </a:lnTo>
                      <a:lnTo>
                        <a:pt x="1351" y="1062"/>
                      </a:lnTo>
                      <a:lnTo>
                        <a:pt x="1344" y="1066"/>
                      </a:lnTo>
                      <a:lnTo>
                        <a:pt x="1341" y="1073"/>
                      </a:lnTo>
                      <a:lnTo>
                        <a:pt x="1343" y="1081"/>
                      </a:lnTo>
                      <a:lnTo>
                        <a:pt x="1338" y="1088"/>
                      </a:lnTo>
                      <a:lnTo>
                        <a:pt x="1334" y="1096"/>
                      </a:lnTo>
                      <a:lnTo>
                        <a:pt x="1332" y="1103"/>
                      </a:lnTo>
                      <a:lnTo>
                        <a:pt x="1320" y="1115"/>
                      </a:lnTo>
                      <a:lnTo>
                        <a:pt x="1313" y="1118"/>
                      </a:lnTo>
                      <a:lnTo>
                        <a:pt x="1306" y="1115"/>
                      </a:lnTo>
                      <a:lnTo>
                        <a:pt x="1300" y="1130"/>
                      </a:lnTo>
                      <a:lnTo>
                        <a:pt x="1293" y="1135"/>
                      </a:lnTo>
                      <a:lnTo>
                        <a:pt x="1271" y="1145"/>
                      </a:lnTo>
                      <a:lnTo>
                        <a:pt x="1257" y="1153"/>
                      </a:lnTo>
                      <a:lnTo>
                        <a:pt x="1252" y="1159"/>
                      </a:lnTo>
                      <a:lnTo>
                        <a:pt x="1244" y="1162"/>
                      </a:lnTo>
                      <a:lnTo>
                        <a:pt x="1237" y="1167"/>
                      </a:lnTo>
                      <a:lnTo>
                        <a:pt x="1233" y="1174"/>
                      </a:lnTo>
                      <a:lnTo>
                        <a:pt x="1231" y="1182"/>
                      </a:lnTo>
                      <a:lnTo>
                        <a:pt x="1225" y="1186"/>
                      </a:lnTo>
                      <a:lnTo>
                        <a:pt x="1217" y="1190"/>
                      </a:lnTo>
                      <a:lnTo>
                        <a:pt x="1209" y="1189"/>
                      </a:lnTo>
                      <a:lnTo>
                        <a:pt x="1194" y="1183"/>
                      </a:lnTo>
                      <a:lnTo>
                        <a:pt x="1185" y="1180"/>
                      </a:lnTo>
                      <a:lnTo>
                        <a:pt x="1172" y="1172"/>
                      </a:lnTo>
                      <a:lnTo>
                        <a:pt x="1115" y="1178"/>
                      </a:lnTo>
                      <a:lnTo>
                        <a:pt x="1105" y="1132"/>
                      </a:lnTo>
                      <a:lnTo>
                        <a:pt x="1072" y="1126"/>
                      </a:lnTo>
                      <a:lnTo>
                        <a:pt x="1071" y="1113"/>
                      </a:lnTo>
                      <a:lnTo>
                        <a:pt x="1071" y="1097"/>
                      </a:lnTo>
                      <a:lnTo>
                        <a:pt x="1080" y="1096"/>
                      </a:lnTo>
                      <a:lnTo>
                        <a:pt x="1078" y="1053"/>
                      </a:lnTo>
                      <a:lnTo>
                        <a:pt x="1065" y="1054"/>
                      </a:lnTo>
                      <a:lnTo>
                        <a:pt x="1048" y="1021"/>
                      </a:lnTo>
                      <a:lnTo>
                        <a:pt x="1035" y="1011"/>
                      </a:lnTo>
                      <a:lnTo>
                        <a:pt x="1028" y="1007"/>
                      </a:lnTo>
                      <a:lnTo>
                        <a:pt x="1016" y="997"/>
                      </a:lnTo>
                      <a:lnTo>
                        <a:pt x="1010" y="991"/>
                      </a:lnTo>
                      <a:lnTo>
                        <a:pt x="996" y="997"/>
                      </a:lnTo>
                      <a:lnTo>
                        <a:pt x="920" y="996"/>
                      </a:lnTo>
                      <a:lnTo>
                        <a:pt x="849" y="1008"/>
                      </a:lnTo>
                      <a:lnTo>
                        <a:pt x="820" y="980"/>
                      </a:lnTo>
                      <a:lnTo>
                        <a:pt x="777" y="932"/>
                      </a:lnTo>
                      <a:lnTo>
                        <a:pt x="742" y="899"/>
                      </a:lnTo>
                      <a:lnTo>
                        <a:pt x="728" y="889"/>
                      </a:lnTo>
                      <a:lnTo>
                        <a:pt x="709" y="874"/>
                      </a:lnTo>
                      <a:lnTo>
                        <a:pt x="689" y="860"/>
                      </a:lnTo>
                      <a:lnTo>
                        <a:pt x="658" y="847"/>
                      </a:lnTo>
                      <a:lnTo>
                        <a:pt x="518" y="898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26" name="Freeform 101"/>
                <p:cNvSpPr>
                  <a:spLocks/>
                </p:cNvSpPr>
                <p:nvPr/>
              </p:nvSpPr>
              <p:spPr bwMode="gray">
                <a:xfrm>
                  <a:off x="5127647" y="2094138"/>
                  <a:ext cx="130593" cy="63871"/>
                </a:xfrm>
                <a:custGeom>
                  <a:avLst/>
                  <a:gdLst>
                    <a:gd name="T0" fmla="*/ 8509 w 368"/>
                    <a:gd name="T1" fmla="*/ 12200 h 182"/>
                    <a:gd name="T2" fmla="*/ 10301 w 368"/>
                    <a:gd name="T3" fmla="*/ 12200 h 182"/>
                    <a:gd name="T4" fmla="*/ 12540 w 368"/>
                    <a:gd name="T5" fmla="*/ 12607 h 182"/>
                    <a:gd name="T6" fmla="*/ 13436 w 368"/>
                    <a:gd name="T7" fmla="*/ 11794 h 182"/>
                    <a:gd name="T8" fmla="*/ 14779 w 368"/>
                    <a:gd name="T9" fmla="*/ 12607 h 182"/>
                    <a:gd name="T10" fmla="*/ 16571 w 368"/>
                    <a:gd name="T11" fmla="*/ 13827 h 182"/>
                    <a:gd name="T12" fmla="*/ 19258 w 368"/>
                    <a:gd name="T13" fmla="*/ 14641 h 182"/>
                    <a:gd name="T14" fmla="*/ 21049 w 368"/>
                    <a:gd name="T15" fmla="*/ 14234 h 182"/>
                    <a:gd name="T16" fmla="*/ 23289 w 368"/>
                    <a:gd name="T17" fmla="*/ 13827 h 182"/>
                    <a:gd name="T18" fmla="*/ 25080 w 368"/>
                    <a:gd name="T19" fmla="*/ 13420 h 182"/>
                    <a:gd name="T20" fmla="*/ 26872 w 368"/>
                    <a:gd name="T21" fmla="*/ 12607 h 182"/>
                    <a:gd name="T22" fmla="*/ 28215 w 368"/>
                    <a:gd name="T23" fmla="*/ 13014 h 182"/>
                    <a:gd name="T24" fmla="*/ 30007 w 368"/>
                    <a:gd name="T25" fmla="*/ 13827 h 182"/>
                    <a:gd name="T26" fmla="*/ 31798 w 368"/>
                    <a:gd name="T27" fmla="*/ 14234 h 182"/>
                    <a:gd name="T28" fmla="*/ 33142 w 368"/>
                    <a:gd name="T29" fmla="*/ 13827 h 182"/>
                    <a:gd name="T30" fmla="*/ 31798 w 368"/>
                    <a:gd name="T31" fmla="*/ 12607 h 182"/>
                    <a:gd name="T32" fmla="*/ 30902 w 368"/>
                    <a:gd name="T33" fmla="*/ 11387 h 182"/>
                    <a:gd name="T34" fmla="*/ 31798 w 368"/>
                    <a:gd name="T35" fmla="*/ 10167 h 182"/>
                    <a:gd name="T36" fmla="*/ 31798 w 368"/>
                    <a:gd name="T37" fmla="*/ 9760 h 182"/>
                    <a:gd name="T38" fmla="*/ 29559 w 368"/>
                    <a:gd name="T39" fmla="*/ 8947 h 182"/>
                    <a:gd name="T40" fmla="*/ 29111 w 368"/>
                    <a:gd name="T41" fmla="*/ 6914 h 182"/>
                    <a:gd name="T42" fmla="*/ 27767 w 368"/>
                    <a:gd name="T43" fmla="*/ 6100 h 182"/>
                    <a:gd name="T44" fmla="*/ 26424 w 368"/>
                    <a:gd name="T45" fmla="*/ 5694 h 182"/>
                    <a:gd name="T46" fmla="*/ 24632 w 368"/>
                    <a:gd name="T47" fmla="*/ 4880 h 182"/>
                    <a:gd name="T48" fmla="*/ 23289 w 368"/>
                    <a:gd name="T49" fmla="*/ 4880 h 182"/>
                    <a:gd name="T50" fmla="*/ 21497 w 368"/>
                    <a:gd name="T51" fmla="*/ 5287 h 182"/>
                    <a:gd name="T52" fmla="*/ 20154 w 368"/>
                    <a:gd name="T53" fmla="*/ 5694 h 182"/>
                    <a:gd name="T54" fmla="*/ 19258 w 368"/>
                    <a:gd name="T55" fmla="*/ 4880 h 182"/>
                    <a:gd name="T56" fmla="*/ 15227 w 368"/>
                    <a:gd name="T57" fmla="*/ 2847 h 182"/>
                    <a:gd name="T58" fmla="*/ 13436 w 368"/>
                    <a:gd name="T59" fmla="*/ 2440 h 182"/>
                    <a:gd name="T60" fmla="*/ 9853 w 368"/>
                    <a:gd name="T61" fmla="*/ 2033 h 182"/>
                    <a:gd name="T62" fmla="*/ 6718 w 368"/>
                    <a:gd name="T63" fmla="*/ 1220 h 182"/>
                    <a:gd name="T64" fmla="*/ 4926 w 368"/>
                    <a:gd name="T65" fmla="*/ 407 h 182"/>
                    <a:gd name="T66" fmla="*/ 2687 w 368"/>
                    <a:gd name="T67" fmla="*/ 407 h 182"/>
                    <a:gd name="T68" fmla="*/ 1344 w 368"/>
                    <a:gd name="T69" fmla="*/ 0 h 182"/>
                    <a:gd name="T70" fmla="*/ 448 w 368"/>
                    <a:gd name="T71" fmla="*/ 813 h 182"/>
                    <a:gd name="T72" fmla="*/ 1791 w 368"/>
                    <a:gd name="T73" fmla="*/ 2033 h 182"/>
                    <a:gd name="T74" fmla="*/ 4926 w 368"/>
                    <a:gd name="T75" fmla="*/ 3253 h 182"/>
                    <a:gd name="T76" fmla="*/ 7166 w 368"/>
                    <a:gd name="T77" fmla="*/ 4473 h 182"/>
                    <a:gd name="T78" fmla="*/ 7614 w 368"/>
                    <a:gd name="T79" fmla="*/ 6507 h 182"/>
                    <a:gd name="T80" fmla="*/ 8957 w 368"/>
                    <a:gd name="T81" fmla="*/ 8947 h 182"/>
                    <a:gd name="T82" fmla="*/ 8957 w 368"/>
                    <a:gd name="T83" fmla="*/ 10980 h 182"/>
                    <a:gd name="T84" fmla="*/ 7614 w 368"/>
                    <a:gd name="T85" fmla="*/ 11794 h 182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368"/>
                    <a:gd name="T130" fmla="*/ 0 h 182"/>
                    <a:gd name="T131" fmla="*/ 368 w 368"/>
                    <a:gd name="T132" fmla="*/ 182 h 182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368" h="182">
                      <a:moveTo>
                        <a:pt x="87" y="148"/>
                      </a:moveTo>
                      <a:lnTo>
                        <a:pt x="94" y="154"/>
                      </a:lnTo>
                      <a:lnTo>
                        <a:pt x="102" y="154"/>
                      </a:lnTo>
                      <a:lnTo>
                        <a:pt x="115" y="150"/>
                      </a:lnTo>
                      <a:lnTo>
                        <a:pt x="134" y="156"/>
                      </a:lnTo>
                      <a:lnTo>
                        <a:pt x="140" y="156"/>
                      </a:lnTo>
                      <a:lnTo>
                        <a:pt x="145" y="149"/>
                      </a:lnTo>
                      <a:lnTo>
                        <a:pt x="150" y="145"/>
                      </a:lnTo>
                      <a:lnTo>
                        <a:pt x="158" y="148"/>
                      </a:lnTo>
                      <a:lnTo>
                        <a:pt x="166" y="155"/>
                      </a:lnTo>
                      <a:lnTo>
                        <a:pt x="177" y="171"/>
                      </a:lnTo>
                      <a:lnTo>
                        <a:pt x="182" y="172"/>
                      </a:lnTo>
                      <a:lnTo>
                        <a:pt x="191" y="182"/>
                      </a:lnTo>
                      <a:lnTo>
                        <a:pt x="212" y="181"/>
                      </a:lnTo>
                      <a:lnTo>
                        <a:pt x="219" y="176"/>
                      </a:lnTo>
                      <a:lnTo>
                        <a:pt x="235" y="175"/>
                      </a:lnTo>
                      <a:lnTo>
                        <a:pt x="242" y="171"/>
                      </a:lnTo>
                      <a:lnTo>
                        <a:pt x="258" y="174"/>
                      </a:lnTo>
                      <a:lnTo>
                        <a:pt x="267" y="172"/>
                      </a:lnTo>
                      <a:lnTo>
                        <a:pt x="277" y="167"/>
                      </a:lnTo>
                      <a:lnTo>
                        <a:pt x="282" y="166"/>
                      </a:lnTo>
                      <a:lnTo>
                        <a:pt x="296" y="156"/>
                      </a:lnTo>
                      <a:lnTo>
                        <a:pt x="304" y="158"/>
                      </a:lnTo>
                      <a:lnTo>
                        <a:pt x="311" y="160"/>
                      </a:lnTo>
                      <a:lnTo>
                        <a:pt x="317" y="166"/>
                      </a:lnTo>
                      <a:lnTo>
                        <a:pt x="332" y="174"/>
                      </a:lnTo>
                      <a:lnTo>
                        <a:pt x="341" y="172"/>
                      </a:lnTo>
                      <a:lnTo>
                        <a:pt x="355" y="179"/>
                      </a:lnTo>
                      <a:lnTo>
                        <a:pt x="364" y="180"/>
                      </a:lnTo>
                      <a:lnTo>
                        <a:pt x="368" y="174"/>
                      </a:lnTo>
                      <a:lnTo>
                        <a:pt x="365" y="166"/>
                      </a:lnTo>
                      <a:lnTo>
                        <a:pt x="352" y="156"/>
                      </a:lnTo>
                      <a:lnTo>
                        <a:pt x="349" y="149"/>
                      </a:lnTo>
                      <a:lnTo>
                        <a:pt x="343" y="143"/>
                      </a:lnTo>
                      <a:lnTo>
                        <a:pt x="344" y="134"/>
                      </a:lnTo>
                      <a:lnTo>
                        <a:pt x="355" y="124"/>
                      </a:lnTo>
                      <a:lnTo>
                        <a:pt x="357" y="124"/>
                      </a:lnTo>
                      <a:lnTo>
                        <a:pt x="352" y="121"/>
                      </a:lnTo>
                      <a:lnTo>
                        <a:pt x="345" y="116"/>
                      </a:lnTo>
                      <a:lnTo>
                        <a:pt x="329" y="111"/>
                      </a:lnTo>
                      <a:lnTo>
                        <a:pt x="317" y="101"/>
                      </a:lnTo>
                      <a:lnTo>
                        <a:pt x="321" y="86"/>
                      </a:lnTo>
                      <a:lnTo>
                        <a:pt x="317" y="79"/>
                      </a:lnTo>
                      <a:lnTo>
                        <a:pt x="310" y="75"/>
                      </a:lnTo>
                      <a:lnTo>
                        <a:pt x="302" y="75"/>
                      </a:lnTo>
                      <a:lnTo>
                        <a:pt x="295" y="72"/>
                      </a:lnTo>
                      <a:lnTo>
                        <a:pt x="290" y="66"/>
                      </a:lnTo>
                      <a:lnTo>
                        <a:pt x="274" y="63"/>
                      </a:lnTo>
                      <a:lnTo>
                        <a:pt x="267" y="64"/>
                      </a:lnTo>
                      <a:lnTo>
                        <a:pt x="261" y="59"/>
                      </a:lnTo>
                      <a:lnTo>
                        <a:pt x="252" y="59"/>
                      </a:lnTo>
                      <a:lnTo>
                        <a:pt x="237" y="66"/>
                      </a:lnTo>
                      <a:lnTo>
                        <a:pt x="231" y="70"/>
                      </a:lnTo>
                      <a:lnTo>
                        <a:pt x="223" y="73"/>
                      </a:lnTo>
                      <a:lnTo>
                        <a:pt x="215" y="69"/>
                      </a:lnTo>
                      <a:lnTo>
                        <a:pt x="213" y="61"/>
                      </a:lnTo>
                      <a:lnTo>
                        <a:pt x="175" y="39"/>
                      </a:lnTo>
                      <a:lnTo>
                        <a:pt x="171" y="34"/>
                      </a:lnTo>
                      <a:lnTo>
                        <a:pt x="164" y="29"/>
                      </a:lnTo>
                      <a:lnTo>
                        <a:pt x="148" y="29"/>
                      </a:lnTo>
                      <a:lnTo>
                        <a:pt x="132" y="24"/>
                      </a:lnTo>
                      <a:lnTo>
                        <a:pt x="108" y="26"/>
                      </a:lnTo>
                      <a:lnTo>
                        <a:pt x="99" y="25"/>
                      </a:lnTo>
                      <a:lnTo>
                        <a:pt x="76" y="15"/>
                      </a:lnTo>
                      <a:lnTo>
                        <a:pt x="60" y="13"/>
                      </a:lnTo>
                      <a:lnTo>
                        <a:pt x="54" y="7"/>
                      </a:lnTo>
                      <a:lnTo>
                        <a:pt x="40" y="2"/>
                      </a:lnTo>
                      <a:lnTo>
                        <a:pt x="31" y="3"/>
                      </a:lnTo>
                      <a:lnTo>
                        <a:pt x="24" y="0"/>
                      </a:lnTo>
                      <a:lnTo>
                        <a:pt x="15" y="2"/>
                      </a:lnTo>
                      <a:lnTo>
                        <a:pt x="0" y="7"/>
                      </a:lnTo>
                      <a:lnTo>
                        <a:pt x="5" y="11"/>
                      </a:lnTo>
                      <a:lnTo>
                        <a:pt x="14" y="18"/>
                      </a:lnTo>
                      <a:lnTo>
                        <a:pt x="21" y="27"/>
                      </a:lnTo>
                      <a:lnTo>
                        <a:pt x="31" y="32"/>
                      </a:lnTo>
                      <a:lnTo>
                        <a:pt x="56" y="39"/>
                      </a:lnTo>
                      <a:lnTo>
                        <a:pt x="67" y="51"/>
                      </a:lnTo>
                      <a:lnTo>
                        <a:pt x="78" y="57"/>
                      </a:lnTo>
                      <a:lnTo>
                        <a:pt x="84" y="68"/>
                      </a:lnTo>
                      <a:lnTo>
                        <a:pt x="87" y="82"/>
                      </a:lnTo>
                      <a:lnTo>
                        <a:pt x="91" y="104"/>
                      </a:lnTo>
                      <a:lnTo>
                        <a:pt x="100" y="113"/>
                      </a:lnTo>
                      <a:lnTo>
                        <a:pt x="100" y="124"/>
                      </a:lnTo>
                      <a:lnTo>
                        <a:pt x="99" y="138"/>
                      </a:lnTo>
                      <a:lnTo>
                        <a:pt x="92" y="145"/>
                      </a:lnTo>
                      <a:lnTo>
                        <a:pt x="87" y="148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27" name="Freeform 102"/>
                <p:cNvSpPr>
                  <a:spLocks/>
                </p:cNvSpPr>
                <p:nvPr/>
              </p:nvSpPr>
              <p:spPr bwMode="gray">
                <a:xfrm>
                  <a:off x="5439061" y="2039779"/>
                  <a:ext cx="331505" cy="214715"/>
                </a:xfrm>
                <a:custGeom>
                  <a:avLst/>
                  <a:gdLst>
                    <a:gd name="T0" fmla="*/ 0 w 940"/>
                    <a:gd name="T1" fmla="*/ 21312 h 612"/>
                    <a:gd name="T2" fmla="*/ 4900 w 940"/>
                    <a:gd name="T3" fmla="*/ 25411 h 612"/>
                    <a:gd name="T4" fmla="*/ 5791 w 940"/>
                    <a:gd name="T5" fmla="*/ 22542 h 612"/>
                    <a:gd name="T6" fmla="*/ 8463 w 940"/>
                    <a:gd name="T7" fmla="*/ 21312 h 612"/>
                    <a:gd name="T8" fmla="*/ 10245 w 940"/>
                    <a:gd name="T9" fmla="*/ 19263 h 612"/>
                    <a:gd name="T10" fmla="*/ 11136 w 940"/>
                    <a:gd name="T11" fmla="*/ 19263 h 612"/>
                    <a:gd name="T12" fmla="*/ 12918 w 940"/>
                    <a:gd name="T13" fmla="*/ 18034 h 612"/>
                    <a:gd name="T14" fmla="*/ 16481 w 940"/>
                    <a:gd name="T15" fmla="*/ 20493 h 612"/>
                    <a:gd name="T16" fmla="*/ 19599 w 940"/>
                    <a:gd name="T17" fmla="*/ 21312 h 612"/>
                    <a:gd name="T18" fmla="*/ 20490 w 940"/>
                    <a:gd name="T19" fmla="*/ 23362 h 612"/>
                    <a:gd name="T20" fmla="*/ 20045 w 940"/>
                    <a:gd name="T21" fmla="*/ 25821 h 612"/>
                    <a:gd name="T22" fmla="*/ 23608 w 940"/>
                    <a:gd name="T23" fmla="*/ 27050 h 612"/>
                    <a:gd name="T24" fmla="*/ 27172 w 940"/>
                    <a:gd name="T25" fmla="*/ 26231 h 612"/>
                    <a:gd name="T26" fmla="*/ 29844 w 940"/>
                    <a:gd name="T27" fmla="*/ 28690 h 612"/>
                    <a:gd name="T28" fmla="*/ 31181 w 940"/>
                    <a:gd name="T29" fmla="*/ 31559 h 612"/>
                    <a:gd name="T30" fmla="*/ 32517 w 940"/>
                    <a:gd name="T31" fmla="*/ 35247 h 612"/>
                    <a:gd name="T32" fmla="*/ 40980 w 940"/>
                    <a:gd name="T33" fmla="*/ 39756 h 612"/>
                    <a:gd name="T34" fmla="*/ 46325 w 940"/>
                    <a:gd name="T35" fmla="*/ 44264 h 612"/>
                    <a:gd name="T36" fmla="*/ 50334 w 940"/>
                    <a:gd name="T37" fmla="*/ 44674 h 612"/>
                    <a:gd name="T38" fmla="*/ 51671 w 940"/>
                    <a:gd name="T39" fmla="*/ 46314 h 612"/>
                    <a:gd name="T40" fmla="*/ 51671 w 940"/>
                    <a:gd name="T41" fmla="*/ 49592 h 612"/>
                    <a:gd name="T42" fmla="*/ 56125 w 940"/>
                    <a:gd name="T43" fmla="*/ 50002 h 612"/>
                    <a:gd name="T44" fmla="*/ 57461 w 940"/>
                    <a:gd name="T45" fmla="*/ 48773 h 612"/>
                    <a:gd name="T46" fmla="*/ 59689 w 940"/>
                    <a:gd name="T47" fmla="*/ 45494 h 612"/>
                    <a:gd name="T48" fmla="*/ 59689 w 940"/>
                    <a:gd name="T49" fmla="*/ 43854 h 612"/>
                    <a:gd name="T50" fmla="*/ 59243 w 940"/>
                    <a:gd name="T51" fmla="*/ 40576 h 612"/>
                    <a:gd name="T52" fmla="*/ 57016 w 940"/>
                    <a:gd name="T53" fmla="*/ 39756 h 612"/>
                    <a:gd name="T54" fmla="*/ 56125 w 940"/>
                    <a:gd name="T55" fmla="*/ 37707 h 612"/>
                    <a:gd name="T56" fmla="*/ 57907 w 940"/>
                    <a:gd name="T57" fmla="*/ 36067 h 612"/>
                    <a:gd name="T58" fmla="*/ 61025 w 940"/>
                    <a:gd name="T59" fmla="*/ 36477 h 612"/>
                    <a:gd name="T60" fmla="*/ 64588 w 940"/>
                    <a:gd name="T61" fmla="*/ 33608 h 612"/>
                    <a:gd name="T62" fmla="*/ 64588 w 940"/>
                    <a:gd name="T63" fmla="*/ 31149 h 612"/>
                    <a:gd name="T64" fmla="*/ 66370 w 940"/>
                    <a:gd name="T65" fmla="*/ 30329 h 612"/>
                    <a:gd name="T66" fmla="*/ 70379 w 940"/>
                    <a:gd name="T67" fmla="*/ 28280 h 612"/>
                    <a:gd name="T68" fmla="*/ 71715 w 940"/>
                    <a:gd name="T69" fmla="*/ 29100 h 612"/>
                    <a:gd name="T70" fmla="*/ 70379 w 940"/>
                    <a:gd name="T71" fmla="*/ 31149 h 612"/>
                    <a:gd name="T72" fmla="*/ 72606 w 940"/>
                    <a:gd name="T73" fmla="*/ 32379 h 612"/>
                    <a:gd name="T74" fmla="*/ 76170 w 940"/>
                    <a:gd name="T75" fmla="*/ 32788 h 612"/>
                    <a:gd name="T76" fmla="*/ 79288 w 940"/>
                    <a:gd name="T77" fmla="*/ 31559 h 612"/>
                    <a:gd name="T78" fmla="*/ 81515 w 940"/>
                    <a:gd name="T79" fmla="*/ 30739 h 612"/>
                    <a:gd name="T80" fmla="*/ 83297 w 940"/>
                    <a:gd name="T81" fmla="*/ 29100 h 612"/>
                    <a:gd name="T82" fmla="*/ 79288 w 940"/>
                    <a:gd name="T83" fmla="*/ 27870 h 612"/>
                    <a:gd name="T84" fmla="*/ 77061 w 940"/>
                    <a:gd name="T85" fmla="*/ 25821 h 612"/>
                    <a:gd name="T86" fmla="*/ 75279 w 940"/>
                    <a:gd name="T87" fmla="*/ 27460 h 612"/>
                    <a:gd name="T88" fmla="*/ 70825 w 940"/>
                    <a:gd name="T89" fmla="*/ 25821 h 612"/>
                    <a:gd name="T90" fmla="*/ 71270 w 940"/>
                    <a:gd name="T91" fmla="*/ 23772 h 612"/>
                    <a:gd name="T92" fmla="*/ 74388 w 940"/>
                    <a:gd name="T93" fmla="*/ 20493 h 612"/>
                    <a:gd name="T94" fmla="*/ 70825 w 940"/>
                    <a:gd name="T95" fmla="*/ 22132 h 612"/>
                    <a:gd name="T96" fmla="*/ 67261 w 940"/>
                    <a:gd name="T97" fmla="*/ 24181 h 612"/>
                    <a:gd name="T98" fmla="*/ 64143 w 940"/>
                    <a:gd name="T99" fmla="*/ 26231 h 612"/>
                    <a:gd name="T100" fmla="*/ 62361 w 940"/>
                    <a:gd name="T101" fmla="*/ 27870 h 612"/>
                    <a:gd name="T102" fmla="*/ 58352 w 940"/>
                    <a:gd name="T103" fmla="*/ 26641 h 612"/>
                    <a:gd name="T104" fmla="*/ 49444 w 940"/>
                    <a:gd name="T105" fmla="*/ 21722 h 612"/>
                    <a:gd name="T106" fmla="*/ 48553 w 940"/>
                    <a:gd name="T107" fmla="*/ 16804 h 612"/>
                    <a:gd name="T108" fmla="*/ 44544 w 940"/>
                    <a:gd name="T109" fmla="*/ 12296 h 612"/>
                    <a:gd name="T110" fmla="*/ 29399 w 940"/>
                    <a:gd name="T111" fmla="*/ 13115 h 612"/>
                    <a:gd name="T112" fmla="*/ 18708 w 940"/>
                    <a:gd name="T113" fmla="*/ 3279 h 612"/>
                    <a:gd name="T114" fmla="*/ 0 w 940"/>
                    <a:gd name="T115" fmla="*/ 4099 h 612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940"/>
                    <a:gd name="T175" fmla="*/ 0 h 612"/>
                    <a:gd name="T176" fmla="*/ 940 w 940"/>
                    <a:gd name="T177" fmla="*/ 612 h 612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940" h="612">
                      <a:moveTo>
                        <a:pt x="0" y="51"/>
                      </a:moveTo>
                      <a:lnTo>
                        <a:pt x="0" y="121"/>
                      </a:lnTo>
                      <a:lnTo>
                        <a:pt x="0" y="195"/>
                      </a:lnTo>
                      <a:lnTo>
                        <a:pt x="0" y="260"/>
                      </a:lnTo>
                      <a:lnTo>
                        <a:pt x="0" y="321"/>
                      </a:lnTo>
                      <a:lnTo>
                        <a:pt x="54" y="330"/>
                      </a:lnTo>
                      <a:lnTo>
                        <a:pt x="62" y="325"/>
                      </a:lnTo>
                      <a:lnTo>
                        <a:pt x="56" y="310"/>
                      </a:lnTo>
                      <a:lnTo>
                        <a:pt x="57" y="303"/>
                      </a:lnTo>
                      <a:lnTo>
                        <a:pt x="52" y="287"/>
                      </a:lnTo>
                      <a:lnTo>
                        <a:pt x="56" y="279"/>
                      </a:lnTo>
                      <a:lnTo>
                        <a:pt x="63" y="274"/>
                      </a:lnTo>
                      <a:lnTo>
                        <a:pt x="67" y="268"/>
                      </a:lnTo>
                      <a:lnTo>
                        <a:pt x="72" y="261"/>
                      </a:lnTo>
                      <a:lnTo>
                        <a:pt x="80" y="260"/>
                      </a:lnTo>
                      <a:lnTo>
                        <a:pt x="96" y="260"/>
                      </a:lnTo>
                      <a:lnTo>
                        <a:pt x="105" y="256"/>
                      </a:lnTo>
                      <a:lnTo>
                        <a:pt x="107" y="249"/>
                      </a:lnTo>
                      <a:lnTo>
                        <a:pt x="107" y="241"/>
                      </a:lnTo>
                      <a:lnTo>
                        <a:pt x="115" y="238"/>
                      </a:lnTo>
                      <a:lnTo>
                        <a:pt x="127" y="246"/>
                      </a:lnTo>
                      <a:lnTo>
                        <a:pt x="135" y="249"/>
                      </a:lnTo>
                      <a:lnTo>
                        <a:pt x="132" y="241"/>
                      </a:lnTo>
                      <a:lnTo>
                        <a:pt x="127" y="234"/>
                      </a:lnTo>
                      <a:lnTo>
                        <a:pt x="121" y="229"/>
                      </a:lnTo>
                      <a:lnTo>
                        <a:pt x="128" y="225"/>
                      </a:lnTo>
                      <a:lnTo>
                        <a:pt x="135" y="225"/>
                      </a:lnTo>
                      <a:lnTo>
                        <a:pt x="143" y="220"/>
                      </a:lnTo>
                      <a:lnTo>
                        <a:pt x="144" y="214"/>
                      </a:lnTo>
                      <a:lnTo>
                        <a:pt x="165" y="235"/>
                      </a:lnTo>
                      <a:lnTo>
                        <a:pt x="178" y="244"/>
                      </a:lnTo>
                      <a:lnTo>
                        <a:pt x="183" y="250"/>
                      </a:lnTo>
                      <a:lnTo>
                        <a:pt x="192" y="253"/>
                      </a:lnTo>
                      <a:lnTo>
                        <a:pt x="201" y="251"/>
                      </a:lnTo>
                      <a:lnTo>
                        <a:pt x="216" y="255"/>
                      </a:lnTo>
                      <a:lnTo>
                        <a:pt x="220" y="262"/>
                      </a:lnTo>
                      <a:lnTo>
                        <a:pt x="218" y="269"/>
                      </a:lnTo>
                      <a:lnTo>
                        <a:pt x="219" y="278"/>
                      </a:lnTo>
                      <a:lnTo>
                        <a:pt x="225" y="283"/>
                      </a:lnTo>
                      <a:lnTo>
                        <a:pt x="231" y="287"/>
                      </a:lnTo>
                      <a:lnTo>
                        <a:pt x="224" y="290"/>
                      </a:lnTo>
                      <a:lnTo>
                        <a:pt x="224" y="298"/>
                      </a:lnTo>
                      <a:lnTo>
                        <a:pt x="225" y="306"/>
                      </a:lnTo>
                      <a:lnTo>
                        <a:pt x="223" y="314"/>
                      </a:lnTo>
                      <a:lnTo>
                        <a:pt x="228" y="320"/>
                      </a:lnTo>
                      <a:lnTo>
                        <a:pt x="242" y="328"/>
                      </a:lnTo>
                      <a:lnTo>
                        <a:pt x="259" y="331"/>
                      </a:lnTo>
                      <a:lnTo>
                        <a:pt x="267" y="330"/>
                      </a:lnTo>
                      <a:lnTo>
                        <a:pt x="291" y="335"/>
                      </a:lnTo>
                      <a:lnTo>
                        <a:pt x="299" y="332"/>
                      </a:lnTo>
                      <a:lnTo>
                        <a:pt x="300" y="325"/>
                      </a:lnTo>
                      <a:lnTo>
                        <a:pt x="306" y="321"/>
                      </a:lnTo>
                      <a:lnTo>
                        <a:pt x="314" y="326"/>
                      </a:lnTo>
                      <a:lnTo>
                        <a:pt x="326" y="337"/>
                      </a:lnTo>
                      <a:lnTo>
                        <a:pt x="331" y="343"/>
                      </a:lnTo>
                      <a:lnTo>
                        <a:pt x="333" y="351"/>
                      </a:lnTo>
                      <a:lnTo>
                        <a:pt x="334" y="366"/>
                      </a:lnTo>
                      <a:lnTo>
                        <a:pt x="338" y="374"/>
                      </a:lnTo>
                      <a:lnTo>
                        <a:pt x="345" y="378"/>
                      </a:lnTo>
                      <a:lnTo>
                        <a:pt x="350" y="384"/>
                      </a:lnTo>
                      <a:lnTo>
                        <a:pt x="355" y="400"/>
                      </a:lnTo>
                      <a:lnTo>
                        <a:pt x="354" y="408"/>
                      </a:lnTo>
                      <a:lnTo>
                        <a:pt x="360" y="423"/>
                      </a:lnTo>
                      <a:lnTo>
                        <a:pt x="365" y="429"/>
                      </a:lnTo>
                      <a:lnTo>
                        <a:pt x="416" y="459"/>
                      </a:lnTo>
                      <a:lnTo>
                        <a:pt x="436" y="483"/>
                      </a:lnTo>
                      <a:lnTo>
                        <a:pt x="443" y="488"/>
                      </a:lnTo>
                      <a:lnTo>
                        <a:pt x="460" y="489"/>
                      </a:lnTo>
                      <a:lnTo>
                        <a:pt x="473" y="498"/>
                      </a:lnTo>
                      <a:lnTo>
                        <a:pt x="493" y="513"/>
                      </a:lnTo>
                      <a:lnTo>
                        <a:pt x="515" y="536"/>
                      </a:lnTo>
                      <a:lnTo>
                        <a:pt x="521" y="542"/>
                      </a:lnTo>
                      <a:lnTo>
                        <a:pt x="530" y="543"/>
                      </a:lnTo>
                      <a:lnTo>
                        <a:pt x="536" y="538"/>
                      </a:lnTo>
                      <a:lnTo>
                        <a:pt x="544" y="537"/>
                      </a:lnTo>
                      <a:lnTo>
                        <a:pt x="567" y="547"/>
                      </a:lnTo>
                      <a:lnTo>
                        <a:pt x="572" y="553"/>
                      </a:lnTo>
                      <a:lnTo>
                        <a:pt x="579" y="557"/>
                      </a:lnTo>
                      <a:lnTo>
                        <a:pt x="585" y="562"/>
                      </a:lnTo>
                      <a:lnTo>
                        <a:pt x="581" y="569"/>
                      </a:lnTo>
                      <a:lnTo>
                        <a:pt x="578" y="577"/>
                      </a:lnTo>
                      <a:lnTo>
                        <a:pt x="578" y="592"/>
                      </a:lnTo>
                      <a:lnTo>
                        <a:pt x="579" y="601"/>
                      </a:lnTo>
                      <a:lnTo>
                        <a:pt x="578" y="606"/>
                      </a:lnTo>
                      <a:lnTo>
                        <a:pt x="607" y="605"/>
                      </a:lnTo>
                      <a:lnTo>
                        <a:pt x="615" y="607"/>
                      </a:lnTo>
                      <a:lnTo>
                        <a:pt x="621" y="612"/>
                      </a:lnTo>
                      <a:lnTo>
                        <a:pt x="630" y="610"/>
                      </a:lnTo>
                      <a:lnTo>
                        <a:pt x="643" y="611"/>
                      </a:lnTo>
                      <a:lnTo>
                        <a:pt x="648" y="608"/>
                      </a:lnTo>
                      <a:lnTo>
                        <a:pt x="648" y="601"/>
                      </a:lnTo>
                      <a:lnTo>
                        <a:pt x="646" y="595"/>
                      </a:lnTo>
                      <a:lnTo>
                        <a:pt x="653" y="581"/>
                      </a:lnTo>
                      <a:lnTo>
                        <a:pt x="661" y="570"/>
                      </a:lnTo>
                      <a:lnTo>
                        <a:pt x="664" y="564"/>
                      </a:lnTo>
                      <a:lnTo>
                        <a:pt x="671" y="559"/>
                      </a:lnTo>
                      <a:lnTo>
                        <a:pt x="676" y="554"/>
                      </a:lnTo>
                      <a:lnTo>
                        <a:pt x="678" y="547"/>
                      </a:lnTo>
                      <a:lnTo>
                        <a:pt x="677" y="541"/>
                      </a:lnTo>
                      <a:lnTo>
                        <a:pt x="670" y="536"/>
                      </a:lnTo>
                      <a:lnTo>
                        <a:pt x="665" y="529"/>
                      </a:lnTo>
                      <a:lnTo>
                        <a:pt x="661" y="513"/>
                      </a:lnTo>
                      <a:lnTo>
                        <a:pt x="665" y="507"/>
                      </a:lnTo>
                      <a:lnTo>
                        <a:pt x="666" y="498"/>
                      </a:lnTo>
                      <a:lnTo>
                        <a:pt x="664" y="491"/>
                      </a:lnTo>
                      <a:lnTo>
                        <a:pt x="658" y="486"/>
                      </a:lnTo>
                      <a:lnTo>
                        <a:pt x="649" y="487"/>
                      </a:lnTo>
                      <a:lnTo>
                        <a:pt x="640" y="486"/>
                      </a:lnTo>
                      <a:lnTo>
                        <a:pt x="638" y="478"/>
                      </a:lnTo>
                      <a:lnTo>
                        <a:pt x="630" y="473"/>
                      </a:lnTo>
                      <a:lnTo>
                        <a:pt x="624" y="467"/>
                      </a:lnTo>
                      <a:lnTo>
                        <a:pt x="632" y="462"/>
                      </a:lnTo>
                      <a:lnTo>
                        <a:pt x="630" y="454"/>
                      </a:lnTo>
                      <a:lnTo>
                        <a:pt x="634" y="448"/>
                      </a:lnTo>
                      <a:lnTo>
                        <a:pt x="642" y="444"/>
                      </a:lnTo>
                      <a:lnTo>
                        <a:pt x="650" y="443"/>
                      </a:lnTo>
                      <a:lnTo>
                        <a:pt x="656" y="449"/>
                      </a:lnTo>
                      <a:lnTo>
                        <a:pt x="664" y="450"/>
                      </a:lnTo>
                      <a:lnTo>
                        <a:pt x="680" y="449"/>
                      </a:lnTo>
                      <a:lnTo>
                        <a:pt x="687" y="446"/>
                      </a:lnTo>
                      <a:lnTo>
                        <a:pt x="699" y="424"/>
                      </a:lnTo>
                      <a:lnTo>
                        <a:pt x="699" y="417"/>
                      </a:lnTo>
                      <a:lnTo>
                        <a:pt x="707" y="412"/>
                      </a:lnTo>
                      <a:lnTo>
                        <a:pt x="723" y="409"/>
                      </a:lnTo>
                      <a:lnTo>
                        <a:pt x="729" y="405"/>
                      </a:lnTo>
                      <a:lnTo>
                        <a:pt x="731" y="397"/>
                      </a:lnTo>
                      <a:lnTo>
                        <a:pt x="731" y="389"/>
                      </a:lnTo>
                      <a:lnTo>
                        <a:pt x="726" y="382"/>
                      </a:lnTo>
                      <a:lnTo>
                        <a:pt x="732" y="378"/>
                      </a:lnTo>
                      <a:lnTo>
                        <a:pt x="734" y="369"/>
                      </a:lnTo>
                      <a:lnTo>
                        <a:pt x="741" y="365"/>
                      </a:lnTo>
                      <a:lnTo>
                        <a:pt x="747" y="370"/>
                      </a:lnTo>
                      <a:lnTo>
                        <a:pt x="756" y="369"/>
                      </a:lnTo>
                      <a:lnTo>
                        <a:pt x="769" y="362"/>
                      </a:lnTo>
                      <a:lnTo>
                        <a:pt x="784" y="354"/>
                      </a:lnTo>
                      <a:lnTo>
                        <a:pt x="788" y="347"/>
                      </a:lnTo>
                      <a:lnTo>
                        <a:pt x="794" y="342"/>
                      </a:lnTo>
                      <a:lnTo>
                        <a:pt x="801" y="342"/>
                      </a:lnTo>
                      <a:lnTo>
                        <a:pt x="802" y="351"/>
                      </a:lnTo>
                      <a:lnTo>
                        <a:pt x="807" y="357"/>
                      </a:lnTo>
                      <a:lnTo>
                        <a:pt x="809" y="364"/>
                      </a:lnTo>
                      <a:lnTo>
                        <a:pt x="805" y="371"/>
                      </a:lnTo>
                      <a:lnTo>
                        <a:pt x="798" y="375"/>
                      </a:lnTo>
                      <a:lnTo>
                        <a:pt x="791" y="380"/>
                      </a:lnTo>
                      <a:lnTo>
                        <a:pt x="796" y="396"/>
                      </a:lnTo>
                      <a:lnTo>
                        <a:pt x="800" y="403"/>
                      </a:lnTo>
                      <a:lnTo>
                        <a:pt x="809" y="402"/>
                      </a:lnTo>
                      <a:lnTo>
                        <a:pt x="816" y="398"/>
                      </a:lnTo>
                      <a:lnTo>
                        <a:pt x="820" y="398"/>
                      </a:lnTo>
                      <a:lnTo>
                        <a:pt x="832" y="397"/>
                      </a:lnTo>
                      <a:lnTo>
                        <a:pt x="839" y="398"/>
                      </a:lnTo>
                      <a:lnTo>
                        <a:pt x="855" y="403"/>
                      </a:lnTo>
                      <a:lnTo>
                        <a:pt x="871" y="401"/>
                      </a:lnTo>
                      <a:lnTo>
                        <a:pt x="877" y="396"/>
                      </a:lnTo>
                      <a:lnTo>
                        <a:pt x="881" y="389"/>
                      </a:lnTo>
                      <a:lnTo>
                        <a:pt x="888" y="385"/>
                      </a:lnTo>
                      <a:lnTo>
                        <a:pt x="896" y="385"/>
                      </a:lnTo>
                      <a:lnTo>
                        <a:pt x="901" y="379"/>
                      </a:lnTo>
                      <a:lnTo>
                        <a:pt x="909" y="381"/>
                      </a:lnTo>
                      <a:lnTo>
                        <a:pt x="915" y="378"/>
                      </a:lnTo>
                      <a:lnTo>
                        <a:pt x="919" y="369"/>
                      </a:lnTo>
                      <a:lnTo>
                        <a:pt x="935" y="365"/>
                      </a:lnTo>
                      <a:lnTo>
                        <a:pt x="940" y="358"/>
                      </a:lnTo>
                      <a:lnTo>
                        <a:pt x="933" y="354"/>
                      </a:lnTo>
                      <a:lnTo>
                        <a:pt x="925" y="357"/>
                      </a:lnTo>
                      <a:lnTo>
                        <a:pt x="909" y="352"/>
                      </a:lnTo>
                      <a:lnTo>
                        <a:pt x="898" y="342"/>
                      </a:lnTo>
                      <a:lnTo>
                        <a:pt x="890" y="342"/>
                      </a:lnTo>
                      <a:lnTo>
                        <a:pt x="884" y="337"/>
                      </a:lnTo>
                      <a:lnTo>
                        <a:pt x="870" y="328"/>
                      </a:lnTo>
                      <a:lnTo>
                        <a:pt x="870" y="320"/>
                      </a:lnTo>
                      <a:lnTo>
                        <a:pt x="865" y="314"/>
                      </a:lnTo>
                      <a:lnTo>
                        <a:pt x="858" y="310"/>
                      </a:lnTo>
                      <a:lnTo>
                        <a:pt x="853" y="325"/>
                      </a:lnTo>
                      <a:lnTo>
                        <a:pt x="845" y="330"/>
                      </a:lnTo>
                      <a:lnTo>
                        <a:pt x="843" y="337"/>
                      </a:lnTo>
                      <a:lnTo>
                        <a:pt x="836" y="337"/>
                      </a:lnTo>
                      <a:lnTo>
                        <a:pt x="812" y="327"/>
                      </a:lnTo>
                      <a:lnTo>
                        <a:pt x="804" y="314"/>
                      </a:lnTo>
                      <a:lnTo>
                        <a:pt x="796" y="317"/>
                      </a:lnTo>
                      <a:lnTo>
                        <a:pt x="790" y="312"/>
                      </a:lnTo>
                      <a:lnTo>
                        <a:pt x="782" y="310"/>
                      </a:lnTo>
                      <a:lnTo>
                        <a:pt x="783" y="301"/>
                      </a:lnTo>
                      <a:lnTo>
                        <a:pt x="798" y="292"/>
                      </a:lnTo>
                      <a:lnTo>
                        <a:pt x="810" y="280"/>
                      </a:lnTo>
                      <a:lnTo>
                        <a:pt x="820" y="268"/>
                      </a:lnTo>
                      <a:lnTo>
                        <a:pt x="834" y="262"/>
                      </a:lnTo>
                      <a:lnTo>
                        <a:pt x="833" y="253"/>
                      </a:lnTo>
                      <a:lnTo>
                        <a:pt x="816" y="249"/>
                      </a:lnTo>
                      <a:lnTo>
                        <a:pt x="814" y="256"/>
                      </a:lnTo>
                      <a:lnTo>
                        <a:pt x="802" y="268"/>
                      </a:lnTo>
                      <a:lnTo>
                        <a:pt x="795" y="271"/>
                      </a:lnTo>
                      <a:lnTo>
                        <a:pt x="788" y="268"/>
                      </a:lnTo>
                      <a:lnTo>
                        <a:pt x="782" y="283"/>
                      </a:lnTo>
                      <a:lnTo>
                        <a:pt x="775" y="288"/>
                      </a:lnTo>
                      <a:lnTo>
                        <a:pt x="753" y="298"/>
                      </a:lnTo>
                      <a:lnTo>
                        <a:pt x="739" y="306"/>
                      </a:lnTo>
                      <a:lnTo>
                        <a:pt x="734" y="312"/>
                      </a:lnTo>
                      <a:lnTo>
                        <a:pt x="726" y="315"/>
                      </a:lnTo>
                      <a:lnTo>
                        <a:pt x="719" y="320"/>
                      </a:lnTo>
                      <a:lnTo>
                        <a:pt x="715" y="327"/>
                      </a:lnTo>
                      <a:lnTo>
                        <a:pt x="713" y="335"/>
                      </a:lnTo>
                      <a:lnTo>
                        <a:pt x="707" y="339"/>
                      </a:lnTo>
                      <a:lnTo>
                        <a:pt x="699" y="343"/>
                      </a:lnTo>
                      <a:lnTo>
                        <a:pt x="691" y="342"/>
                      </a:lnTo>
                      <a:lnTo>
                        <a:pt x="676" y="335"/>
                      </a:lnTo>
                      <a:lnTo>
                        <a:pt x="667" y="333"/>
                      </a:lnTo>
                      <a:lnTo>
                        <a:pt x="654" y="325"/>
                      </a:lnTo>
                      <a:lnTo>
                        <a:pt x="597" y="331"/>
                      </a:lnTo>
                      <a:lnTo>
                        <a:pt x="587" y="285"/>
                      </a:lnTo>
                      <a:lnTo>
                        <a:pt x="554" y="279"/>
                      </a:lnTo>
                      <a:lnTo>
                        <a:pt x="553" y="266"/>
                      </a:lnTo>
                      <a:lnTo>
                        <a:pt x="554" y="250"/>
                      </a:lnTo>
                      <a:lnTo>
                        <a:pt x="562" y="249"/>
                      </a:lnTo>
                      <a:lnTo>
                        <a:pt x="560" y="206"/>
                      </a:lnTo>
                      <a:lnTo>
                        <a:pt x="547" y="207"/>
                      </a:lnTo>
                      <a:lnTo>
                        <a:pt x="530" y="174"/>
                      </a:lnTo>
                      <a:lnTo>
                        <a:pt x="517" y="164"/>
                      </a:lnTo>
                      <a:lnTo>
                        <a:pt x="510" y="160"/>
                      </a:lnTo>
                      <a:lnTo>
                        <a:pt x="498" y="150"/>
                      </a:lnTo>
                      <a:lnTo>
                        <a:pt x="492" y="144"/>
                      </a:lnTo>
                      <a:lnTo>
                        <a:pt x="478" y="150"/>
                      </a:lnTo>
                      <a:lnTo>
                        <a:pt x="402" y="149"/>
                      </a:lnTo>
                      <a:lnTo>
                        <a:pt x="331" y="161"/>
                      </a:lnTo>
                      <a:lnTo>
                        <a:pt x="304" y="133"/>
                      </a:lnTo>
                      <a:lnTo>
                        <a:pt x="259" y="85"/>
                      </a:lnTo>
                      <a:lnTo>
                        <a:pt x="224" y="52"/>
                      </a:lnTo>
                      <a:lnTo>
                        <a:pt x="210" y="42"/>
                      </a:lnTo>
                      <a:lnTo>
                        <a:pt x="191" y="26"/>
                      </a:lnTo>
                      <a:lnTo>
                        <a:pt x="171" y="13"/>
                      </a:lnTo>
                      <a:lnTo>
                        <a:pt x="142" y="0"/>
                      </a:lnTo>
                      <a:lnTo>
                        <a:pt x="0" y="51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28" name="Freeform 103"/>
                <p:cNvSpPr>
                  <a:spLocks/>
                </p:cNvSpPr>
                <p:nvPr/>
              </p:nvSpPr>
              <p:spPr bwMode="gray">
                <a:xfrm>
                  <a:off x="5371253" y="2113163"/>
                  <a:ext cx="274998" cy="190254"/>
                </a:xfrm>
                <a:custGeom>
                  <a:avLst/>
                  <a:gdLst>
                    <a:gd name="T0" fmla="*/ 22329 w 778"/>
                    <a:gd name="T1" fmla="*/ 7871 h 536"/>
                    <a:gd name="T2" fmla="*/ 22776 w 778"/>
                    <a:gd name="T3" fmla="*/ 4971 h 536"/>
                    <a:gd name="T4" fmla="*/ 25902 w 778"/>
                    <a:gd name="T5" fmla="*/ 3728 h 536"/>
                    <a:gd name="T6" fmla="*/ 27688 w 778"/>
                    <a:gd name="T7" fmla="*/ 2071 h 536"/>
                    <a:gd name="T8" fmla="*/ 28581 w 778"/>
                    <a:gd name="T9" fmla="*/ 1657 h 536"/>
                    <a:gd name="T10" fmla="*/ 29921 w 778"/>
                    <a:gd name="T11" fmla="*/ 414 h 536"/>
                    <a:gd name="T12" fmla="*/ 33494 w 778"/>
                    <a:gd name="T13" fmla="*/ 2900 h 536"/>
                    <a:gd name="T14" fmla="*/ 37066 w 778"/>
                    <a:gd name="T15" fmla="*/ 4143 h 536"/>
                    <a:gd name="T16" fmla="*/ 37959 w 778"/>
                    <a:gd name="T17" fmla="*/ 6214 h 536"/>
                    <a:gd name="T18" fmla="*/ 37066 w 778"/>
                    <a:gd name="T19" fmla="*/ 8285 h 536"/>
                    <a:gd name="T20" fmla="*/ 41086 w 778"/>
                    <a:gd name="T21" fmla="*/ 9528 h 536"/>
                    <a:gd name="T22" fmla="*/ 44658 w 778"/>
                    <a:gd name="T23" fmla="*/ 9114 h 536"/>
                    <a:gd name="T24" fmla="*/ 46891 w 778"/>
                    <a:gd name="T25" fmla="*/ 11599 h 536"/>
                    <a:gd name="T26" fmla="*/ 48677 w 778"/>
                    <a:gd name="T27" fmla="*/ 14085 h 536"/>
                    <a:gd name="T28" fmla="*/ 50017 w 778"/>
                    <a:gd name="T29" fmla="*/ 17813 h 536"/>
                    <a:gd name="T30" fmla="*/ 58502 w 778"/>
                    <a:gd name="T31" fmla="*/ 22785 h 536"/>
                    <a:gd name="T32" fmla="*/ 63861 w 778"/>
                    <a:gd name="T33" fmla="*/ 27342 h 536"/>
                    <a:gd name="T34" fmla="*/ 67881 w 778"/>
                    <a:gd name="T35" fmla="*/ 27756 h 536"/>
                    <a:gd name="T36" fmla="*/ 69220 w 778"/>
                    <a:gd name="T37" fmla="*/ 29827 h 536"/>
                    <a:gd name="T38" fmla="*/ 69220 w 778"/>
                    <a:gd name="T39" fmla="*/ 32727 h 536"/>
                    <a:gd name="T40" fmla="*/ 65201 w 778"/>
                    <a:gd name="T41" fmla="*/ 31899 h 536"/>
                    <a:gd name="T42" fmla="*/ 64308 w 778"/>
                    <a:gd name="T43" fmla="*/ 33141 h 536"/>
                    <a:gd name="T44" fmla="*/ 61182 w 778"/>
                    <a:gd name="T45" fmla="*/ 33141 h 536"/>
                    <a:gd name="T46" fmla="*/ 60289 w 778"/>
                    <a:gd name="T47" fmla="*/ 34798 h 536"/>
                    <a:gd name="T48" fmla="*/ 59395 w 778"/>
                    <a:gd name="T49" fmla="*/ 38113 h 536"/>
                    <a:gd name="T50" fmla="*/ 56716 w 778"/>
                    <a:gd name="T51" fmla="*/ 40184 h 536"/>
                    <a:gd name="T52" fmla="*/ 53143 w 778"/>
                    <a:gd name="T53" fmla="*/ 41427 h 536"/>
                    <a:gd name="T54" fmla="*/ 52697 w 778"/>
                    <a:gd name="T55" fmla="*/ 42669 h 536"/>
                    <a:gd name="T56" fmla="*/ 50910 w 778"/>
                    <a:gd name="T57" fmla="*/ 43912 h 536"/>
                    <a:gd name="T58" fmla="*/ 48231 w 778"/>
                    <a:gd name="T59" fmla="*/ 44741 h 536"/>
                    <a:gd name="T60" fmla="*/ 45551 w 778"/>
                    <a:gd name="T61" fmla="*/ 43498 h 536"/>
                    <a:gd name="T62" fmla="*/ 43318 w 778"/>
                    <a:gd name="T63" fmla="*/ 42255 h 536"/>
                    <a:gd name="T64" fmla="*/ 42425 w 778"/>
                    <a:gd name="T65" fmla="*/ 36870 h 536"/>
                    <a:gd name="T66" fmla="*/ 35280 w 778"/>
                    <a:gd name="T67" fmla="*/ 33556 h 536"/>
                    <a:gd name="T68" fmla="*/ 32601 w 778"/>
                    <a:gd name="T69" fmla="*/ 30656 h 536"/>
                    <a:gd name="T70" fmla="*/ 28135 w 778"/>
                    <a:gd name="T71" fmla="*/ 29827 h 536"/>
                    <a:gd name="T72" fmla="*/ 20543 w 778"/>
                    <a:gd name="T73" fmla="*/ 26927 h 536"/>
                    <a:gd name="T74" fmla="*/ 17863 w 778"/>
                    <a:gd name="T75" fmla="*/ 28170 h 536"/>
                    <a:gd name="T76" fmla="*/ 12951 w 778"/>
                    <a:gd name="T77" fmla="*/ 29413 h 536"/>
                    <a:gd name="T78" fmla="*/ 7145 w 778"/>
                    <a:gd name="T79" fmla="*/ 31484 h 536"/>
                    <a:gd name="T80" fmla="*/ 7592 w 778"/>
                    <a:gd name="T81" fmla="*/ 22785 h 536"/>
                    <a:gd name="T82" fmla="*/ 4466 w 778"/>
                    <a:gd name="T83" fmla="*/ 20713 h 536"/>
                    <a:gd name="T84" fmla="*/ 5806 w 778"/>
                    <a:gd name="T85" fmla="*/ 19056 h 536"/>
                    <a:gd name="T86" fmla="*/ 6252 w 778"/>
                    <a:gd name="T87" fmla="*/ 17813 h 536"/>
                    <a:gd name="T88" fmla="*/ 3126 w 778"/>
                    <a:gd name="T89" fmla="*/ 16985 h 536"/>
                    <a:gd name="T90" fmla="*/ 1340 w 778"/>
                    <a:gd name="T91" fmla="*/ 13671 h 536"/>
                    <a:gd name="T92" fmla="*/ 2233 w 778"/>
                    <a:gd name="T93" fmla="*/ 12014 h 536"/>
                    <a:gd name="T94" fmla="*/ 7592 w 778"/>
                    <a:gd name="T95" fmla="*/ 12842 h 536"/>
                    <a:gd name="T96" fmla="*/ 8485 w 778"/>
                    <a:gd name="T97" fmla="*/ 12428 h 536"/>
                    <a:gd name="T98" fmla="*/ 7592 w 778"/>
                    <a:gd name="T99" fmla="*/ 7457 h 536"/>
                    <a:gd name="T100" fmla="*/ 4912 w 778"/>
                    <a:gd name="T101" fmla="*/ 4557 h 536"/>
                    <a:gd name="T102" fmla="*/ 1340 w 778"/>
                    <a:gd name="T103" fmla="*/ 7457 h 536"/>
                    <a:gd name="T104" fmla="*/ 447 w 778"/>
                    <a:gd name="T105" fmla="*/ 7871 h 536"/>
                    <a:gd name="T106" fmla="*/ 6699 w 778"/>
                    <a:gd name="T107" fmla="*/ 2486 h 536"/>
                    <a:gd name="T108" fmla="*/ 9378 w 778"/>
                    <a:gd name="T109" fmla="*/ 3314 h 536"/>
                    <a:gd name="T110" fmla="*/ 12504 w 778"/>
                    <a:gd name="T111" fmla="*/ 6214 h 536"/>
                    <a:gd name="T112" fmla="*/ 16077 w 778"/>
                    <a:gd name="T113" fmla="*/ 9528 h 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778"/>
                    <a:gd name="T172" fmla="*/ 0 h 536"/>
                    <a:gd name="T173" fmla="*/ 778 w 778"/>
                    <a:gd name="T174" fmla="*/ 536 h 536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778" h="536">
                      <a:moveTo>
                        <a:pt x="193" y="107"/>
                      </a:moveTo>
                      <a:lnTo>
                        <a:pt x="247" y="116"/>
                      </a:lnTo>
                      <a:lnTo>
                        <a:pt x="255" y="111"/>
                      </a:lnTo>
                      <a:lnTo>
                        <a:pt x="249" y="96"/>
                      </a:lnTo>
                      <a:lnTo>
                        <a:pt x="250" y="89"/>
                      </a:lnTo>
                      <a:lnTo>
                        <a:pt x="245" y="73"/>
                      </a:lnTo>
                      <a:lnTo>
                        <a:pt x="249" y="65"/>
                      </a:lnTo>
                      <a:lnTo>
                        <a:pt x="256" y="60"/>
                      </a:lnTo>
                      <a:lnTo>
                        <a:pt x="260" y="54"/>
                      </a:lnTo>
                      <a:lnTo>
                        <a:pt x="265" y="47"/>
                      </a:lnTo>
                      <a:lnTo>
                        <a:pt x="273" y="46"/>
                      </a:lnTo>
                      <a:lnTo>
                        <a:pt x="289" y="46"/>
                      </a:lnTo>
                      <a:lnTo>
                        <a:pt x="298" y="42"/>
                      </a:lnTo>
                      <a:lnTo>
                        <a:pt x="300" y="35"/>
                      </a:lnTo>
                      <a:lnTo>
                        <a:pt x="300" y="27"/>
                      </a:lnTo>
                      <a:lnTo>
                        <a:pt x="308" y="24"/>
                      </a:lnTo>
                      <a:lnTo>
                        <a:pt x="320" y="32"/>
                      </a:lnTo>
                      <a:lnTo>
                        <a:pt x="328" y="35"/>
                      </a:lnTo>
                      <a:lnTo>
                        <a:pt x="325" y="27"/>
                      </a:lnTo>
                      <a:lnTo>
                        <a:pt x="320" y="20"/>
                      </a:lnTo>
                      <a:lnTo>
                        <a:pt x="314" y="15"/>
                      </a:lnTo>
                      <a:lnTo>
                        <a:pt x="321" y="11"/>
                      </a:lnTo>
                      <a:lnTo>
                        <a:pt x="328" y="11"/>
                      </a:lnTo>
                      <a:lnTo>
                        <a:pt x="336" y="6"/>
                      </a:lnTo>
                      <a:lnTo>
                        <a:pt x="337" y="0"/>
                      </a:lnTo>
                      <a:lnTo>
                        <a:pt x="358" y="21"/>
                      </a:lnTo>
                      <a:lnTo>
                        <a:pt x="371" y="30"/>
                      </a:lnTo>
                      <a:lnTo>
                        <a:pt x="376" y="36"/>
                      </a:lnTo>
                      <a:lnTo>
                        <a:pt x="385" y="39"/>
                      </a:lnTo>
                      <a:lnTo>
                        <a:pt x="394" y="37"/>
                      </a:lnTo>
                      <a:lnTo>
                        <a:pt x="409" y="41"/>
                      </a:lnTo>
                      <a:lnTo>
                        <a:pt x="413" y="48"/>
                      </a:lnTo>
                      <a:lnTo>
                        <a:pt x="411" y="55"/>
                      </a:lnTo>
                      <a:lnTo>
                        <a:pt x="412" y="64"/>
                      </a:lnTo>
                      <a:lnTo>
                        <a:pt x="418" y="69"/>
                      </a:lnTo>
                      <a:lnTo>
                        <a:pt x="424" y="73"/>
                      </a:lnTo>
                      <a:lnTo>
                        <a:pt x="417" y="76"/>
                      </a:lnTo>
                      <a:lnTo>
                        <a:pt x="417" y="84"/>
                      </a:lnTo>
                      <a:lnTo>
                        <a:pt x="418" y="92"/>
                      </a:lnTo>
                      <a:lnTo>
                        <a:pt x="416" y="100"/>
                      </a:lnTo>
                      <a:lnTo>
                        <a:pt x="421" y="106"/>
                      </a:lnTo>
                      <a:lnTo>
                        <a:pt x="435" y="114"/>
                      </a:lnTo>
                      <a:lnTo>
                        <a:pt x="452" y="117"/>
                      </a:lnTo>
                      <a:lnTo>
                        <a:pt x="460" y="116"/>
                      </a:lnTo>
                      <a:lnTo>
                        <a:pt x="484" y="121"/>
                      </a:lnTo>
                      <a:lnTo>
                        <a:pt x="492" y="118"/>
                      </a:lnTo>
                      <a:lnTo>
                        <a:pt x="493" y="111"/>
                      </a:lnTo>
                      <a:lnTo>
                        <a:pt x="499" y="107"/>
                      </a:lnTo>
                      <a:lnTo>
                        <a:pt x="507" y="112"/>
                      </a:lnTo>
                      <a:lnTo>
                        <a:pt x="519" y="123"/>
                      </a:lnTo>
                      <a:lnTo>
                        <a:pt x="524" y="129"/>
                      </a:lnTo>
                      <a:lnTo>
                        <a:pt x="526" y="137"/>
                      </a:lnTo>
                      <a:lnTo>
                        <a:pt x="527" y="152"/>
                      </a:lnTo>
                      <a:lnTo>
                        <a:pt x="531" y="160"/>
                      </a:lnTo>
                      <a:lnTo>
                        <a:pt x="538" y="164"/>
                      </a:lnTo>
                      <a:lnTo>
                        <a:pt x="543" y="170"/>
                      </a:lnTo>
                      <a:lnTo>
                        <a:pt x="548" y="186"/>
                      </a:lnTo>
                      <a:lnTo>
                        <a:pt x="547" y="194"/>
                      </a:lnTo>
                      <a:lnTo>
                        <a:pt x="553" y="209"/>
                      </a:lnTo>
                      <a:lnTo>
                        <a:pt x="558" y="215"/>
                      </a:lnTo>
                      <a:lnTo>
                        <a:pt x="609" y="245"/>
                      </a:lnTo>
                      <a:lnTo>
                        <a:pt x="629" y="269"/>
                      </a:lnTo>
                      <a:lnTo>
                        <a:pt x="636" y="274"/>
                      </a:lnTo>
                      <a:lnTo>
                        <a:pt x="653" y="275"/>
                      </a:lnTo>
                      <a:lnTo>
                        <a:pt x="666" y="284"/>
                      </a:lnTo>
                      <a:lnTo>
                        <a:pt x="686" y="299"/>
                      </a:lnTo>
                      <a:lnTo>
                        <a:pt x="708" y="322"/>
                      </a:lnTo>
                      <a:lnTo>
                        <a:pt x="714" y="328"/>
                      </a:lnTo>
                      <a:lnTo>
                        <a:pt x="723" y="329"/>
                      </a:lnTo>
                      <a:lnTo>
                        <a:pt x="729" y="324"/>
                      </a:lnTo>
                      <a:lnTo>
                        <a:pt x="737" y="323"/>
                      </a:lnTo>
                      <a:lnTo>
                        <a:pt x="760" y="333"/>
                      </a:lnTo>
                      <a:lnTo>
                        <a:pt x="765" y="339"/>
                      </a:lnTo>
                      <a:lnTo>
                        <a:pt x="772" y="343"/>
                      </a:lnTo>
                      <a:lnTo>
                        <a:pt x="778" y="348"/>
                      </a:lnTo>
                      <a:lnTo>
                        <a:pt x="774" y="355"/>
                      </a:lnTo>
                      <a:lnTo>
                        <a:pt x="771" y="363"/>
                      </a:lnTo>
                      <a:lnTo>
                        <a:pt x="771" y="378"/>
                      </a:lnTo>
                      <a:lnTo>
                        <a:pt x="772" y="387"/>
                      </a:lnTo>
                      <a:lnTo>
                        <a:pt x="771" y="392"/>
                      </a:lnTo>
                      <a:lnTo>
                        <a:pt x="756" y="392"/>
                      </a:lnTo>
                      <a:lnTo>
                        <a:pt x="746" y="388"/>
                      </a:lnTo>
                      <a:lnTo>
                        <a:pt x="733" y="380"/>
                      </a:lnTo>
                      <a:lnTo>
                        <a:pt x="728" y="380"/>
                      </a:lnTo>
                      <a:lnTo>
                        <a:pt x="723" y="380"/>
                      </a:lnTo>
                      <a:lnTo>
                        <a:pt x="720" y="383"/>
                      </a:lnTo>
                      <a:lnTo>
                        <a:pt x="719" y="391"/>
                      </a:lnTo>
                      <a:lnTo>
                        <a:pt x="717" y="397"/>
                      </a:lnTo>
                      <a:lnTo>
                        <a:pt x="714" y="398"/>
                      </a:lnTo>
                      <a:lnTo>
                        <a:pt x="699" y="398"/>
                      </a:lnTo>
                      <a:lnTo>
                        <a:pt x="693" y="397"/>
                      </a:lnTo>
                      <a:lnTo>
                        <a:pt x="685" y="398"/>
                      </a:lnTo>
                      <a:lnTo>
                        <a:pt x="680" y="404"/>
                      </a:lnTo>
                      <a:lnTo>
                        <a:pt x="676" y="408"/>
                      </a:lnTo>
                      <a:lnTo>
                        <a:pt x="675" y="410"/>
                      </a:lnTo>
                      <a:lnTo>
                        <a:pt x="675" y="417"/>
                      </a:lnTo>
                      <a:lnTo>
                        <a:pt x="669" y="434"/>
                      </a:lnTo>
                      <a:lnTo>
                        <a:pt x="666" y="437"/>
                      </a:lnTo>
                      <a:lnTo>
                        <a:pt x="664" y="450"/>
                      </a:lnTo>
                      <a:lnTo>
                        <a:pt x="664" y="457"/>
                      </a:lnTo>
                      <a:lnTo>
                        <a:pt x="663" y="462"/>
                      </a:lnTo>
                      <a:lnTo>
                        <a:pt x="648" y="472"/>
                      </a:lnTo>
                      <a:lnTo>
                        <a:pt x="640" y="473"/>
                      </a:lnTo>
                      <a:lnTo>
                        <a:pt x="634" y="479"/>
                      </a:lnTo>
                      <a:lnTo>
                        <a:pt x="626" y="483"/>
                      </a:lnTo>
                      <a:lnTo>
                        <a:pt x="618" y="488"/>
                      </a:lnTo>
                      <a:lnTo>
                        <a:pt x="601" y="491"/>
                      </a:lnTo>
                      <a:lnTo>
                        <a:pt x="594" y="494"/>
                      </a:lnTo>
                      <a:lnTo>
                        <a:pt x="586" y="493"/>
                      </a:lnTo>
                      <a:lnTo>
                        <a:pt x="586" y="499"/>
                      </a:lnTo>
                      <a:lnTo>
                        <a:pt x="593" y="504"/>
                      </a:lnTo>
                      <a:lnTo>
                        <a:pt x="589" y="509"/>
                      </a:lnTo>
                      <a:lnTo>
                        <a:pt x="585" y="510"/>
                      </a:lnTo>
                      <a:lnTo>
                        <a:pt x="583" y="522"/>
                      </a:lnTo>
                      <a:lnTo>
                        <a:pt x="579" y="525"/>
                      </a:lnTo>
                      <a:lnTo>
                        <a:pt x="570" y="528"/>
                      </a:lnTo>
                      <a:lnTo>
                        <a:pt x="564" y="534"/>
                      </a:lnTo>
                      <a:lnTo>
                        <a:pt x="551" y="534"/>
                      </a:lnTo>
                      <a:lnTo>
                        <a:pt x="543" y="536"/>
                      </a:lnTo>
                      <a:lnTo>
                        <a:pt x="538" y="536"/>
                      </a:lnTo>
                      <a:lnTo>
                        <a:pt x="534" y="530"/>
                      </a:lnTo>
                      <a:lnTo>
                        <a:pt x="526" y="526"/>
                      </a:lnTo>
                      <a:lnTo>
                        <a:pt x="520" y="521"/>
                      </a:lnTo>
                      <a:lnTo>
                        <a:pt x="508" y="523"/>
                      </a:lnTo>
                      <a:lnTo>
                        <a:pt x="497" y="520"/>
                      </a:lnTo>
                      <a:lnTo>
                        <a:pt x="494" y="517"/>
                      </a:lnTo>
                      <a:lnTo>
                        <a:pt x="488" y="511"/>
                      </a:lnTo>
                      <a:lnTo>
                        <a:pt x="482" y="507"/>
                      </a:lnTo>
                      <a:lnTo>
                        <a:pt x="484" y="494"/>
                      </a:lnTo>
                      <a:lnTo>
                        <a:pt x="481" y="483"/>
                      </a:lnTo>
                      <a:lnTo>
                        <a:pt x="481" y="446"/>
                      </a:lnTo>
                      <a:lnTo>
                        <a:pt x="476" y="441"/>
                      </a:lnTo>
                      <a:lnTo>
                        <a:pt x="450" y="441"/>
                      </a:lnTo>
                      <a:lnTo>
                        <a:pt x="434" y="431"/>
                      </a:lnTo>
                      <a:lnTo>
                        <a:pt x="412" y="413"/>
                      </a:lnTo>
                      <a:lnTo>
                        <a:pt x="396" y="403"/>
                      </a:lnTo>
                      <a:lnTo>
                        <a:pt x="386" y="399"/>
                      </a:lnTo>
                      <a:lnTo>
                        <a:pt x="382" y="387"/>
                      </a:lnTo>
                      <a:lnTo>
                        <a:pt x="373" y="374"/>
                      </a:lnTo>
                      <a:lnTo>
                        <a:pt x="364" y="369"/>
                      </a:lnTo>
                      <a:lnTo>
                        <a:pt x="349" y="366"/>
                      </a:lnTo>
                      <a:lnTo>
                        <a:pt x="338" y="369"/>
                      </a:lnTo>
                      <a:lnTo>
                        <a:pt x="327" y="366"/>
                      </a:lnTo>
                      <a:lnTo>
                        <a:pt x="314" y="359"/>
                      </a:lnTo>
                      <a:lnTo>
                        <a:pt x="276" y="347"/>
                      </a:lnTo>
                      <a:lnTo>
                        <a:pt x="267" y="335"/>
                      </a:lnTo>
                      <a:lnTo>
                        <a:pt x="252" y="323"/>
                      </a:lnTo>
                      <a:lnTo>
                        <a:pt x="231" y="321"/>
                      </a:lnTo>
                      <a:lnTo>
                        <a:pt x="217" y="323"/>
                      </a:lnTo>
                      <a:lnTo>
                        <a:pt x="214" y="332"/>
                      </a:lnTo>
                      <a:lnTo>
                        <a:pt x="209" y="337"/>
                      </a:lnTo>
                      <a:lnTo>
                        <a:pt x="198" y="337"/>
                      </a:lnTo>
                      <a:lnTo>
                        <a:pt x="187" y="333"/>
                      </a:lnTo>
                      <a:lnTo>
                        <a:pt x="176" y="333"/>
                      </a:lnTo>
                      <a:lnTo>
                        <a:pt x="160" y="337"/>
                      </a:lnTo>
                      <a:lnTo>
                        <a:pt x="145" y="351"/>
                      </a:lnTo>
                      <a:lnTo>
                        <a:pt x="111" y="378"/>
                      </a:lnTo>
                      <a:lnTo>
                        <a:pt x="93" y="382"/>
                      </a:lnTo>
                      <a:lnTo>
                        <a:pt x="79" y="382"/>
                      </a:lnTo>
                      <a:lnTo>
                        <a:pt x="80" y="378"/>
                      </a:lnTo>
                      <a:lnTo>
                        <a:pt x="74" y="338"/>
                      </a:lnTo>
                      <a:lnTo>
                        <a:pt x="73" y="312"/>
                      </a:lnTo>
                      <a:lnTo>
                        <a:pt x="77" y="289"/>
                      </a:lnTo>
                      <a:lnTo>
                        <a:pt x="86" y="275"/>
                      </a:lnTo>
                      <a:lnTo>
                        <a:pt x="75" y="272"/>
                      </a:lnTo>
                      <a:lnTo>
                        <a:pt x="64" y="262"/>
                      </a:lnTo>
                      <a:lnTo>
                        <a:pt x="57" y="252"/>
                      </a:lnTo>
                      <a:lnTo>
                        <a:pt x="50" y="250"/>
                      </a:lnTo>
                      <a:lnTo>
                        <a:pt x="50" y="247"/>
                      </a:lnTo>
                      <a:lnTo>
                        <a:pt x="70" y="238"/>
                      </a:lnTo>
                      <a:lnTo>
                        <a:pt x="77" y="234"/>
                      </a:lnTo>
                      <a:lnTo>
                        <a:pt x="66" y="230"/>
                      </a:lnTo>
                      <a:lnTo>
                        <a:pt x="58" y="225"/>
                      </a:lnTo>
                      <a:lnTo>
                        <a:pt x="51" y="219"/>
                      </a:lnTo>
                      <a:lnTo>
                        <a:pt x="61" y="209"/>
                      </a:lnTo>
                      <a:lnTo>
                        <a:pt x="68" y="214"/>
                      </a:lnTo>
                      <a:lnTo>
                        <a:pt x="78" y="218"/>
                      </a:lnTo>
                      <a:lnTo>
                        <a:pt x="72" y="207"/>
                      </a:lnTo>
                      <a:lnTo>
                        <a:pt x="51" y="199"/>
                      </a:lnTo>
                      <a:lnTo>
                        <a:pt x="34" y="203"/>
                      </a:lnTo>
                      <a:lnTo>
                        <a:pt x="26" y="211"/>
                      </a:lnTo>
                      <a:lnTo>
                        <a:pt x="21" y="211"/>
                      </a:lnTo>
                      <a:lnTo>
                        <a:pt x="14" y="181"/>
                      </a:lnTo>
                      <a:lnTo>
                        <a:pt x="16" y="166"/>
                      </a:lnTo>
                      <a:lnTo>
                        <a:pt x="23" y="155"/>
                      </a:lnTo>
                      <a:lnTo>
                        <a:pt x="24" y="151"/>
                      </a:lnTo>
                      <a:lnTo>
                        <a:pt x="21" y="128"/>
                      </a:lnTo>
                      <a:lnTo>
                        <a:pt x="27" y="143"/>
                      </a:lnTo>
                      <a:lnTo>
                        <a:pt x="32" y="151"/>
                      </a:lnTo>
                      <a:lnTo>
                        <a:pt x="53" y="151"/>
                      </a:lnTo>
                      <a:lnTo>
                        <a:pt x="73" y="157"/>
                      </a:lnTo>
                      <a:lnTo>
                        <a:pt x="84" y="156"/>
                      </a:lnTo>
                      <a:lnTo>
                        <a:pt x="99" y="160"/>
                      </a:lnTo>
                      <a:lnTo>
                        <a:pt x="109" y="155"/>
                      </a:lnTo>
                      <a:lnTo>
                        <a:pt x="99" y="154"/>
                      </a:lnTo>
                      <a:lnTo>
                        <a:pt x="97" y="148"/>
                      </a:lnTo>
                      <a:lnTo>
                        <a:pt x="112" y="144"/>
                      </a:lnTo>
                      <a:lnTo>
                        <a:pt x="126" y="127"/>
                      </a:lnTo>
                      <a:lnTo>
                        <a:pt x="102" y="109"/>
                      </a:lnTo>
                      <a:lnTo>
                        <a:pt x="86" y="91"/>
                      </a:lnTo>
                      <a:lnTo>
                        <a:pt x="80" y="74"/>
                      </a:lnTo>
                      <a:lnTo>
                        <a:pt x="70" y="60"/>
                      </a:lnTo>
                      <a:lnTo>
                        <a:pt x="68" y="58"/>
                      </a:lnTo>
                      <a:lnTo>
                        <a:pt x="57" y="57"/>
                      </a:lnTo>
                      <a:lnTo>
                        <a:pt x="39" y="62"/>
                      </a:lnTo>
                      <a:lnTo>
                        <a:pt x="23" y="70"/>
                      </a:lnTo>
                      <a:lnTo>
                        <a:pt x="14" y="82"/>
                      </a:lnTo>
                      <a:lnTo>
                        <a:pt x="14" y="91"/>
                      </a:lnTo>
                      <a:lnTo>
                        <a:pt x="19" y="94"/>
                      </a:lnTo>
                      <a:lnTo>
                        <a:pt x="20" y="119"/>
                      </a:lnTo>
                      <a:lnTo>
                        <a:pt x="18" y="117"/>
                      </a:lnTo>
                      <a:lnTo>
                        <a:pt x="4" y="92"/>
                      </a:lnTo>
                      <a:lnTo>
                        <a:pt x="0" y="74"/>
                      </a:lnTo>
                      <a:lnTo>
                        <a:pt x="30" y="48"/>
                      </a:lnTo>
                      <a:lnTo>
                        <a:pt x="53" y="39"/>
                      </a:lnTo>
                      <a:lnTo>
                        <a:pt x="77" y="32"/>
                      </a:lnTo>
                      <a:lnTo>
                        <a:pt x="85" y="31"/>
                      </a:lnTo>
                      <a:lnTo>
                        <a:pt x="93" y="31"/>
                      </a:lnTo>
                      <a:lnTo>
                        <a:pt x="100" y="35"/>
                      </a:lnTo>
                      <a:lnTo>
                        <a:pt x="107" y="41"/>
                      </a:lnTo>
                      <a:lnTo>
                        <a:pt x="122" y="47"/>
                      </a:lnTo>
                      <a:lnTo>
                        <a:pt x="127" y="54"/>
                      </a:lnTo>
                      <a:lnTo>
                        <a:pt x="133" y="69"/>
                      </a:lnTo>
                      <a:lnTo>
                        <a:pt x="139" y="75"/>
                      </a:lnTo>
                      <a:lnTo>
                        <a:pt x="143" y="82"/>
                      </a:lnTo>
                      <a:lnTo>
                        <a:pt x="153" y="105"/>
                      </a:lnTo>
                      <a:lnTo>
                        <a:pt x="163" y="112"/>
                      </a:lnTo>
                      <a:lnTo>
                        <a:pt x="181" y="113"/>
                      </a:lnTo>
                      <a:lnTo>
                        <a:pt x="193" y="107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29" name="Freeform 104"/>
                <p:cNvSpPr>
                  <a:spLocks/>
                </p:cNvSpPr>
                <p:nvPr/>
              </p:nvSpPr>
              <p:spPr bwMode="gray">
                <a:xfrm>
                  <a:off x="5695223" y="2103651"/>
                  <a:ext cx="213469" cy="101921"/>
                </a:xfrm>
                <a:custGeom>
                  <a:avLst/>
                  <a:gdLst>
                    <a:gd name="T0" fmla="*/ 23201 w 604"/>
                    <a:gd name="T1" fmla="*/ 19875 h 288"/>
                    <a:gd name="T2" fmla="*/ 27217 w 604"/>
                    <a:gd name="T3" fmla="*/ 18218 h 288"/>
                    <a:gd name="T4" fmla="*/ 29894 w 604"/>
                    <a:gd name="T5" fmla="*/ 16562 h 288"/>
                    <a:gd name="T6" fmla="*/ 32571 w 604"/>
                    <a:gd name="T7" fmla="*/ 18218 h 288"/>
                    <a:gd name="T8" fmla="*/ 35694 w 604"/>
                    <a:gd name="T9" fmla="*/ 16976 h 288"/>
                    <a:gd name="T10" fmla="*/ 38817 w 604"/>
                    <a:gd name="T11" fmla="*/ 14078 h 288"/>
                    <a:gd name="T12" fmla="*/ 43725 w 604"/>
                    <a:gd name="T13" fmla="*/ 13250 h 288"/>
                    <a:gd name="T14" fmla="*/ 49079 w 604"/>
                    <a:gd name="T15" fmla="*/ 9523 h 288"/>
                    <a:gd name="T16" fmla="*/ 53987 w 604"/>
                    <a:gd name="T17" fmla="*/ 6625 h 288"/>
                    <a:gd name="T18" fmla="*/ 51756 w 604"/>
                    <a:gd name="T19" fmla="*/ 4555 h 288"/>
                    <a:gd name="T20" fmla="*/ 47294 w 604"/>
                    <a:gd name="T21" fmla="*/ 2898 h 288"/>
                    <a:gd name="T22" fmla="*/ 45510 w 604"/>
                    <a:gd name="T23" fmla="*/ 2070 h 288"/>
                    <a:gd name="T24" fmla="*/ 40602 w 604"/>
                    <a:gd name="T25" fmla="*/ 2070 h 288"/>
                    <a:gd name="T26" fmla="*/ 37479 w 604"/>
                    <a:gd name="T27" fmla="*/ 1656 h 288"/>
                    <a:gd name="T28" fmla="*/ 32571 w 604"/>
                    <a:gd name="T29" fmla="*/ 1656 h 288"/>
                    <a:gd name="T30" fmla="*/ 29001 w 604"/>
                    <a:gd name="T31" fmla="*/ 2070 h 288"/>
                    <a:gd name="T32" fmla="*/ 26324 w 604"/>
                    <a:gd name="T33" fmla="*/ 1656 h 288"/>
                    <a:gd name="T34" fmla="*/ 23201 w 604"/>
                    <a:gd name="T35" fmla="*/ 414 h 288"/>
                    <a:gd name="T36" fmla="*/ 20970 w 604"/>
                    <a:gd name="T37" fmla="*/ 1656 h 288"/>
                    <a:gd name="T38" fmla="*/ 20078 w 604"/>
                    <a:gd name="T39" fmla="*/ 4141 h 288"/>
                    <a:gd name="T40" fmla="*/ 16955 w 604"/>
                    <a:gd name="T41" fmla="*/ 3726 h 288"/>
                    <a:gd name="T42" fmla="*/ 14278 w 604"/>
                    <a:gd name="T43" fmla="*/ 2898 h 288"/>
                    <a:gd name="T44" fmla="*/ 11601 w 604"/>
                    <a:gd name="T45" fmla="*/ 2484 h 288"/>
                    <a:gd name="T46" fmla="*/ 8923 w 604"/>
                    <a:gd name="T47" fmla="*/ 2898 h 288"/>
                    <a:gd name="T48" fmla="*/ 8031 w 604"/>
                    <a:gd name="T49" fmla="*/ 4969 h 288"/>
                    <a:gd name="T50" fmla="*/ 9370 w 604"/>
                    <a:gd name="T51" fmla="*/ 6625 h 288"/>
                    <a:gd name="T52" fmla="*/ 6246 w 604"/>
                    <a:gd name="T53" fmla="*/ 9109 h 288"/>
                    <a:gd name="T54" fmla="*/ 5354 w 604"/>
                    <a:gd name="T55" fmla="*/ 10765 h 288"/>
                    <a:gd name="T56" fmla="*/ 7585 w 604"/>
                    <a:gd name="T57" fmla="*/ 12008 h 288"/>
                    <a:gd name="T58" fmla="*/ 10262 w 604"/>
                    <a:gd name="T59" fmla="*/ 12422 h 288"/>
                    <a:gd name="T60" fmla="*/ 12047 w 604"/>
                    <a:gd name="T61" fmla="*/ 10765 h 288"/>
                    <a:gd name="T62" fmla="*/ 13831 w 604"/>
                    <a:gd name="T63" fmla="*/ 12836 h 288"/>
                    <a:gd name="T64" fmla="*/ 16062 w 604"/>
                    <a:gd name="T65" fmla="*/ 14078 h 288"/>
                    <a:gd name="T66" fmla="*/ 18739 w 604"/>
                    <a:gd name="T67" fmla="*/ 14492 h 288"/>
                    <a:gd name="T68" fmla="*/ 16508 w 604"/>
                    <a:gd name="T69" fmla="*/ 16148 h 288"/>
                    <a:gd name="T70" fmla="*/ 15170 w 604"/>
                    <a:gd name="T71" fmla="*/ 16976 h 288"/>
                    <a:gd name="T72" fmla="*/ 13385 w 604"/>
                    <a:gd name="T73" fmla="*/ 17804 h 288"/>
                    <a:gd name="T74" fmla="*/ 9816 w 604"/>
                    <a:gd name="T75" fmla="*/ 17804 h 288"/>
                    <a:gd name="T76" fmla="*/ 8031 w 604"/>
                    <a:gd name="T77" fmla="*/ 18632 h 288"/>
                    <a:gd name="T78" fmla="*/ 6246 w 604"/>
                    <a:gd name="T79" fmla="*/ 19875 h 288"/>
                    <a:gd name="T80" fmla="*/ 2677 w 604"/>
                    <a:gd name="T81" fmla="*/ 19046 h 288"/>
                    <a:gd name="T82" fmla="*/ 0 w 604"/>
                    <a:gd name="T83" fmla="*/ 19875 h 288"/>
                    <a:gd name="T84" fmla="*/ 446 w 604"/>
                    <a:gd name="T85" fmla="*/ 22359 h 288"/>
                    <a:gd name="T86" fmla="*/ 3123 w 604"/>
                    <a:gd name="T87" fmla="*/ 22359 h 288"/>
                    <a:gd name="T88" fmla="*/ 6693 w 604"/>
                    <a:gd name="T89" fmla="*/ 22359 h 288"/>
                    <a:gd name="T90" fmla="*/ 10708 w 604"/>
                    <a:gd name="T91" fmla="*/ 21945 h 288"/>
                    <a:gd name="T92" fmla="*/ 12493 w 604"/>
                    <a:gd name="T93" fmla="*/ 24015 h 288"/>
                    <a:gd name="T94" fmla="*/ 16062 w 604"/>
                    <a:gd name="T95" fmla="*/ 23601 h 288"/>
                    <a:gd name="T96" fmla="*/ 19632 w 604"/>
                    <a:gd name="T97" fmla="*/ 23187 h 288"/>
                    <a:gd name="T98" fmla="*/ 22309 w 604"/>
                    <a:gd name="T99" fmla="*/ 22359 h 288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w 604"/>
                    <a:gd name="T151" fmla="*/ 0 h 288"/>
                    <a:gd name="T152" fmla="*/ 604 w 604"/>
                    <a:gd name="T153" fmla="*/ 288 h 288"/>
                  </a:gdLst>
                  <a:ahLst/>
                  <a:cxnLst>
                    <a:cxn ang="T100">
                      <a:pos x="T0" y="T1"/>
                    </a:cxn>
                    <a:cxn ang="T101">
                      <a:pos x="T2" y="T3"/>
                    </a:cxn>
                    <a:cxn ang="T102">
                      <a:pos x="T4" y="T5"/>
                    </a:cxn>
                    <a:cxn ang="T103">
                      <a:pos x="T6" y="T7"/>
                    </a:cxn>
                    <a:cxn ang="T104">
                      <a:pos x="T8" y="T9"/>
                    </a:cxn>
                    <a:cxn ang="T105">
                      <a:pos x="T10" y="T11"/>
                    </a:cxn>
                    <a:cxn ang="T106">
                      <a:pos x="T12" y="T13"/>
                    </a:cxn>
                    <a:cxn ang="T107">
                      <a:pos x="T14" y="T15"/>
                    </a:cxn>
                    <a:cxn ang="T108">
                      <a:pos x="T16" y="T17"/>
                    </a:cxn>
                    <a:cxn ang="T109">
                      <a:pos x="T18" y="T19"/>
                    </a:cxn>
                    <a:cxn ang="T110">
                      <a:pos x="T20" y="T21"/>
                    </a:cxn>
                    <a:cxn ang="T111">
                      <a:pos x="T22" y="T23"/>
                    </a:cxn>
                    <a:cxn ang="T112">
                      <a:pos x="T24" y="T25"/>
                    </a:cxn>
                    <a:cxn ang="T113">
                      <a:pos x="T26" y="T27"/>
                    </a:cxn>
                    <a:cxn ang="T114">
                      <a:pos x="T28" y="T29"/>
                    </a:cxn>
                    <a:cxn ang="T115">
                      <a:pos x="T30" y="T31"/>
                    </a:cxn>
                    <a:cxn ang="T116">
                      <a:pos x="T32" y="T33"/>
                    </a:cxn>
                    <a:cxn ang="T117">
                      <a:pos x="T34" y="T35"/>
                    </a:cxn>
                    <a:cxn ang="T118">
                      <a:pos x="T36" y="T37"/>
                    </a:cxn>
                    <a:cxn ang="T119">
                      <a:pos x="T38" y="T39"/>
                    </a:cxn>
                    <a:cxn ang="T120">
                      <a:pos x="T40" y="T41"/>
                    </a:cxn>
                    <a:cxn ang="T121">
                      <a:pos x="T42" y="T43"/>
                    </a:cxn>
                    <a:cxn ang="T122">
                      <a:pos x="T44" y="T45"/>
                    </a:cxn>
                    <a:cxn ang="T123">
                      <a:pos x="T46" y="T47"/>
                    </a:cxn>
                    <a:cxn ang="T124">
                      <a:pos x="T48" y="T49"/>
                    </a:cxn>
                    <a:cxn ang="T125">
                      <a:pos x="T50" y="T51"/>
                    </a:cxn>
                    <a:cxn ang="T126">
                      <a:pos x="T52" y="T53"/>
                    </a:cxn>
                    <a:cxn ang="T127">
                      <a:pos x="T54" y="T55"/>
                    </a:cxn>
                    <a:cxn ang="T128">
                      <a:pos x="T56" y="T57"/>
                    </a:cxn>
                    <a:cxn ang="T129">
                      <a:pos x="T58" y="T59"/>
                    </a:cxn>
                    <a:cxn ang="T130">
                      <a:pos x="T60" y="T61"/>
                    </a:cxn>
                    <a:cxn ang="T131">
                      <a:pos x="T62" y="T63"/>
                    </a:cxn>
                    <a:cxn ang="T132">
                      <a:pos x="T64" y="T65"/>
                    </a:cxn>
                    <a:cxn ang="T133">
                      <a:pos x="T66" y="T67"/>
                    </a:cxn>
                    <a:cxn ang="T134">
                      <a:pos x="T68" y="T69"/>
                    </a:cxn>
                    <a:cxn ang="T135">
                      <a:pos x="T70" y="T71"/>
                    </a:cxn>
                    <a:cxn ang="T136">
                      <a:pos x="T72" y="T73"/>
                    </a:cxn>
                    <a:cxn ang="T137">
                      <a:pos x="T74" y="T75"/>
                    </a:cxn>
                    <a:cxn ang="T138">
                      <a:pos x="T76" y="T77"/>
                    </a:cxn>
                    <a:cxn ang="T139">
                      <a:pos x="T78" y="T79"/>
                    </a:cxn>
                    <a:cxn ang="T140">
                      <a:pos x="T80" y="T81"/>
                    </a:cxn>
                    <a:cxn ang="T141">
                      <a:pos x="T82" y="T83"/>
                    </a:cxn>
                    <a:cxn ang="T142">
                      <a:pos x="T84" y="T85"/>
                    </a:cxn>
                    <a:cxn ang="T143">
                      <a:pos x="T86" y="T87"/>
                    </a:cxn>
                    <a:cxn ang="T144">
                      <a:pos x="T88" y="T89"/>
                    </a:cxn>
                    <a:cxn ang="T145">
                      <a:pos x="T90" y="T91"/>
                    </a:cxn>
                    <a:cxn ang="T146">
                      <a:pos x="T92" y="T93"/>
                    </a:cxn>
                    <a:cxn ang="T147">
                      <a:pos x="T94" y="T95"/>
                    </a:cxn>
                    <a:cxn ang="T148">
                      <a:pos x="T96" y="T97"/>
                    </a:cxn>
                    <a:cxn ang="T149">
                      <a:pos x="T98" y="T99"/>
                    </a:cxn>
                  </a:cxnLst>
                  <a:rect l="T150" t="T151" r="T152" b="T153"/>
                  <a:pathLst>
                    <a:path w="604" h="288">
                      <a:moveTo>
                        <a:pt x="251" y="267"/>
                      </a:moveTo>
                      <a:lnTo>
                        <a:pt x="250" y="256"/>
                      </a:lnTo>
                      <a:lnTo>
                        <a:pt x="259" y="238"/>
                      </a:lnTo>
                      <a:lnTo>
                        <a:pt x="291" y="223"/>
                      </a:lnTo>
                      <a:lnTo>
                        <a:pt x="296" y="218"/>
                      </a:lnTo>
                      <a:lnTo>
                        <a:pt x="303" y="218"/>
                      </a:lnTo>
                      <a:lnTo>
                        <a:pt x="309" y="203"/>
                      </a:lnTo>
                      <a:lnTo>
                        <a:pt x="319" y="207"/>
                      </a:lnTo>
                      <a:lnTo>
                        <a:pt x="334" y="201"/>
                      </a:lnTo>
                      <a:lnTo>
                        <a:pt x="345" y="202"/>
                      </a:lnTo>
                      <a:lnTo>
                        <a:pt x="351" y="215"/>
                      </a:lnTo>
                      <a:lnTo>
                        <a:pt x="362" y="217"/>
                      </a:lnTo>
                      <a:lnTo>
                        <a:pt x="378" y="213"/>
                      </a:lnTo>
                      <a:lnTo>
                        <a:pt x="388" y="214"/>
                      </a:lnTo>
                      <a:lnTo>
                        <a:pt x="401" y="204"/>
                      </a:lnTo>
                      <a:lnTo>
                        <a:pt x="407" y="186"/>
                      </a:lnTo>
                      <a:lnTo>
                        <a:pt x="416" y="175"/>
                      </a:lnTo>
                      <a:lnTo>
                        <a:pt x="433" y="170"/>
                      </a:lnTo>
                      <a:lnTo>
                        <a:pt x="452" y="169"/>
                      </a:lnTo>
                      <a:lnTo>
                        <a:pt x="479" y="164"/>
                      </a:lnTo>
                      <a:lnTo>
                        <a:pt x="491" y="159"/>
                      </a:lnTo>
                      <a:lnTo>
                        <a:pt x="499" y="145"/>
                      </a:lnTo>
                      <a:lnTo>
                        <a:pt x="514" y="132"/>
                      </a:lnTo>
                      <a:lnTo>
                        <a:pt x="550" y="112"/>
                      </a:lnTo>
                      <a:lnTo>
                        <a:pt x="588" y="100"/>
                      </a:lnTo>
                      <a:lnTo>
                        <a:pt x="598" y="93"/>
                      </a:lnTo>
                      <a:lnTo>
                        <a:pt x="604" y="79"/>
                      </a:lnTo>
                      <a:lnTo>
                        <a:pt x="604" y="69"/>
                      </a:lnTo>
                      <a:lnTo>
                        <a:pt x="597" y="69"/>
                      </a:lnTo>
                      <a:lnTo>
                        <a:pt x="577" y="56"/>
                      </a:lnTo>
                      <a:lnTo>
                        <a:pt x="561" y="53"/>
                      </a:lnTo>
                      <a:lnTo>
                        <a:pt x="546" y="35"/>
                      </a:lnTo>
                      <a:lnTo>
                        <a:pt x="530" y="34"/>
                      </a:lnTo>
                      <a:lnTo>
                        <a:pt x="523" y="31"/>
                      </a:lnTo>
                      <a:lnTo>
                        <a:pt x="514" y="31"/>
                      </a:lnTo>
                      <a:lnTo>
                        <a:pt x="508" y="27"/>
                      </a:lnTo>
                      <a:lnTo>
                        <a:pt x="499" y="26"/>
                      </a:lnTo>
                      <a:lnTo>
                        <a:pt x="475" y="27"/>
                      </a:lnTo>
                      <a:lnTo>
                        <a:pt x="452" y="24"/>
                      </a:lnTo>
                      <a:lnTo>
                        <a:pt x="443" y="24"/>
                      </a:lnTo>
                      <a:lnTo>
                        <a:pt x="428" y="18"/>
                      </a:lnTo>
                      <a:lnTo>
                        <a:pt x="421" y="18"/>
                      </a:lnTo>
                      <a:lnTo>
                        <a:pt x="406" y="24"/>
                      </a:lnTo>
                      <a:lnTo>
                        <a:pt x="374" y="20"/>
                      </a:lnTo>
                      <a:lnTo>
                        <a:pt x="366" y="20"/>
                      </a:lnTo>
                      <a:lnTo>
                        <a:pt x="350" y="24"/>
                      </a:lnTo>
                      <a:lnTo>
                        <a:pt x="334" y="24"/>
                      </a:lnTo>
                      <a:lnTo>
                        <a:pt x="325" y="23"/>
                      </a:lnTo>
                      <a:lnTo>
                        <a:pt x="319" y="18"/>
                      </a:lnTo>
                      <a:lnTo>
                        <a:pt x="310" y="16"/>
                      </a:lnTo>
                      <a:lnTo>
                        <a:pt x="294" y="18"/>
                      </a:lnTo>
                      <a:lnTo>
                        <a:pt x="288" y="12"/>
                      </a:lnTo>
                      <a:lnTo>
                        <a:pt x="267" y="0"/>
                      </a:lnTo>
                      <a:lnTo>
                        <a:pt x="260" y="4"/>
                      </a:lnTo>
                      <a:lnTo>
                        <a:pt x="253" y="5"/>
                      </a:lnTo>
                      <a:lnTo>
                        <a:pt x="245" y="8"/>
                      </a:lnTo>
                      <a:lnTo>
                        <a:pt x="233" y="18"/>
                      </a:lnTo>
                      <a:lnTo>
                        <a:pt x="232" y="26"/>
                      </a:lnTo>
                      <a:lnTo>
                        <a:pt x="227" y="32"/>
                      </a:lnTo>
                      <a:lnTo>
                        <a:pt x="224" y="48"/>
                      </a:lnTo>
                      <a:lnTo>
                        <a:pt x="221" y="56"/>
                      </a:lnTo>
                      <a:lnTo>
                        <a:pt x="205" y="52"/>
                      </a:lnTo>
                      <a:lnTo>
                        <a:pt x="191" y="45"/>
                      </a:lnTo>
                      <a:lnTo>
                        <a:pt x="175" y="40"/>
                      </a:lnTo>
                      <a:lnTo>
                        <a:pt x="169" y="36"/>
                      </a:lnTo>
                      <a:lnTo>
                        <a:pt x="160" y="34"/>
                      </a:lnTo>
                      <a:lnTo>
                        <a:pt x="152" y="34"/>
                      </a:lnTo>
                      <a:lnTo>
                        <a:pt x="137" y="31"/>
                      </a:lnTo>
                      <a:lnTo>
                        <a:pt x="129" y="32"/>
                      </a:lnTo>
                      <a:lnTo>
                        <a:pt x="121" y="30"/>
                      </a:lnTo>
                      <a:lnTo>
                        <a:pt x="105" y="32"/>
                      </a:lnTo>
                      <a:lnTo>
                        <a:pt x="98" y="36"/>
                      </a:lnTo>
                      <a:lnTo>
                        <a:pt x="95" y="43"/>
                      </a:lnTo>
                      <a:lnTo>
                        <a:pt x="97" y="51"/>
                      </a:lnTo>
                      <a:lnTo>
                        <a:pt x="92" y="58"/>
                      </a:lnTo>
                      <a:lnTo>
                        <a:pt x="88" y="66"/>
                      </a:lnTo>
                      <a:lnTo>
                        <a:pt x="105" y="70"/>
                      </a:lnTo>
                      <a:lnTo>
                        <a:pt x="106" y="79"/>
                      </a:lnTo>
                      <a:lnTo>
                        <a:pt x="92" y="85"/>
                      </a:lnTo>
                      <a:lnTo>
                        <a:pt x="82" y="97"/>
                      </a:lnTo>
                      <a:lnTo>
                        <a:pt x="70" y="109"/>
                      </a:lnTo>
                      <a:lnTo>
                        <a:pt x="55" y="118"/>
                      </a:lnTo>
                      <a:lnTo>
                        <a:pt x="54" y="127"/>
                      </a:lnTo>
                      <a:lnTo>
                        <a:pt x="62" y="129"/>
                      </a:lnTo>
                      <a:lnTo>
                        <a:pt x="68" y="134"/>
                      </a:lnTo>
                      <a:lnTo>
                        <a:pt x="76" y="131"/>
                      </a:lnTo>
                      <a:lnTo>
                        <a:pt x="84" y="144"/>
                      </a:lnTo>
                      <a:lnTo>
                        <a:pt x="108" y="154"/>
                      </a:lnTo>
                      <a:lnTo>
                        <a:pt x="115" y="154"/>
                      </a:lnTo>
                      <a:lnTo>
                        <a:pt x="117" y="147"/>
                      </a:lnTo>
                      <a:lnTo>
                        <a:pt x="125" y="142"/>
                      </a:lnTo>
                      <a:lnTo>
                        <a:pt x="130" y="127"/>
                      </a:lnTo>
                      <a:lnTo>
                        <a:pt x="137" y="131"/>
                      </a:lnTo>
                      <a:lnTo>
                        <a:pt x="142" y="137"/>
                      </a:lnTo>
                      <a:lnTo>
                        <a:pt x="142" y="145"/>
                      </a:lnTo>
                      <a:lnTo>
                        <a:pt x="156" y="154"/>
                      </a:lnTo>
                      <a:lnTo>
                        <a:pt x="162" y="159"/>
                      </a:lnTo>
                      <a:lnTo>
                        <a:pt x="170" y="159"/>
                      </a:lnTo>
                      <a:lnTo>
                        <a:pt x="181" y="169"/>
                      </a:lnTo>
                      <a:lnTo>
                        <a:pt x="197" y="174"/>
                      </a:lnTo>
                      <a:lnTo>
                        <a:pt x="205" y="171"/>
                      </a:lnTo>
                      <a:lnTo>
                        <a:pt x="212" y="175"/>
                      </a:lnTo>
                      <a:lnTo>
                        <a:pt x="207" y="182"/>
                      </a:lnTo>
                      <a:lnTo>
                        <a:pt x="191" y="186"/>
                      </a:lnTo>
                      <a:lnTo>
                        <a:pt x="187" y="195"/>
                      </a:lnTo>
                      <a:lnTo>
                        <a:pt x="181" y="198"/>
                      </a:lnTo>
                      <a:lnTo>
                        <a:pt x="173" y="196"/>
                      </a:lnTo>
                      <a:lnTo>
                        <a:pt x="168" y="202"/>
                      </a:lnTo>
                      <a:lnTo>
                        <a:pt x="160" y="202"/>
                      </a:lnTo>
                      <a:lnTo>
                        <a:pt x="153" y="206"/>
                      </a:lnTo>
                      <a:lnTo>
                        <a:pt x="149" y="213"/>
                      </a:lnTo>
                      <a:lnTo>
                        <a:pt x="143" y="218"/>
                      </a:lnTo>
                      <a:lnTo>
                        <a:pt x="127" y="220"/>
                      </a:lnTo>
                      <a:lnTo>
                        <a:pt x="111" y="215"/>
                      </a:lnTo>
                      <a:lnTo>
                        <a:pt x="104" y="214"/>
                      </a:lnTo>
                      <a:lnTo>
                        <a:pt x="92" y="215"/>
                      </a:lnTo>
                      <a:lnTo>
                        <a:pt x="88" y="224"/>
                      </a:lnTo>
                      <a:lnTo>
                        <a:pt x="81" y="226"/>
                      </a:lnTo>
                      <a:lnTo>
                        <a:pt x="76" y="234"/>
                      </a:lnTo>
                      <a:lnTo>
                        <a:pt x="68" y="236"/>
                      </a:lnTo>
                      <a:lnTo>
                        <a:pt x="55" y="228"/>
                      </a:lnTo>
                      <a:lnTo>
                        <a:pt x="46" y="226"/>
                      </a:lnTo>
                      <a:lnTo>
                        <a:pt x="30" y="229"/>
                      </a:lnTo>
                      <a:lnTo>
                        <a:pt x="22" y="226"/>
                      </a:lnTo>
                      <a:lnTo>
                        <a:pt x="15" y="231"/>
                      </a:lnTo>
                      <a:lnTo>
                        <a:pt x="0" y="236"/>
                      </a:lnTo>
                      <a:lnTo>
                        <a:pt x="0" y="245"/>
                      </a:lnTo>
                      <a:lnTo>
                        <a:pt x="0" y="261"/>
                      </a:lnTo>
                      <a:lnTo>
                        <a:pt x="4" y="267"/>
                      </a:lnTo>
                      <a:lnTo>
                        <a:pt x="13" y="267"/>
                      </a:lnTo>
                      <a:lnTo>
                        <a:pt x="20" y="265"/>
                      </a:lnTo>
                      <a:lnTo>
                        <a:pt x="36" y="268"/>
                      </a:lnTo>
                      <a:lnTo>
                        <a:pt x="60" y="265"/>
                      </a:lnTo>
                      <a:lnTo>
                        <a:pt x="68" y="265"/>
                      </a:lnTo>
                      <a:lnTo>
                        <a:pt x="76" y="267"/>
                      </a:lnTo>
                      <a:lnTo>
                        <a:pt x="81" y="273"/>
                      </a:lnTo>
                      <a:lnTo>
                        <a:pt x="89" y="274"/>
                      </a:lnTo>
                      <a:lnTo>
                        <a:pt x="120" y="265"/>
                      </a:lnTo>
                      <a:lnTo>
                        <a:pt x="127" y="269"/>
                      </a:lnTo>
                      <a:lnTo>
                        <a:pt x="135" y="271"/>
                      </a:lnTo>
                      <a:lnTo>
                        <a:pt x="140" y="287"/>
                      </a:lnTo>
                      <a:lnTo>
                        <a:pt x="156" y="285"/>
                      </a:lnTo>
                      <a:lnTo>
                        <a:pt x="163" y="288"/>
                      </a:lnTo>
                      <a:lnTo>
                        <a:pt x="178" y="281"/>
                      </a:lnTo>
                      <a:lnTo>
                        <a:pt x="194" y="278"/>
                      </a:lnTo>
                      <a:lnTo>
                        <a:pt x="210" y="281"/>
                      </a:lnTo>
                      <a:lnTo>
                        <a:pt x="219" y="278"/>
                      </a:lnTo>
                      <a:lnTo>
                        <a:pt x="229" y="279"/>
                      </a:lnTo>
                      <a:lnTo>
                        <a:pt x="232" y="265"/>
                      </a:lnTo>
                      <a:lnTo>
                        <a:pt x="251" y="267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30" name="Freeform 105"/>
                <p:cNvSpPr>
                  <a:spLocks/>
                </p:cNvSpPr>
                <p:nvPr/>
              </p:nvSpPr>
              <p:spPr bwMode="gray">
                <a:xfrm>
                  <a:off x="5660064" y="2159367"/>
                  <a:ext cx="145661" cy="108716"/>
                </a:xfrm>
                <a:custGeom>
                  <a:avLst/>
                  <a:gdLst>
                    <a:gd name="T0" fmla="*/ 3990 w 417"/>
                    <a:gd name="T1" fmla="*/ 23288 h 312"/>
                    <a:gd name="T2" fmla="*/ 6206 w 417"/>
                    <a:gd name="T3" fmla="*/ 22062 h 312"/>
                    <a:gd name="T4" fmla="*/ 7979 w 417"/>
                    <a:gd name="T5" fmla="*/ 21654 h 312"/>
                    <a:gd name="T6" fmla="*/ 9753 w 417"/>
                    <a:gd name="T7" fmla="*/ 22062 h 312"/>
                    <a:gd name="T8" fmla="*/ 10196 w 417"/>
                    <a:gd name="T9" fmla="*/ 20019 h 312"/>
                    <a:gd name="T10" fmla="*/ 12856 w 417"/>
                    <a:gd name="T11" fmla="*/ 20428 h 312"/>
                    <a:gd name="T12" fmla="*/ 14186 w 417"/>
                    <a:gd name="T13" fmla="*/ 19202 h 312"/>
                    <a:gd name="T14" fmla="*/ 15515 w 417"/>
                    <a:gd name="T15" fmla="*/ 15934 h 312"/>
                    <a:gd name="T16" fmla="*/ 16845 w 417"/>
                    <a:gd name="T17" fmla="*/ 15525 h 312"/>
                    <a:gd name="T18" fmla="*/ 19062 w 417"/>
                    <a:gd name="T19" fmla="*/ 16751 h 312"/>
                    <a:gd name="T20" fmla="*/ 19505 w 417"/>
                    <a:gd name="T21" fmla="*/ 18385 h 312"/>
                    <a:gd name="T22" fmla="*/ 20392 w 417"/>
                    <a:gd name="T23" fmla="*/ 18794 h 312"/>
                    <a:gd name="T24" fmla="*/ 19948 w 417"/>
                    <a:gd name="T25" fmla="*/ 20428 h 312"/>
                    <a:gd name="T26" fmla="*/ 19948 w 417"/>
                    <a:gd name="T27" fmla="*/ 23288 h 312"/>
                    <a:gd name="T28" fmla="*/ 21278 w 417"/>
                    <a:gd name="T29" fmla="*/ 25331 h 312"/>
                    <a:gd name="T30" fmla="*/ 25711 w 417"/>
                    <a:gd name="T31" fmla="*/ 23288 h 312"/>
                    <a:gd name="T32" fmla="*/ 27041 w 417"/>
                    <a:gd name="T33" fmla="*/ 22062 h 312"/>
                    <a:gd name="T34" fmla="*/ 29258 w 417"/>
                    <a:gd name="T35" fmla="*/ 20837 h 312"/>
                    <a:gd name="T36" fmla="*/ 31031 w 417"/>
                    <a:gd name="T37" fmla="*/ 21245 h 312"/>
                    <a:gd name="T38" fmla="*/ 31918 w 417"/>
                    <a:gd name="T39" fmla="*/ 21654 h 312"/>
                    <a:gd name="T40" fmla="*/ 34577 w 417"/>
                    <a:gd name="T41" fmla="*/ 21245 h 312"/>
                    <a:gd name="T42" fmla="*/ 36351 w 417"/>
                    <a:gd name="T43" fmla="*/ 21654 h 312"/>
                    <a:gd name="T44" fmla="*/ 36794 w 417"/>
                    <a:gd name="T45" fmla="*/ 22062 h 312"/>
                    <a:gd name="T46" fmla="*/ 35464 w 417"/>
                    <a:gd name="T47" fmla="*/ 14708 h 312"/>
                    <a:gd name="T48" fmla="*/ 30588 w 417"/>
                    <a:gd name="T49" fmla="*/ 13074 h 312"/>
                    <a:gd name="T50" fmla="*/ 29258 w 417"/>
                    <a:gd name="T51" fmla="*/ 9805 h 312"/>
                    <a:gd name="T52" fmla="*/ 24825 w 417"/>
                    <a:gd name="T53" fmla="*/ 9805 h 312"/>
                    <a:gd name="T54" fmla="*/ 21278 w 417"/>
                    <a:gd name="T55" fmla="*/ 8988 h 312"/>
                    <a:gd name="T56" fmla="*/ 16402 w 417"/>
                    <a:gd name="T57" fmla="*/ 9397 h 312"/>
                    <a:gd name="T58" fmla="*/ 12412 w 417"/>
                    <a:gd name="T59" fmla="*/ 8988 h 312"/>
                    <a:gd name="T60" fmla="*/ 9309 w 417"/>
                    <a:gd name="T61" fmla="*/ 8171 h 312"/>
                    <a:gd name="T62" fmla="*/ 11082 w 417"/>
                    <a:gd name="T63" fmla="*/ 5311 h 312"/>
                    <a:gd name="T64" fmla="*/ 15072 w 417"/>
                    <a:gd name="T65" fmla="*/ 6128 h 312"/>
                    <a:gd name="T66" fmla="*/ 17289 w 417"/>
                    <a:gd name="T67" fmla="*/ 4494 h 312"/>
                    <a:gd name="T68" fmla="*/ 15072 w 417"/>
                    <a:gd name="T69" fmla="*/ 4494 h 312"/>
                    <a:gd name="T70" fmla="*/ 16402 w 417"/>
                    <a:gd name="T71" fmla="*/ 1634 h 312"/>
                    <a:gd name="T72" fmla="*/ 15072 w 417"/>
                    <a:gd name="T73" fmla="*/ 0 h 312"/>
                    <a:gd name="T74" fmla="*/ 11526 w 417"/>
                    <a:gd name="T75" fmla="*/ 2043 h 312"/>
                    <a:gd name="T76" fmla="*/ 9309 w 417"/>
                    <a:gd name="T77" fmla="*/ 2860 h 312"/>
                    <a:gd name="T78" fmla="*/ 9309 w 417"/>
                    <a:gd name="T79" fmla="*/ 5311 h 312"/>
                    <a:gd name="T80" fmla="*/ 6649 w 417"/>
                    <a:gd name="T81" fmla="*/ 6537 h 312"/>
                    <a:gd name="T82" fmla="*/ 2660 w 417"/>
                    <a:gd name="T83" fmla="*/ 8580 h 312"/>
                    <a:gd name="T84" fmla="*/ 443 w 417"/>
                    <a:gd name="T85" fmla="*/ 8988 h 312"/>
                    <a:gd name="T86" fmla="*/ 1330 w 417"/>
                    <a:gd name="T87" fmla="*/ 11031 h 312"/>
                    <a:gd name="T88" fmla="*/ 3546 w 417"/>
                    <a:gd name="T89" fmla="*/ 12257 h 312"/>
                    <a:gd name="T90" fmla="*/ 3546 w 417"/>
                    <a:gd name="T91" fmla="*/ 15117 h 312"/>
                    <a:gd name="T92" fmla="*/ 4433 w 417"/>
                    <a:gd name="T93" fmla="*/ 17160 h 312"/>
                    <a:gd name="T94" fmla="*/ 2660 w 417"/>
                    <a:gd name="T95" fmla="*/ 19202 h 312"/>
                    <a:gd name="T96" fmla="*/ 1773 w 417"/>
                    <a:gd name="T97" fmla="*/ 21654 h 312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417"/>
                    <a:gd name="T148" fmla="*/ 0 h 312"/>
                    <a:gd name="T149" fmla="*/ 417 w 417"/>
                    <a:gd name="T150" fmla="*/ 312 h 312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417" h="312">
                      <a:moveTo>
                        <a:pt x="19" y="269"/>
                      </a:moveTo>
                      <a:lnTo>
                        <a:pt x="24" y="274"/>
                      </a:lnTo>
                      <a:lnTo>
                        <a:pt x="37" y="289"/>
                      </a:lnTo>
                      <a:lnTo>
                        <a:pt x="45" y="286"/>
                      </a:lnTo>
                      <a:lnTo>
                        <a:pt x="52" y="286"/>
                      </a:lnTo>
                      <a:lnTo>
                        <a:pt x="53" y="281"/>
                      </a:lnTo>
                      <a:lnTo>
                        <a:pt x="67" y="274"/>
                      </a:lnTo>
                      <a:lnTo>
                        <a:pt x="72" y="273"/>
                      </a:lnTo>
                      <a:lnTo>
                        <a:pt x="76" y="274"/>
                      </a:lnTo>
                      <a:lnTo>
                        <a:pt x="79" y="270"/>
                      </a:lnTo>
                      <a:lnTo>
                        <a:pt x="85" y="268"/>
                      </a:lnTo>
                      <a:lnTo>
                        <a:pt x="89" y="269"/>
                      </a:lnTo>
                      <a:lnTo>
                        <a:pt x="94" y="274"/>
                      </a:lnTo>
                      <a:lnTo>
                        <a:pt x="107" y="279"/>
                      </a:lnTo>
                      <a:lnTo>
                        <a:pt x="111" y="276"/>
                      </a:lnTo>
                      <a:lnTo>
                        <a:pt x="112" y="274"/>
                      </a:lnTo>
                      <a:lnTo>
                        <a:pt x="112" y="269"/>
                      </a:lnTo>
                      <a:lnTo>
                        <a:pt x="110" y="265"/>
                      </a:lnTo>
                      <a:lnTo>
                        <a:pt x="110" y="258"/>
                      </a:lnTo>
                      <a:lnTo>
                        <a:pt x="118" y="246"/>
                      </a:lnTo>
                      <a:lnTo>
                        <a:pt x="123" y="246"/>
                      </a:lnTo>
                      <a:lnTo>
                        <a:pt x="129" y="248"/>
                      </a:lnTo>
                      <a:lnTo>
                        <a:pt x="138" y="246"/>
                      </a:lnTo>
                      <a:lnTo>
                        <a:pt x="145" y="252"/>
                      </a:lnTo>
                      <a:lnTo>
                        <a:pt x="149" y="252"/>
                      </a:lnTo>
                      <a:lnTo>
                        <a:pt x="153" y="250"/>
                      </a:lnTo>
                      <a:lnTo>
                        <a:pt x="159" y="243"/>
                      </a:lnTo>
                      <a:lnTo>
                        <a:pt x="160" y="238"/>
                      </a:lnTo>
                      <a:lnTo>
                        <a:pt x="155" y="232"/>
                      </a:lnTo>
                      <a:lnTo>
                        <a:pt x="155" y="227"/>
                      </a:lnTo>
                      <a:lnTo>
                        <a:pt x="165" y="214"/>
                      </a:lnTo>
                      <a:lnTo>
                        <a:pt x="176" y="198"/>
                      </a:lnTo>
                      <a:lnTo>
                        <a:pt x="178" y="195"/>
                      </a:lnTo>
                      <a:lnTo>
                        <a:pt x="182" y="190"/>
                      </a:lnTo>
                      <a:lnTo>
                        <a:pt x="183" y="189"/>
                      </a:lnTo>
                      <a:lnTo>
                        <a:pt x="190" y="190"/>
                      </a:lnTo>
                      <a:lnTo>
                        <a:pt x="194" y="187"/>
                      </a:lnTo>
                      <a:lnTo>
                        <a:pt x="204" y="189"/>
                      </a:lnTo>
                      <a:lnTo>
                        <a:pt x="217" y="201"/>
                      </a:lnTo>
                      <a:lnTo>
                        <a:pt x="217" y="207"/>
                      </a:lnTo>
                      <a:lnTo>
                        <a:pt x="213" y="215"/>
                      </a:lnTo>
                      <a:lnTo>
                        <a:pt x="213" y="220"/>
                      </a:lnTo>
                      <a:lnTo>
                        <a:pt x="214" y="222"/>
                      </a:lnTo>
                      <a:lnTo>
                        <a:pt x="219" y="225"/>
                      </a:lnTo>
                      <a:lnTo>
                        <a:pt x="225" y="223"/>
                      </a:lnTo>
                      <a:lnTo>
                        <a:pt x="229" y="225"/>
                      </a:lnTo>
                      <a:lnTo>
                        <a:pt x="229" y="227"/>
                      </a:lnTo>
                      <a:lnTo>
                        <a:pt x="230" y="231"/>
                      </a:lnTo>
                      <a:lnTo>
                        <a:pt x="228" y="233"/>
                      </a:lnTo>
                      <a:lnTo>
                        <a:pt x="226" y="238"/>
                      </a:lnTo>
                      <a:lnTo>
                        <a:pt x="228" y="249"/>
                      </a:lnTo>
                      <a:lnTo>
                        <a:pt x="226" y="254"/>
                      </a:lnTo>
                      <a:lnTo>
                        <a:pt x="224" y="259"/>
                      </a:lnTo>
                      <a:lnTo>
                        <a:pt x="224" y="269"/>
                      </a:lnTo>
                      <a:lnTo>
                        <a:pt x="221" y="278"/>
                      </a:lnTo>
                      <a:lnTo>
                        <a:pt x="224" y="287"/>
                      </a:lnTo>
                      <a:lnTo>
                        <a:pt x="230" y="298"/>
                      </a:lnTo>
                      <a:lnTo>
                        <a:pt x="235" y="309"/>
                      </a:lnTo>
                      <a:lnTo>
                        <a:pt x="236" y="311"/>
                      </a:lnTo>
                      <a:lnTo>
                        <a:pt x="241" y="312"/>
                      </a:lnTo>
                      <a:lnTo>
                        <a:pt x="246" y="309"/>
                      </a:lnTo>
                      <a:lnTo>
                        <a:pt x="258" y="302"/>
                      </a:lnTo>
                      <a:lnTo>
                        <a:pt x="272" y="292"/>
                      </a:lnTo>
                      <a:lnTo>
                        <a:pt x="293" y="286"/>
                      </a:lnTo>
                      <a:lnTo>
                        <a:pt x="295" y="285"/>
                      </a:lnTo>
                      <a:lnTo>
                        <a:pt x="299" y="278"/>
                      </a:lnTo>
                      <a:lnTo>
                        <a:pt x="306" y="274"/>
                      </a:lnTo>
                      <a:lnTo>
                        <a:pt x="307" y="271"/>
                      </a:lnTo>
                      <a:lnTo>
                        <a:pt x="312" y="270"/>
                      </a:lnTo>
                      <a:lnTo>
                        <a:pt x="322" y="263"/>
                      </a:lnTo>
                      <a:lnTo>
                        <a:pt x="327" y="262"/>
                      </a:lnTo>
                      <a:lnTo>
                        <a:pt x="334" y="257"/>
                      </a:lnTo>
                      <a:lnTo>
                        <a:pt x="339" y="257"/>
                      </a:lnTo>
                      <a:lnTo>
                        <a:pt x="343" y="259"/>
                      </a:lnTo>
                      <a:lnTo>
                        <a:pt x="346" y="260"/>
                      </a:lnTo>
                      <a:lnTo>
                        <a:pt x="350" y="260"/>
                      </a:lnTo>
                      <a:lnTo>
                        <a:pt x="352" y="270"/>
                      </a:lnTo>
                      <a:lnTo>
                        <a:pt x="354" y="274"/>
                      </a:lnTo>
                      <a:lnTo>
                        <a:pt x="357" y="273"/>
                      </a:lnTo>
                      <a:lnTo>
                        <a:pt x="364" y="266"/>
                      </a:lnTo>
                      <a:lnTo>
                        <a:pt x="364" y="268"/>
                      </a:lnTo>
                      <a:lnTo>
                        <a:pt x="366" y="268"/>
                      </a:lnTo>
                      <a:lnTo>
                        <a:pt x="379" y="263"/>
                      </a:lnTo>
                      <a:lnTo>
                        <a:pt x="390" y="260"/>
                      </a:lnTo>
                      <a:lnTo>
                        <a:pt x="396" y="260"/>
                      </a:lnTo>
                      <a:lnTo>
                        <a:pt x="401" y="264"/>
                      </a:lnTo>
                      <a:lnTo>
                        <a:pt x="409" y="264"/>
                      </a:lnTo>
                      <a:lnTo>
                        <a:pt x="411" y="268"/>
                      </a:lnTo>
                      <a:lnTo>
                        <a:pt x="411" y="270"/>
                      </a:lnTo>
                      <a:lnTo>
                        <a:pt x="406" y="271"/>
                      </a:lnTo>
                      <a:lnTo>
                        <a:pt x="414" y="274"/>
                      </a:lnTo>
                      <a:lnTo>
                        <a:pt x="417" y="273"/>
                      </a:lnTo>
                      <a:lnTo>
                        <a:pt x="417" y="237"/>
                      </a:lnTo>
                      <a:lnTo>
                        <a:pt x="407" y="212"/>
                      </a:lnTo>
                      <a:lnTo>
                        <a:pt x="407" y="193"/>
                      </a:lnTo>
                      <a:lnTo>
                        <a:pt x="400" y="182"/>
                      </a:lnTo>
                      <a:lnTo>
                        <a:pt x="381" y="180"/>
                      </a:lnTo>
                      <a:lnTo>
                        <a:pt x="361" y="187"/>
                      </a:lnTo>
                      <a:lnTo>
                        <a:pt x="350" y="179"/>
                      </a:lnTo>
                      <a:lnTo>
                        <a:pt x="346" y="162"/>
                      </a:lnTo>
                      <a:lnTo>
                        <a:pt x="344" y="142"/>
                      </a:lnTo>
                      <a:lnTo>
                        <a:pt x="355" y="108"/>
                      </a:lnTo>
                      <a:lnTo>
                        <a:pt x="336" y="106"/>
                      </a:lnTo>
                      <a:lnTo>
                        <a:pt x="333" y="120"/>
                      </a:lnTo>
                      <a:lnTo>
                        <a:pt x="323" y="119"/>
                      </a:lnTo>
                      <a:lnTo>
                        <a:pt x="314" y="122"/>
                      </a:lnTo>
                      <a:lnTo>
                        <a:pt x="298" y="119"/>
                      </a:lnTo>
                      <a:lnTo>
                        <a:pt x="282" y="122"/>
                      </a:lnTo>
                      <a:lnTo>
                        <a:pt x="267" y="129"/>
                      </a:lnTo>
                      <a:lnTo>
                        <a:pt x="260" y="126"/>
                      </a:lnTo>
                      <a:lnTo>
                        <a:pt x="244" y="128"/>
                      </a:lnTo>
                      <a:lnTo>
                        <a:pt x="239" y="112"/>
                      </a:lnTo>
                      <a:lnTo>
                        <a:pt x="231" y="110"/>
                      </a:lnTo>
                      <a:lnTo>
                        <a:pt x="224" y="106"/>
                      </a:lnTo>
                      <a:lnTo>
                        <a:pt x="193" y="115"/>
                      </a:lnTo>
                      <a:lnTo>
                        <a:pt x="185" y="114"/>
                      </a:lnTo>
                      <a:lnTo>
                        <a:pt x="180" y="108"/>
                      </a:lnTo>
                      <a:lnTo>
                        <a:pt x="172" y="106"/>
                      </a:lnTo>
                      <a:lnTo>
                        <a:pt x="164" y="106"/>
                      </a:lnTo>
                      <a:lnTo>
                        <a:pt x="140" y="109"/>
                      </a:lnTo>
                      <a:lnTo>
                        <a:pt x="124" y="106"/>
                      </a:lnTo>
                      <a:lnTo>
                        <a:pt x="117" y="108"/>
                      </a:lnTo>
                      <a:lnTo>
                        <a:pt x="108" y="108"/>
                      </a:lnTo>
                      <a:lnTo>
                        <a:pt x="104" y="102"/>
                      </a:lnTo>
                      <a:lnTo>
                        <a:pt x="104" y="86"/>
                      </a:lnTo>
                      <a:lnTo>
                        <a:pt x="104" y="77"/>
                      </a:lnTo>
                      <a:lnTo>
                        <a:pt x="119" y="72"/>
                      </a:lnTo>
                      <a:lnTo>
                        <a:pt x="126" y="67"/>
                      </a:lnTo>
                      <a:lnTo>
                        <a:pt x="134" y="70"/>
                      </a:lnTo>
                      <a:lnTo>
                        <a:pt x="150" y="67"/>
                      </a:lnTo>
                      <a:lnTo>
                        <a:pt x="159" y="69"/>
                      </a:lnTo>
                      <a:lnTo>
                        <a:pt x="172" y="77"/>
                      </a:lnTo>
                      <a:lnTo>
                        <a:pt x="180" y="75"/>
                      </a:lnTo>
                      <a:lnTo>
                        <a:pt x="185" y="67"/>
                      </a:lnTo>
                      <a:lnTo>
                        <a:pt x="192" y="65"/>
                      </a:lnTo>
                      <a:lnTo>
                        <a:pt x="196" y="56"/>
                      </a:lnTo>
                      <a:lnTo>
                        <a:pt x="192" y="56"/>
                      </a:lnTo>
                      <a:lnTo>
                        <a:pt x="185" y="60"/>
                      </a:lnTo>
                      <a:lnTo>
                        <a:pt x="176" y="61"/>
                      </a:lnTo>
                      <a:lnTo>
                        <a:pt x="172" y="54"/>
                      </a:lnTo>
                      <a:lnTo>
                        <a:pt x="167" y="38"/>
                      </a:lnTo>
                      <a:lnTo>
                        <a:pt x="174" y="33"/>
                      </a:lnTo>
                      <a:lnTo>
                        <a:pt x="181" y="29"/>
                      </a:lnTo>
                      <a:lnTo>
                        <a:pt x="185" y="22"/>
                      </a:lnTo>
                      <a:lnTo>
                        <a:pt x="183" y="15"/>
                      </a:lnTo>
                      <a:lnTo>
                        <a:pt x="178" y="9"/>
                      </a:lnTo>
                      <a:lnTo>
                        <a:pt x="177" y="0"/>
                      </a:lnTo>
                      <a:lnTo>
                        <a:pt x="170" y="0"/>
                      </a:lnTo>
                      <a:lnTo>
                        <a:pt x="164" y="5"/>
                      </a:lnTo>
                      <a:lnTo>
                        <a:pt x="160" y="12"/>
                      </a:lnTo>
                      <a:lnTo>
                        <a:pt x="145" y="20"/>
                      </a:lnTo>
                      <a:lnTo>
                        <a:pt x="132" y="27"/>
                      </a:lnTo>
                      <a:lnTo>
                        <a:pt x="123" y="28"/>
                      </a:lnTo>
                      <a:lnTo>
                        <a:pt x="117" y="23"/>
                      </a:lnTo>
                      <a:lnTo>
                        <a:pt x="110" y="27"/>
                      </a:lnTo>
                      <a:lnTo>
                        <a:pt x="108" y="36"/>
                      </a:lnTo>
                      <a:lnTo>
                        <a:pt x="102" y="40"/>
                      </a:lnTo>
                      <a:lnTo>
                        <a:pt x="107" y="47"/>
                      </a:lnTo>
                      <a:lnTo>
                        <a:pt x="107" y="55"/>
                      </a:lnTo>
                      <a:lnTo>
                        <a:pt x="105" y="63"/>
                      </a:lnTo>
                      <a:lnTo>
                        <a:pt x="99" y="67"/>
                      </a:lnTo>
                      <a:lnTo>
                        <a:pt x="83" y="70"/>
                      </a:lnTo>
                      <a:lnTo>
                        <a:pt x="75" y="75"/>
                      </a:lnTo>
                      <a:lnTo>
                        <a:pt x="75" y="82"/>
                      </a:lnTo>
                      <a:lnTo>
                        <a:pt x="63" y="104"/>
                      </a:lnTo>
                      <a:lnTo>
                        <a:pt x="56" y="107"/>
                      </a:lnTo>
                      <a:lnTo>
                        <a:pt x="40" y="108"/>
                      </a:lnTo>
                      <a:lnTo>
                        <a:pt x="32" y="107"/>
                      </a:lnTo>
                      <a:lnTo>
                        <a:pt x="26" y="101"/>
                      </a:lnTo>
                      <a:lnTo>
                        <a:pt x="18" y="102"/>
                      </a:lnTo>
                      <a:lnTo>
                        <a:pt x="10" y="106"/>
                      </a:lnTo>
                      <a:lnTo>
                        <a:pt x="6" y="112"/>
                      </a:lnTo>
                      <a:lnTo>
                        <a:pt x="8" y="120"/>
                      </a:lnTo>
                      <a:lnTo>
                        <a:pt x="0" y="125"/>
                      </a:lnTo>
                      <a:lnTo>
                        <a:pt x="6" y="131"/>
                      </a:lnTo>
                      <a:lnTo>
                        <a:pt x="14" y="136"/>
                      </a:lnTo>
                      <a:lnTo>
                        <a:pt x="16" y="144"/>
                      </a:lnTo>
                      <a:lnTo>
                        <a:pt x="25" y="145"/>
                      </a:lnTo>
                      <a:lnTo>
                        <a:pt x="34" y="144"/>
                      </a:lnTo>
                      <a:lnTo>
                        <a:pt x="40" y="149"/>
                      </a:lnTo>
                      <a:lnTo>
                        <a:pt x="42" y="156"/>
                      </a:lnTo>
                      <a:lnTo>
                        <a:pt x="41" y="165"/>
                      </a:lnTo>
                      <a:lnTo>
                        <a:pt x="37" y="171"/>
                      </a:lnTo>
                      <a:lnTo>
                        <a:pt x="41" y="187"/>
                      </a:lnTo>
                      <a:lnTo>
                        <a:pt x="46" y="194"/>
                      </a:lnTo>
                      <a:lnTo>
                        <a:pt x="53" y="199"/>
                      </a:lnTo>
                      <a:lnTo>
                        <a:pt x="54" y="205"/>
                      </a:lnTo>
                      <a:lnTo>
                        <a:pt x="52" y="212"/>
                      </a:lnTo>
                      <a:lnTo>
                        <a:pt x="47" y="217"/>
                      </a:lnTo>
                      <a:lnTo>
                        <a:pt x="40" y="222"/>
                      </a:lnTo>
                      <a:lnTo>
                        <a:pt x="37" y="228"/>
                      </a:lnTo>
                      <a:lnTo>
                        <a:pt x="29" y="239"/>
                      </a:lnTo>
                      <a:lnTo>
                        <a:pt x="22" y="253"/>
                      </a:lnTo>
                      <a:lnTo>
                        <a:pt x="24" y="259"/>
                      </a:lnTo>
                      <a:lnTo>
                        <a:pt x="24" y="266"/>
                      </a:lnTo>
                      <a:lnTo>
                        <a:pt x="19" y="269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grpSp>
              <p:nvGrpSpPr>
                <p:cNvPr id="431" name="Group 106"/>
                <p:cNvGrpSpPr>
                  <a:grpSpLocks/>
                </p:cNvGrpSpPr>
                <p:nvPr/>
              </p:nvGrpSpPr>
              <p:grpSpPr bwMode="auto">
                <a:xfrm>
                  <a:off x="5223080" y="2138984"/>
                  <a:ext cx="106734" cy="85614"/>
                  <a:chOff x="3007" y="1982"/>
                  <a:chExt cx="61" cy="49"/>
                </a:xfrm>
                <a:solidFill>
                  <a:srgbClr val="D9D9D9"/>
                </a:solidFill>
              </p:grpSpPr>
              <p:sp>
                <p:nvSpPr>
                  <p:cNvPr id="526" name="Freeform 107"/>
                  <p:cNvSpPr>
                    <a:spLocks/>
                  </p:cNvSpPr>
                  <p:nvPr/>
                </p:nvSpPr>
                <p:spPr bwMode="gray">
                  <a:xfrm>
                    <a:off x="3007" y="2013"/>
                    <a:ext cx="13" cy="12"/>
                  </a:xfrm>
                  <a:custGeom>
                    <a:avLst/>
                    <a:gdLst>
                      <a:gd name="T0" fmla="*/ 3 w 65"/>
                      <a:gd name="T1" fmla="*/ 2 h 59"/>
                      <a:gd name="T2" fmla="*/ 2 w 65"/>
                      <a:gd name="T3" fmla="*/ 2 h 59"/>
                      <a:gd name="T4" fmla="*/ 1 w 65"/>
                      <a:gd name="T5" fmla="*/ 2 h 59"/>
                      <a:gd name="T6" fmla="*/ 0 w 65"/>
                      <a:gd name="T7" fmla="*/ 0 h 59"/>
                      <a:gd name="T8" fmla="*/ 0 w 65"/>
                      <a:gd name="T9" fmla="*/ 0 h 59"/>
                      <a:gd name="T10" fmla="*/ 0 w 65"/>
                      <a:gd name="T11" fmla="*/ 0 h 59"/>
                      <a:gd name="T12" fmla="*/ 1 w 65"/>
                      <a:gd name="T13" fmla="*/ 0 h 59"/>
                      <a:gd name="T14" fmla="*/ 1 w 65"/>
                      <a:gd name="T15" fmla="*/ 0 h 59"/>
                      <a:gd name="T16" fmla="*/ 1 w 65"/>
                      <a:gd name="T17" fmla="*/ 0 h 59"/>
                      <a:gd name="T18" fmla="*/ 1 w 65"/>
                      <a:gd name="T19" fmla="*/ 1 h 59"/>
                      <a:gd name="T20" fmla="*/ 2 w 65"/>
                      <a:gd name="T21" fmla="*/ 0 h 59"/>
                      <a:gd name="T22" fmla="*/ 2 w 65"/>
                      <a:gd name="T23" fmla="*/ 0 h 59"/>
                      <a:gd name="T24" fmla="*/ 2 w 65"/>
                      <a:gd name="T25" fmla="*/ 1 h 59"/>
                      <a:gd name="T26" fmla="*/ 2 w 65"/>
                      <a:gd name="T27" fmla="*/ 1 h 59"/>
                      <a:gd name="T28" fmla="*/ 3 w 65"/>
                      <a:gd name="T29" fmla="*/ 1 h 59"/>
                      <a:gd name="T30" fmla="*/ 3 w 65"/>
                      <a:gd name="T31" fmla="*/ 2 h 59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w 65"/>
                      <a:gd name="T49" fmla="*/ 0 h 59"/>
                      <a:gd name="T50" fmla="*/ 65 w 65"/>
                      <a:gd name="T51" fmla="*/ 59 h 59"/>
                    </a:gdLst>
                    <a:ahLst/>
                    <a:cxnLst>
                      <a:cxn ang="T32">
                        <a:pos x="T0" y="T1"/>
                      </a:cxn>
                      <a:cxn ang="T33">
                        <a:pos x="T2" y="T3"/>
                      </a:cxn>
                      <a:cxn ang="T34">
                        <a:pos x="T4" y="T5"/>
                      </a:cxn>
                      <a:cxn ang="T35">
                        <a:pos x="T6" y="T7"/>
                      </a:cxn>
                      <a:cxn ang="T36">
                        <a:pos x="T8" y="T9"/>
                      </a:cxn>
                      <a:cxn ang="T37">
                        <a:pos x="T10" y="T11"/>
                      </a:cxn>
                      <a:cxn ang="T38">
                        <a:pos x="T12" y="T13"/>
                      </a:cxn>
                      <a:cxn ang="T39">
                        <a:pos x="T14" y="T15"/>
                      </a:cxn>
                      <a:cxn ang="T40">
                        <a:pos x="T16" y="T17"/>
                      </a:cxn>
                      <a:cxn ang="T41">
                        <a:pos x="T18" y="T19"/>
                      </a:cxn>
                      <a:cxn ang="T42">
                        <a:pos x="T20" y="T21"/>
                      </a:cxn>
                      <a:cxn ang="T43">
                        <a:pos x="T22" y="T23"/>
                      </a:cxn>
                      <a:cxn ang="T44">
                        <a:pos x="T24" y="T25"/>
                      </a:cxn>
                      <a:cxn ang="T45">
                        <a:pos x="T26" y="T27"/>
                      </a:cxn>
                      <a:cxn ang="T46">
                        <a:pos x="T28" y="T29"/>
                      </a:cxn>
                      <a:cxn ang="T47">
                        <a:pos x="T30" y="T31"/>
                      </a:cxn>
                    </a:cxnLst>
                    <a:rect l="T48" t="T49" r="T50" b="T51"/>
                    <a:pathLst>
                      <a:path w="65" h="59">
                        <a:moveTo>
                          <a:pt x="65" y="59"/>
                        </a:moveTo>
                        <a:lnTo>
                          <a:pt x="52" y="56"/>
                        </a:lnTo>
                        <a:lnTo>
                          <a:pt x="36" y="53"/>
                        </a:lnTo>
                        <a:lnTo>
                          <a:pt x="4" y="7"/>
                        </a:lnTo>
                        <a:lnTo>
                          <a:pt x="0" y="2"/>
                        </a:lnTo>
                        <a:lnTo>
                          <a:pt x="10" y="0"/>
                        </a:lnTo>
                        <a:lnTo>
                          <a:pt x="17" y="1"/>
                        </a:lnTo>
                        <a:lnTo>
                          <a:pt x="22" y="9"/>
                        </a:lnTo>
                        <a:lnTo>
                          <a:pt x="30" y="12"/>
                        </a:lnTo>
                        <a:lnTo>
                          <a:pt x="37" y="13"/>
                        </a:lnTo>
                        <a:lnTo>
                          <a:pt x="44" y="10"/>
                        </a:lnTo>
                        <a:lnTo>
                          <a:pt x="52" y="12"/>
                        </a:lnTo>
                        <a:lnTo>
                          <a:pt x="55" y="20"/>
                        </a:lnTo>
                        <a:lnTo>
                          <a:pt x="60" y="27"/>
                        </a:lnTo>
                        <a:lnTo>
                          <a:pt x="64" y="34"/>
                        </a:lnTo>
                        <a:lnTo>
                          <a:pt x="65" y="59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27" name="Freeform 108"/>
                  <p:cNvSpPr>
                    <a:spLocks/>
                  </p:cNvSpPr>
                  <p:nvPr/>
                </p:nvSpPr>
                <p:spPr bwMode="gray">
                  <a:xfrm>
                    <a:off x="3009" y="1982"/>
                    <a:ext cx="59" cy="49"/>
                  </a:xfrm>
                  <a:custGeom>
                    <a:avLst/>
                    <a:gdLst>
                      <a:gd name="T0" fmla="*/ 4 w 294"/>
                      <a:gd name="T1" fmla="*/ 0 h 245"/>
                      <a:gd name="T2" fmla="*/ 4 w 294"/>
                      <a:gd name="T3" fmla="*/ 1 h 245"/>
                      <a:gd name="T4" fmla="*/ 5 w 294"/>
                      <a:gd name="T5" fmla="*/ 1 h 245"/>
                      <a:gd name="T6" fmla="*/ 5 w 294"/>
                      <a:gd name="T7" fmla="*/ 2 h 245"/>
                      <a:gd name="T8" fmla="*/ 6 w 294"/>
                      <a:gd name="T9" fmla="*/ 2 h 245"/>
                      <a:gd name="T10" fmla="*/ 7 w 294"/>
                      <a:gd name="T11" fmla="*/ 2 h 245"/>
                      <a:gd name="T12" fmla="*/ 7 w 294"/>
                      <a:gd name="T13" fmla="*/ 1 h 245"/>
                      <a:gd name="T14" fmla="*/ 8 w 294"/>
                      <a:gd name="T15" fmla="*/ 1 h 245"/>
                      <a:gd name="T16" fmla="*/ 9 w 294"/>
                      <a:gd name="T17" fmla="*/ 1 h 245"/>
                      <a:gd name="T18" fmla="*/ 10 w 294"/>
                      <a:gd name="T19" fmla="*/ 3 h 245"/>
                      <a:gd name="T20" fmla="*/ 10 w 294"/>
                      <a:gd name="T21" fmla="*/ 4 h 245"/>
                      <a:gd name="T22" fmla="*/ 11 w 294"/>
                      <a:gd name="T23" fmla="*/ 4 h 245"/>
                      <a:gd name="T24" fmla="*/ 12 w 294"/>
                      <a:gd name="T25" fmla="*/ 4 h 245"/>
                      <a:gd name="T26" fmla="*/ 11 w 294"/>
                      <a:gd name="T27" fmla="*/ 4 h 245"/>
                      <a:gd name="T28" fmla="*/ 10 w 294"/>
                      <a:gd name="T29" fmla="*/ 5 h 245"/>
                      <a:gd name="T30" fmla="*/ 10 w 294"/>
                      <a:gd name="T31" fmla="*/ 6 h 245"/>
                      <a:gd name="T32" fmla="*/ 10 w 294"/>
                      <a:gd name="T33" fmla="*/ 7 h 245"/>
                      <a:gd name="T34" fmla="*/ 9 w 294"/>
                      <a:gd name="T35" fmla="*/ 8 h 245"/>
                      <a:gd name="T36" fmla="*/ 9 w 294"/>
                      <a:gd name="T37" fmla="*/ 8 h 245"/>
                      <a:gd name="T38" fmla="*/ 9 w 294"/>
                      <a:gd name="T39" fmla="*/ 10 h 245"/>
                      <a:gd name="T40" fmla="*/ 8 w 294"/>
                      <a:gd name="T41" fmla="*/ 10 h 245"/>
                      <a:gd name="T42" fmla="*/ 8 w 294"/>
                      <a:gd name="T43" fmla="*/ 9 h 245"/>
                      <a:gd name="T44" fmla="*/ 7 w 294"/>
                      <a:gd name="T45" fmla="*/ 9 h 245"/>
                      <a:gd name="T46" fmla="*/ 7 w 294"/>
                      <a:gd name="T47" fmla="*/ 9 h 245"/>
                      <a:gd name="T48" fmla="*/ 7 w 294"/>
                      <a:gd name="T49" fmla="*/ 7 h 245"/>
                      <a:gd name="T50" fmla="*/ 6 w 294"/>
                      <a:gd name="T51" fmla="*/ 7 h 245"/>
                      <a:gd name="T52" fmla="*/ 5 w 294"/>
                      <a:gd name="T53" fmla="*/ 7 h 245"/>
                      <a:gd name="T54" fmla="*/ 4 w 294"/>
                      <a:gd name="T55" fmla="*/ 8 h 245"/>
                      <a:gd name="T56" fmla="*/ 3 w 294"/>
                      <a:gd name="T57" fmla="*/ 9 h 245"/>
                      <a:gd name="T58" fmla="*/ 3 w 294"/>
                      <a:gd name="T59" fmla="*/ 8 h 245"/>
                      <a:gd name="T60" fmla="*/ 3 w 294"/>
                      <a:gd name="T61" fmla="*/ 8 h 245"/>
                      <a:gd name="T62" fmla="*/ 3 w 294"/>
                      <a:gd name="T63" fmla="*/ 7 h 245"/>
                      <a:gd name="T64" fmla="*/ 3 w 294"/>
                      <a:gd name="T65" fmla="*/ 7 h 245"/>
                      <a:gd name="T66" fmla="*/ 3 w 294"/>
                      <a:gd name="T67" fmla="*/ 7 h 245"/>
                      <a:gd name="T68" fmla="*/ 2 w 294"/>
                      <a:gd name="T69" fmla="*/ 6 h 245"/>
                      <a:gd name="T70" fmla="*/ 2 w 294"/>
                      <a:gd name="T71" fmla="*/ 5 h 245"/>
                      <a:gd name="T72" fmla="*/ 2 w 294"/>
                      <a:gd name="T73" fmla="*/ 5 h 245"/>
                      <a:gd name="T74" fmla="*/ 1 w 294"/>
                      <a:gd name="T75" fmla="*/ 4 h 245"/>
                      <a:gd name="T76" fmla="*/ 1 w 294"/>
                      <a:gd name="T77" fmla="*/ 4 h 245"/>
                      <a:gd name="T78" fmla="*/ 1 w 294"/>
                      <a:gd name="T79" fmla="*/ 3 h 245"/>
                      <a:gd name="T80" fmla="*/ 1 w 294"/>
                      <a:gd name="T81" fmla="*/ 3 h 245"/>
                      <a:gd name="T82" fmla="*/ 0 w 294"/>
                      <a:gd name="T83" fmla="*/ 2 h 245"/>
                      <a:gd name="T84" fmla="*/ 0 w 294"/>
                      <a:gd name="T85" fmla="*/ 2 h 245"/>
                      <a:gd name="T86" fmla="*/ 1 w 294"/>
                      <a:gd name="T87" fmla="*/ 1 h 245"/>
                      <a:gd name="T88" fmla="*/ 1 w 294"/>
                      <a:gd name="T89" fmla="*/ 1 h 245"/>
                      <a:gd name="T90" fmla="*/ 2 w 294"/>
                      <a:gd name="T91" fmla="*/ 2 h 245"/>
                      <a:gd name="T92" fmla="*/ 3 w 294"/>
                      <a:gd name="T93" fmla="*/ 2 h 245"/>
                      <a:gd name="T94" fmla="*/ 4 w 294"/>
                      <a:gd name="T95" fmla="*/ 2 h 245"/>
                      <a:gd name="T96" fmla="*/ 3 w 294"/>
                      <a:gd name="T97" fmla="*/ 1 h 245"/>
                      <a:gd name="T98" fmla="*/ 3 w 294"/>
                      <a:gd name="T99" fmla="*/ 1 h 245"/>
                      <a:gd name="T100" fmla="*/ 3 w 294"/>
                      <a:gd name="T101" fmla="*/ 0 h 245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w 294"/>
                      <a:gd name="T154" fmla="*/ 0 h 245"/>
                      <a:gd name="T155" fmla="*/ 294 w 294"/>
                      <a:gd name="T156" fmla="*/ 245 h 245"/>
                    </a:gdLst>
                    <a:ahLst/>
                    <a:cxnLst>
                      <a:cxn ang="T102">
                        <a:pos x="T0" y="T1"/>
                      </a:cxn>
                      <a:cxn ang="T103">
                        <a:pos x="T2" y="T3"/>
                      </a:cxn>
                      <a:cxn ang="T104">
                        <a:pos x="T4" y="T5"/>
                      </a:cxn>
                      <a:cxn ang="T105">
                        <a:pos x="T6" y="T7"/>
                      </a:cxn>
                      <a:cxn ang="T106">
                        <a:pos x="T8" y="T9"/>
                      </a:cxn>
                      <a:cxn ang="T107">
                        <a:pos x="T10" y="T11"/>
                      </a:cxn>
                      <a:cxn ang="T108">
                        <a:pos x="T12" y="T13"/>
                      </a:cxn>
                      <a:cxn ang="T109">
                        <a:pos x="T14" y="T15"/>
                      </a:cxn>
                      <a:cxn ang="T110">
                        <a:pos x="T16" y="T17"/>
                      </a:cxn>
                      <a:cxn ang="T111">
                        <a:pos x="T18" y="T19"/>
                      </a:cxn>
                      <a:cxn ang="T112">
                        <a:pos x="T20" y="T21"/>
                      </a:cxn>
                      <a:cxn ang="T113">
                        <a:pos x="T22" y="T23"/>
                      </a:cxn>
                      <a:cxn ang="T114">
                        <a:pos x="T24" y="T25"/>
                      </a:cxn>
                      <a:cxn ang="T115">
                        <a:pos x="T26" y="T27"/>
                      </a:cxn>
                      <a:cxn ang="T116">
                        <a:pos x="T28" y="T29"/>
                      </a:cxn>
                      <a:cxn ang="T117">
                        <a:pos x="T30" y="T31"/>
                      </a:cxn>
                      <a:cxn ang="T118">
                        <a:pos x="T32" y="T33"/>
                      </a:cxn>
                      <a:cxn ang="T119">
                        <a:pos x="T34" y="T35"/>
                      </a:cxn>
                      <a:cxn ang="T120">
                        <a:pos x="T36" y="T37"/>
                      </a:cxn>
                      <a:cxn ang="T121">
                        <a:pos x="T38" y="T39"/>
                      </a:cxn>
                      <a:cxn ang="T122">
                        <a:pos x="T40" y="T41"/>
                      </a:cxn>
                      <a:cxn ang="T123">
                        <a:pos x="T42" y="T43"/>
                      </a:cxn>
                      <a:cxn ang="T124">
                        <a:pos x="T44" y="T45"/>
                      </a:cxn>
                      <a:cxn ang="T125">
                        <a:pos x="T46" y="T47"/>
                      </a:cxn>
                      <a:cxn ang="T126">
                        <a:pos x="T48" y="T49"/>
                      </a:cxn>
                      <a:cxn ang="T127">
                        <a:pos x="T50" y="T51"/>
                      </a:cxn>
                      <a:cxn ang="T128">
                        <a:pos x="T52" y="T53"/>
                      </a:cxn>
                      <a:cxn ang="T129">
                        <a:pos x="T54" y="T55"/>
                      </a:cxn>
                      <a:cxn ang="T130">
                        <a:pos x="T56" y="T57"/>
                      </a:cxn>
                      <a:cxn ang="T131">
                        <a:pos x="T58" y="T59"/>
                      </a:cxn>
                      <a:cxn ang="T132">
                        <a:pos x="T60" y="T61"/>
                      </a:cxn>
                      <a:cxn ang="T133">
                        <a:pos x="T62" y="T63"/>
                      </a:cxn>
                      <a:cxn ang="T134">
                        <a:pos x="T64" y="T65"/>
                      </a:cxn>
                      <a:cxn ang="T135">
                        <a:pos x="T66" y="T67"/>
                      </a:cxn>
                      <a:cxn ang="T136">
                        <a:pos x="T68" y="T69"/>
                      </a:cxn>
                      <a:cxn ang="T137">
                        <a:pos x="T70" y="T71"/>
                      </a:cxn>
                      <a:cxn ang="T138">
                        <a:pos x="T72" y="T73"/>
                      </a:cxn>
                      <a:cxn ang="T139">
                        <a:pos x="T74" y="T75"/>
                      </a:cxn>
                      <a:cxn ang="T140">
                        <a:pos x="T76" y="T77"/>
                      </a:cxn>
                      <a:cxn ang="T141">
                        <a:pos x="T78" y="T79"/>
                      </a:cxn>
                      <a:cxn ang="T142">
                        <a:pos x="T80" y="T81"/>
                      </a:cxn>
                      <a:cxn ang="T143">
                        <a:pos x="T82" y="T83"/>
                      </a:cxn>
                      <a:cxn ang="T144">
                        <a:pos x="T84" y="T85"/>
                      </a:cxn>
                      <a:cxn ang="T145">
                        <a:pos x="T86" y="T87"/>
                      </a:cxn>
                      <a:cxn ang="T146">
                        <a:pos x="T88" y="T89"/>
                      </a:cxn>
                      <a:cxn ang="T147">
                        <a:pos x="T90" y="T91"/>
                      </a:cxn>
                      <a:cxn ang="T148">
                        <a:pos x="T92" y="T93"/>
                      </a:cxn>
                      <a:cxn ang="T149">
                        <a:pos x="T94" y="T95"/>
                      </a:cxn>
                      <a:cxn ang="T150">
                        <a:pos x="T96" y="T97"/>
                      </a:cxn>
                      <a:cxn ang="T151">
                        <a:pos x="T98" y="T99"/>
                      </a:cxn>
                      <a:cxn ang="T152">
                        <a:pos x="T100" y="T101"/>
                      </a:cxn>
                    </a:cxnLst>
                    <a:rect l="T153" t="T154" r="T155" b="T156"/>
                    <a:pathLst>
                      <a:path w="294" h="245">
                        <a:moveTo>
                          <a:pt x="80" y="0"/>
                        </a:moveTo>
                        <a:lnTo>
                          <a:pt x="88" y="5"/>
                        </a:lnTo>
                        <a:lnTo>
                          <a:pt x="95" y="5"/>
                        </a:lnTo>
                        <a:lnTo>
                          <a:pt x="107" y="16"/>
                        </a:lnTo>
                        <a:lnTo>
                          <a:pt x="111" y="24"/>
                        </a:lnTo>
                        <a:lnTo>
                          <a:pt x="119" y="24"/>
                        </a:lnTo>
                        <a:lnTo>
                          <a:pt x="124" y="40"/>
                        </a:lnTo>
                        <a:lnTo>
                          <a:pt x="126" y="47"/>
                        </a:lnTo>
                        <a:lnTo>
                          <a:pt x="135" y="47"/>
                        </a:lnTo>
                        <a:lnTo>
                          <a:pt x="151" y="51"/>
                        </a:lnTo>
                        <a:lnTo>
                          <a:pt x="159" y="48"/>
                        </a:lnTo>
                        <a:lnTo>
                          <a:pt x="164" y="43"/>
                        </a:lnTo>
                        <a:lnTo>
                          <a:pt x="170" y="28"/>
                        </a:lnTo>
                        <a:lnTo>
                          <a:pt x="178" y="24"/>
                        </a:lnTo>
                        <a:lnTo>
                          <a:pt x="185" y="20"/>
                        </a:lnTo>
                        <a:lnTo>
                          <a:pt x="188" y="13"/>
                        </a:lnTo>
                        <a:lnTo>
                          <a:pt x="194" y="3"/>
                        </a:lnTo>
                        <a:lnTo>
                          <a:pt x="220" y="34"/>
                        </a:lnTo>
                        <a:lnTo>
                          <a:pt x="236" y="68"/>
                        </a:lnTo>
                        <a:lnTo>
                          <a:pt x="245" y="83"/>
                        </a:lnTo>
                        <a:lnTo>
                          <a:pt x="253" y="93"/>
                        </a:lnTo>
                        <a:lnTo>
                          <a:pt x="261" y="98"/>
                        </a:lnTo>
                        <a:lnTo>
                          <a:pt x="274" y="93"/>
                        </a:lnTo>
                        <a:lnTo>
                          <a:pt x="281" y="98"/>
                        </a:lnTo>
                        <a:lnTo>
                          <a:pt x="287" y="100"/>
                        </a:lnTo>
                        <a:lnTo>
                          <a:pt x="292" y="109"/>
                        </a:lnTo>
                        <a:lnTo>
                          <a:pt x="294" y="118"/>
                        </a:lnTo>
                        <a:lnTo>
                          <a:pt x="283" y="109"/>
                        </a:lnTo>
                        <a:lnTo>
                          <a:pt x="269" y="110"/>
                        </a:lnTo>
                        <a:lnTo>
                          <a:pt x="259" y="117"/>
                        </a:lnTo>
                        <a:lnTo>
                          <a:pt x="251" y="127"/>
                        </a:lnTo>
                        <a:lnTo>
                          <a:pt x="248" y="147"/>
                        </a:lnTo>
                        <a:lnTo>
                          <a:pt x="247" y="164"/>
                        </a:lnTo>
                        <a:lnTo>
                          <a:pt x="240" y="180"/>
                        </a:lnTo>
                        <a:lnTo>
                          <a:pt x="236" y="206"/>
                        </a:lnTo>
                        <a:lnTo>
                          <a:pt x="223" y="192"/>
                        </a:lnTo>
                        <a:lnTo>
                          <a:pt x="216" y="197"/>
                        </a:lnTo>
                        <a:lnTo>
                          <a:pt x="213" y="206"/>
                        </a:lnTo>
                        <a:lnTo>
                          <a:pt x="213" y="227"/>
                        </a:lnTo>
                        <a:lnTo>
                          <a:pt x="215" y="244"/>
                        </a:lnTo>
                        <a:lnTo>
                          <a:pt x="211" y="245"/>
                        </a:lnTo>
                        <a:lnTo>
                          <a:pt x="204" y="245"/>
                        </a:lnTo>
                        <a:lnTo>
                          <a:pt x="197" y="242"/>
                        </a:lnTo>
                        <a:lnTo>
                          <a:pt x="189" y="235"/>
                        </a:lnTo>
                        <a:lnTo>
                          <a:pt x="181" y="231"/>
                        </a:lnTo>
                        <a:lnTo>
                          <a:pt x="177" y="227"/>
                        </a:lnTo>
                        <a:lnTo>
                          <a:pt x="166" y="220"/>
                        </a:lnTo>
                        <a:lnTo>
                          <a:pt x="169" y="215"/>
                        </a:lnTo>
                        <a:lnTo>
                          <a:pt x="184" y="207"/>
                        </a:lnTo>
                        <a:lnTo>
                          <a:pt x="177" y="186"/>
                        </a:lnTo>
                        <a:lnTo>
                          <a:pt x="178" y="172"/>
                        </a:lnTo>
                        <a:lnTo>
                          <a:pt x="161" y="163"/>
                        </a:lnTo>
                        <a:lnTo>
                          <a:pt x="135" y="169"/>
                        </a:lnTo>
                        <a:lnTo>
                          <a:pt x="123" y="177"/>
                        </a:lnTo>
                        <a:lnTo>
                          <a:pt x="113" y="187"/>
                        </a:lnTo>
                        <a:lnTo>
                          <a:pt x="107" y="203"/>
                        </a:lnTo>
                        <a:lnTo>
                          <a:pt x="95" y="217"/>
                        </a:lnTo>
                        <a:lnTo>
                          <a:pt x="84" y="218"/>
                        </a:lnTo>
                        <a:lnTo>
                          <a:pt x="83" y="211"/>
                        </a:lnTo>
                        <a:lnTo>
                          <a:pt x="80" y="203"/>
                        </a:lnTo>
                        <a:lnTo>
                          <a:pt x="75" y="197"/>
                        </a:lnTo>
                        <a:lnTo>
                          <a:pt x="82" y="196"/>
                        </a:lnTo>
                        <a:lnTo>
                          <a:pt x="83" y="187"/>
                        </a:lnTo>
                        <a:lnTo>
                          <a:pt x="77" y="182"/>
                        </a:lnTo>
                        <a:lnTo>
                          <a:pt x="78" y="175"/>
                        </a:lnTo>
                        <a:lnTo>
                          <a:pt x="82" y="166"/>
                        </a:lnTo>
                        <a:lnTo>
                          <a:pt x="75" y="165"/>
                        </a:lnTo>
                        <a:lnTo>
                          <a:pt x="67" y="165"/>
                        </a:lnTo>
                        <a:lnTo>
                          <a:pt x="52" y="156"/>
                        </a:lnTo>
                        <a:lnTo>
                          <a:pt x="43" y="144"/>
                        </a:lnTo>
                        <a:lnTo>
                          <a:pt x="40" y="137"/>
                        </a:lnTo>
                        <a:lnTo>
                          <a:pt x="49" y="136"/>
                        </a:lnTo>
                        <a:lnTo>
                          <a:pt x="52" y="127"/>
                        </a:lnTo>
                        <a:lnTo>
                          <a:pt x="51" y="120"/>
                        </a:lnTo>
                        <a:lnTo>
                          <a:pt x="37" y="111"/>
                        </a:lnTo>
                        <a:lnTo>
                          <a:pt x="32" y="106"/>
                        </a:lnTo>
                        <a:lnTo>
                          <a:pt x="27" y="99"/>
                        </a:lnTo>
                        <a:lnTo>
                          <a:pt x="24" y="91"/>
                        </a:lnTo>
                        <a:lnTo>
                          <a:pt x="24" y="83"/>
                        </a:lnTo>
                        <a:lnTo>
                          <a:pt x="29" y="77"/>
                        </a:lnTo>
                        <a:lnTo>
                          <a:pt x="28" y="69"/>
                        </a:lnTo>
                        <a:lnTo>
                          <a:pt x="21" y="64"/>
                        </a:lnTo>
                        <a:lnTo>
                          <a:pt x="13" y="64"/>
                        </a:lnTo>
                        <a:lnTo>
                          <a:pt x="3" y="51"/>
                        </a:lnTo>
                        <a:lnTo>
                          <a:pt x="1" y="43"/>
                        </a:lnTo>
                        <a:lnTo>
                          <a:pt x="0" y="43"/>
                        </a:lnTo>
                        <a:lnTo>
                          <a:pt x="5" y="42"/>
                        </a:lnTo>
                        <a:lnTo>
                          <a:pt x="19" y="32"/>
                        </a:lnTo>
                        <a:lnTo>
                          <a:pt x="27" y="34"/>
                        </a:lnTo>
                        <a:lnTo>
                          <a:pt x="34" y="36"/>
                        </a:lnTo>
                        <a:lnTo>
                          <a:pt x="40" y="42"/>
                        </a:lnTo>
                        <a:lnTo>
                          <a:pt x="55" y="50"/>
                        </a:lnTo>
                        <a:lnTo>
                          <a:pt x="64" y="48"/>
                        </a:lnTo>
                        <a:lnTo>
                          <a:pt x="78" y="55"/>
                        </a:lnTo>
                        <a:lnTo>
                          <a:pt x="87" y="56"/>
                        </a:lnTo>
                        <a:lnTo>
                          <a:pt x="91" y="50"/>
                        </a:lnTo>
                        <a:lnTo>
                          <a:pt x="88" y="42"/>
                        </a:lnTo>
                        <a:lnTo>
                          <a:pt x="75" y="32"/>
                        </a:lnTo>
                        <a:lnTo>
                          <a:pt x="72" y="25"/>
                        </a:lnTo>
                        <a:lnTo>
                          <a:pt x="66" y="19"/>
                        </a:lnTo>
                        <a:lnTo>
                          <a:pt x="67" y="10"/>
                        </a:lnTo>
                        <a:lnTo>
                          <a:pt x="78" y="0"/>
                        </a:lnTo>
                        <a:lnTo>
                          <a:pt x="80" y="0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</p:grpSp>
            <p:sp>
              <p:nvSpPr>
                <p:cNvPr id="432" name="Freeform 109"/>
                <p:cNvSpPr>
                  <a:spLocks/>
                </p:cNvSpPr>
                <p:nvPr/>
              </p:nvSpPr>
              <p:spPr bwMode="gray">
                <a:xfrm>
                  <a:off x="5729127" y="2182470"/>
                  <a:ext cx="5023" cy="6794"/>
                </a:xfrm>
                <a:custGeom>
                  <a:avLst/>
                  <a:gdLst>
                    <a:gd name="T0" fmla="*/ 1253 w 16"/>
                    <a:gd name="T1" fmla="*/ 1121 h 22"/>
                    <a:gd name="T2" fmla="*/ 1253 w 16"/>
                    <a:gd name="T3" fmla="*/ 748 h 22"/>
                    <a:gd name="T4" fmla="*/ 418 w 16"/>
                    <a:gd name="T5" fmla="*/ 0 h 22"/>
                    <a:gd name="T6" fmla="*/ 0 w 16"/>
                    <a:gd name="T7" fmla="*/ 374 h 22"/>
                    <a:gd name="T8" fmla="*/ 0 w 16"/>
                    <a:gd name="T9" fmla="*/ 748 h 22"/>
                    <a:gd name="T10" fmla="*/ 418 w 16"/>
                    <a:gd name="T11" fmla="*/ 1495 h 22"/>
                    <a:gd name="T12" fmla="*/ 835 w 16"/>
                    <a:gd name="T13" fmla="*/ 1495 h 22"/>
                    <a:gd name="T14" fmla="*/ 1253 w 16"/>
                    <a:gd name="T15" fmla="*/ 1121 h 2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6"/>
                    <a:gd name="T25" fmla="*/ 0 h 22"/>
                    <a:gd name="T26" fmla="*/ 16 w 16"/>
                    <a:gd name="T27" fmla="*/ 22 h 22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6" h="22">
                      <a:moveTo>
                        <a:pt x="16" y="19"/>
                      </a:moveTo>
                      <a:lnTo>
                        <a:pt x="14" y="12"/>
                      </a:lnTo>
                      <a:lnTo>
                        <a:pt x="5" y="0"/>
                      </a:lnTo>
                      <a:lnTo>
                        <a:pt x="0" y="6"/>
                      </a:lnTo>
                      <a:lnTo>
                        <a:pt x="1" y="13"/>
                      </a:lnTo>
                      <a:lnTo>
                        <a:pt x="3" y="21"/>
                      </a:lnTo>
                      <a:lnTo>
                        <a:pt x="12" y="22"/>
                      </a:lnTo>
                      <a:lnTo>
                        <a:pt x="16" y="19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33" name="Freeform 110"/>
                <p:cNvSpPr>
                  <a:spLocks/>
                </p:cNvSpPr>
                <p:nvPr/>
              </p:nvSpPr>
              <p:spPr bwMode="gray">
                <a:xfrm>
                  <a:off x="5740429" y="2186547"/>
                  <a:ext cx="6278" cy="2718"/>
                </a:xfrm>
                <a:custGeom>
                  <a:avLst/>
                  <a:gdLst>
                    <a:gd name="T0" fmla="*/ 1336 w 15"/>
                    <a:gd name="T1" fmla="*/ 457 h 9"/>
                    <a:gd name="T2" fmla="*/ 445 w 15"/>
                    <a:gd name="T3" fmla="*/ 0 h 9"/>
                    <a:gd name="T4" fmla="*/ 0 w 15"/>
                    <a:gd name="T5" fmla="*/ 457 h 9"/>
                    <a:gd name="T6" fmla="*/ 445 w 15"/>
                    <a:gd name="T7" fmla="*/ 914 h 9"/>
                    <a:gd name="T8" fmla="*/ 1336 w 15"/>
                    <a:gd name="T9" fmla="*/ 457 h 9"/>
                    <a:gd name="T10" fmla="*/ 1336 w 15"/>
                    <a:gd name="T11" fmla="*/ 457 h 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5"/>
                    <a:gd name="T19" fmla="*/ 0 h 9"/>
                    <a:gd name="T20" fmla="*/ 15 w 15"/>
                    <a:gd name="T21" fmla="*/ 9 h 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5" h="9">
                      <a:moveTo>
                        <a:pt x="15" y="4"/>
                      </a:moveTo>
                      <a:lnTo>
                        <a:pt x="7" y="0"/>
                      </a:lnTo>
                      <a:lnTo>
                        <a:pt x="0" y="3"/>
                      </a:lnTo>
                      <a:lnTo>
                        <a:pt x="6" y="9"/>
                      </a:lnTo>
                      <a:lnTo>
                        <a:pt x="14" y="6"/>
                      </a:lnTo>
                      <a:lnTo>
                        <a:pt x="15" y="4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34" name="Freeform 111"/>
                <p:cNvSpPr>
                  <a:spLocks/>
                </p:cNvSpPr>
                <p:nvPr/>
              </p:nvSpPr>
              <p:spPr bwMode="gray">
                <a:xfrm>
                  <a:off x="5720337" y="2189265"/>
                  <a:ext cx="2511" cy="4077"/>
                </a:xfrm>
                <a:custGeom>
                  <a:avLst/>
                  <a:gdLst>
                    <a:gd name="T0" fmla="*/ 742 w 12"/>
                    <a:gd name="T1" fmla="*/ 1028 h 8"/>
                    <a:gd name="T2" fmla="*/ 371 w 12"/>
                    <a:gd name="T3" fmla="*/ 0 h 8"/>
                    <a:gd name="T4" fmla="*/ 0 w 12"/>
                    <a:gd name="T5" fmla="*/ 0 h 8"/>
                    <a:gd name="T6" fmla="*/ 0 w 12"/>
                    <a:gd name="T7" fmla="*/ 1028 h 8"/>
                    <a:gd name="T8" fmla="*/ 742 w 12"/>
                    <a:gd name="T9" fmla="*/ 1028 h 8"/>
                    <a:gd name="T10" fmla="*/ 742 w 12"/>
                    <a:gd name="T11" fmla="*/ 1028 h 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2"/>
                    <a:gd name="T19" fmla="*/ 0 h 8"/>
                    <a:gd name="T20" fmla="*/ 12 w 12"/>
                    <a:gd name="T21" fmla="*/ 8 h 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2" h="8">
                      <a:moveTo>
                        <a:pt x="12" y="6"/>
                      </a:moveTo>
                      <a:lnTo>
                        <a:pt x="8" y="0"/>
                      </a:lnTo>
                      <a:lnTo>
                        <a:pt x="0" y="1"/>
                      </a:lnTo>
                      <a:lnTo>
                        <a:pt x="2" y="8"/>
                      </a:lnTo>
                      <a:lnTo>
                        <a:pt x="11" y="8"/>
                      </a:lnTo>
                      <a:lnTo>
                        <a:pt x="12" y="6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35" name="Freeform 112"/>
                <p:cNvSpPr>
                  <a:spLocks/>
                </p:cNvSpPr>
                <p:nvPr/>
              </p:nvSpPr>
              <p:spPr bwMode="gray">
                <a:xfrm>
                  <a:off x="5525704" y="2224598"/>
                  <a:ext cx="278766" cy="210639"/>
                </a:xfrm>
                <a:custGeom>
                  <a:avLst/>
                  <a:gdLst>
                    <a:gd name="T0" fmla="*/ 5805 w 788"/>
                    <a:gd name="T1" fmla="*/ 40365 h 599"/>
                    <a:gd name="T2" fmla="*/ 1340 w 788"/>
                    <a:gd name="T3" fmla="*/ 37070 h 599"/>
                    <a:gd name="T4" fmla="*/ 447 w 788"/>
                    <a:gd name="T5" fmla="*/ 30479 h 599"/>
                    <a:gd name="T6" fmla="*/ 0 w 788"/>
                    <a:gd name="T7" fmla="*/ 24713 h 599"/>
                    <a:gd name="T8" fmla="*/ 3573 w 788"/>
                    <a:gd name="T9" fmla="*/ 18535 h 599"/>
                    <a:gd name="T10" fmla="*/ 4912 w 788"/>
                    <a:gd name="T11" fmla="*/ 16887 h 599"/>
                    <a:gd name="T12" fmla="*/ 8931 w 788"/>
                    <a:gd name="T13" fmla="*/ 18123 h 599"/>
                    <a:gd name="T14" fmla="*/ 12504 w 788"/>
                    <a:gd name="T15" fmla="*/ 17299 h 599"/>
                    <a:gd name="T16" fmla="*/ 12950 w 788"/>
                    <a:gd name="T17" fmla="*/ 15240 h 599"/>
                    <a:gd name="T18" fmla="*/ 16523 w 788"/>
                    <a:gd name="T19" fmla="*/ 14004 h 599"/>
                    <a:gd name="T20" fmla="*/ 20096 w 788"/>
                    <a:gd name="T21" fmla="*/ 11533 h 599"/>
                    <a:gd name="T22" fmla="*/ 20989 w 788"/>
                    <a:gd name="T23" fmla="*/ 7826 h 599"/>
                    <a:gd name="T24" fmla="*/ 23221 w 788"/>
                    <a:gd name="T25" fmla="*/ 7002 h 599"/>
                    <a:gd name="T26" fmla="*/ 25454 w 788"/>
                    <a:gd name="T27" fmla="*/ 5355 h 599"/>
                    <a:gd name="T28" fmla="*/ 29473 w 788"/>
                    <a:gd name="T29" fmla="*/ 6178 h 599"/>
                    <a:gd name="T30" fmla="*/ 35279 w 788"/>
                    <a:gd name="T31" fmla="*/ 6590 h 599"/>
                    <a:gd name="T32" fmla="*/ 38405 w 788"/>
                    <a:gd name="T33" fmla="*/ 7826 h 599"/>
                    <a:gd name="T34" fmla="*/ 41531 w 788"/>
                    <a:gd name="T35" fmla="*/ 6590 h 599"/>
                    <a:gd name="T36" fmla="*/ 43764 w 788"/>
                    <a:gd name="T37" fmla="*/ 7002 h 599"/>
                    <a:gd name="T38" fmla="*/ 44657 w 788"/>
                    <a:gd name="T39" fmla="*/ 4943 h 599"/>
                    <a:gd name="T40" fmla="*/ 47336 w 788"/>
                    <a:gd name="T41" fmla="*/ 5355 h 599"/>
                    <a:gd name="T42" fmla="*/ 48676 w 788"/>
                    <a:gd name="T43" fmla="*/ 2059 h 599"/>
                    <a:gd name="T44" fmla="*/ 50909 w 788"/>
                    <a:gd name="T45" fmla="*/ 412 h 599"/>
                    <a:gd name="T46" fmla="*/ 52695 w 788"/>
                    <a:gd name="T47" fmla="*/ 2471 h 599"/>
                    <a:gd name="T48" fmla="*/ 54481 w 788"/>
                    <a:gd name="T49" fmla="*/ 3295 h 599"/>
                    <a:gd name="T50" fmla="*/ 54035 w 788"/>
                    <a:gd name="T51" fmla="*/ 4943 h 599"/>
                    <a:gd name="T52" fmla="*/ 54035 w 788"/>
                    <a:gd name="T53" fmla="*/ 8238 h 599"/>
                    <a:gd name="T54" fmla="*/ 55821 w 788"/>
                    <a:gd name="T55" fmla="*/ 9885 h 599"/>
                    <a:gd name="T56" fmla="*/ 60733 w 788"/>
                    <a:gd name="T57" fmla="*/ 7414 h 599"/>
                    <a:gd name="T58" fmla="*/ 62966 w 788"/>
                    <a:gd name="T59" fmla="*/ 6178 h 599"/>
                    <a:gd name="T60" fmla="*/ 65199 w 788"/>
                    <a:gd name="T61" fmla="*/ 6178 h 599"/>
                    <a:gd name="T62" fmla="*/ 66539 w 788"/>
                    <a:gd name="T63" fmla="*/ 6590 h 599"/>
                    <a:gd name="T64" fmla="*/ 69664 w 788"/>
                    <a:gd name="T65" fmla="*/ 6178 h 599"/>
                    <a:gd name="T66" fmla="*/ 70111 w 788"/>
                    <a:gd name="T67" fmla="*/ 7002 h 599"/>
                    <a:gd name="T68" fmla="*/ 68771 w 788"/>
                    <a:gd name="T69" fmla="*/ 7826 h 599"/>
                    <a:gd name="T70" fmla="*/ 67878 w 788"/>
                    <a:gd name="T71" fmla="*/ 9061 h 599"/>
                    <a:gd name="T72" fmla="*/ 64752 w 788"/>
                    <a:gd name="T73" fmla="*/ 9061 h 599"/>
                    <a:gd name="T74" fmla="*/ 59393 w 788"/>
                    <a:gd name="T75" fmla="*/ 9473 h 599"/>
                    <a:gd name="T76" fmla="*/ 57161 w 788"/>
                    <a:gd name="T77" fmla="*/ 10709 h 599"/>
                    <a:gd name="T78" fmla="*/ 55821 w 788"/>
                    <a:gd name="T79" fmla="*/ 11533 h 599"/>
                    <a:gd name="T80" fmla="*/ 53142 w 788"/>
                    <a:gd name="T81" fmla="*/ 13180 h 599"/>
                    <a:gd name="T82" fmla="*/ 54035 w 788"/>
                    <a:gd name="T83" fmla="*/ 15240 h 599"/>
                    <a:gd name="T84" fmla="*/ 54481 w 788"/>
                    <a:gd name="T85" fmla="*/ 18123 h 599"/>
                    <a:gd name="T86" fmla="*/ 53142 w 788"/>
                    <a:gd name="T87" fmla="*/ 20594 h 599"/>
                    <a:gd name="T88" fmla="*/ 52248 w 788"/>
                    <a:gd name="T89" fmla="*/ 22654 h 599"/>
                    <a:gd name="T90" fmla="*/ 50909 w 788"/>
                    <a:gd name="T91" fmla="*/ 25125 h 599"/>
                    <a:gd name="T92" fmla="*/ 46443 w 788"/>
                    <a:gd name="T93" fmla="*/ 25125 h 599"/>
                    <a:gd name="T94" fmla="*/ 47783 w 788"/>
                    <a:gd name="T95" fmla="*/ 27596 h 599"/>
                    <a:gd name="T96" fmla="*/ 46443 w 788"/>
                    <a:gd name="T97" fmla="*/ 29656 h 599"/>
                    <a:gd name="T98" fmla="*/ 43764 w 788"/>
                    <a:gd name="T99" fmla="*/ 31715 h 599"/>
                    <a:gd name="T100" fmla="*/ 42870 w 788"/>
                    <a:gd name="T101" fmla="*/ 33363 h 599"/>
                    <a:gd name="T102" fmla="*/ 41531 w 788"/>
                    <a:gd name="T103" fmla="*/ 37893 h 599"/>
                    <a:gd name="T104" fmla="*/ 39744 w 788"/>
                    <a:gd name="T105" fmla="*/ 36658 h 599"/>
                    <a:gd name="T106" fmla="*/ 37958 w 788"/>
                    <a:gd name="T107" fmla="*/ 37070 h 599"/>
                    <a:gd name="T108" fmla="*/ 34832 w 788"/>
                    <a:gd name="T109" fmla="*/ 38717 h 599"/>
                    <a:gd name="T110" fmla="*/ 34832 w 788"/>
                    <a:gd name="T111" fmla="*/ 39541 h 599"/>
                    <a:gd name="T112" fmla="*/ 31706 w 788"/>
                    <a:gd name="T113" fmla="*/ 39129 h 599"/>
                    <a:gd name="T114" fmla="*/ 28580 w 788"/>
                    <a:gd name="T115" fmla="*/ 42836 h 599"/>
                    <a:gd name="T116" fmla="*/ 28580 w 788"/>
                    <a:gd name="T117" fmla="*/ 46543 h 599"/>
                    <a:gd name="T118" fmla="*/ 20096 w 788"/>
                    <a:gd name="T119" fmla="*/ 48602 h 599"/>
                    <a:gd name="T120" fmla="*/ 17863 w 788"/>
                    <a:gd name="T121" fmla="*/ 49426 h 599"/>
                    <a:gd name="T122" fmla="*/ 11611 w 788"/>
                    <a:gd name="T123" fmla="*/ 49014 h 599"/>
                    <a:gd name="T124" fmla="*/ 8931 w 788"/>
                    <a:gd name="T125" fmla="*/ 49426 h 599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788"/>
                    <a:gd name="T190" fmla="*/ 0 h 599"/>
                    <a:gd name="T191" fmla="*/ 788 w 788"/>
                    <a:gd name="T192" fmla="*/ 599 h 599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788" h="599">
                      <a:moveTo>
                        <a:pt x="24" y="572"/>
                      </a:moveTo>
                      <a:lnTo>
                        <a:pt x="36" y="547"/>
                      </a:lnTo>
                      <a:lnTo>
                        <a:pt x="59" y="519"/>
                      </a:lnTo>
                      <a:lnTo>
                        <a:pt x="65" y="502"/>
                      </a:lnTo>
                      <a:lnTo>
                        <a:pt x="65" y="487"/>
                      </a:lnTo>
                      <a:lnTo>
                        <a:pt x="59" y="471"/>
                      </a:lnTo>
                      <a:lnTo>
                        <a:pt x="48" y="461"/>
                      </a:lnTo>
                      <a:lnTo>
                        <a:pt x="36" y="461"/>
                      </a:lnTo>
                      <a:lnTo>
                        <a:pt x="24" y="458"/>
                      </a:lnTo>
                      <a:lnTo>
                        <a:pt x="14" y="447"/>
                      </a:lnTo>
                      <a:lnTo>
                        <a:pt x="12" y="434"/>
                      </a:lnTo>
                      <a:lnTo>
                        <a:pt x="15" y="417"/>
                      </a:lnTo>
                      <a:lnTo>
                        <a:pt x="12" y="399"/>
                      </a:lnTo>
                      <a:lnTo>
                        <a:pt x="6" y="383"/>
                      </a:lnTo>
                      <a:lnTo>
                        <a:pt x="3" y="371"/>
                      </a:lnTo>
                      <a:lnTo>
                        <a:pt x="6" y="353"/>
                      </a:lnTo>
                      <a:lnTo>
                        <a:pt x="15" y="335"/>
                      </a:lnTo>
                      <a:lnTo>
                        <a:pt x="14" y="324"/>
                      </a:lnTo>
                      <a:lnTo>
                        <a:pt x="0" y="319"/>
                      </a:lnTo>
                      <a:lnTo>
                        <a:pt x="0" y="299"/>
                      </a:lnTo>
                      <a:lnTo>
                        <a:pt x="0" y="289"/>
                      </a:lnTo>
                      <a:lnTo>
                        <a:pt x="21" y="281"/>
                      </a:lnTo>
                      <a:lnTo>
                        <a:pt x="21" y="266"/>
                      </a:lnTo>
                      <a:lnTo>
                        <a:pt x="35" y="244"/>
                      </a:lnTo>
                      <a:lnTo>
                        <a:pt x="40" y="223"/>
                      </a:lnTo>
                      <a:lnTo>
                        <a:pt x="40" y="206"/>
                      </a:lnTo>
                      <a:lnTo>
                        <a:pt x="42" y="192"/>
                      </a:lnTo>
                      <a:lnTo>
                        <a:pt x="48" y="196"/>
                      </a:lnTo>
                      <a:lnTo>
                        <a:pt x="54" y="202"/>
                      </a:lnTo>
                      <a:lnTo>
                        <a:pt x="57" y="206"/>
                      </a:lnTo>
                      <a:lnTo>
                        <a:pt x="68" y="208"/>
                      </a:lnTo>
                      <a:lnTo>
                        <a:pt x="80" y="206"/>
                      </a:lnTo>
                      <a:lnTo>
                        <a:pt x="86" y="211"/>
                      </a:lnTo>
                      <a:lnTo>
                        <a:pt x="94" y="215"/>
                      </a:lnTo>
                      <a:lnTo>
                        <a:pt x="98" y="221"/>
                      </a:lnTo>
                      <a:lnTo>
                        <a:pt x="103" y="221"/>
                      </a:lnTo>
                      <a:lnTo>
                        <a:pt x="111" y="219"/>
                      </a:lnTo>
                      <a:lnTo>
                        <a:pt x="124" y="219"/>
                      </a:lnTo>
                      <a:lnTo>
                        <a:pt x="130" y="213"/>
                      </a:lnTo>
                      <a:lnTo>
                        <a:pt x="139" y="210"/>
                      </a:lnTo>
                      <a:lnTo>
                        <a:pt x="143" y="207"/>
                      </a:lnTo>
                      <a:lnTo>
                        <a:pt x="145" y="195"/>
                      </a:lnTo>
                      <a:lnTo>
                        <a:pt x="149" y="194"/>
                      </a:lnTo>
                      <a:lnTo>
                        <a:pt x="153" y="189"/>
                      </a:lnTo>
                      <a:lnTo>
                        <a:pt x="146" y="184"/>
                      </a:lnTo>
                      <a:lnTo>
                        <a:pt x="146" y="178"/>
                      </a:lnTo>
                      <a:lnTo>
                        <a:pt x="154" y="179"/>
                      </a:lnTo>
                      <a:lnTo>
                        <a:pt x="160" y="176"/>
                      </a:lnTo>
                      <a:lnTo>
                        <a:pt x="178" y="173"/>
                      </a:lnTo>
                      <a:lnTo>
                        <a:pt x="186" y="168"/>
                      </a:lnTo>
                      <a:lnTo>
                        <a:pt x="194" y="164"/>
                      </a:lnTo>
                      <a:lnTo>
                        <a:pt x="200" y="158"/>
                      </a:lnTo>
                      <a:lnTo>
                        <a:pt x="208" y="157"/>
                      </a:lnTo>
                      <a:lnTo>
                        <a:pt x="223" y="147"/>
                      </a:lnTo>
                      <a:lnTo>
                        <a:pt x="224" y="142"/>
                      </a:lnTo>
                      <a:lnTo>
                        <a:pt x="224" y="135"/>
                      </a:lnTo>
                      <a:lnTo>
                        <a:pt x="226" y="122"/>
                      </a:lnTo>
                      <a:lnTo>
                        <a:pt x="229" y="119"/>
                      </a:lnTo>
                      <a:lnTo>
                        <a:pt x="235" y="102"/>
                      </a:lnTo>
                      <a:lnTo>
                        <a:pt x="235" y="95"/>
                      </a:lnTo>
                      <a:lnTo>
                        <a:pt x="236" y="93"/>
                      </a:lnTo>
                      <a:lnTo>
                        <a:pt x="240" y="89"/>
                      </a:lnTo>
                      <a:lnTo>
                        <a:pt x="245" y="83"/>
                      </a:lnTo>
                      <a:lnTo>
                        <a:pt x="253" y="82"/>
                      </a:lnTo>
                      <a:lnTo>
                        <a:pt x="259" y="83"/>
                      </a:lnTo>
                      <a:lnTo>
                        <a:pt x="274" y="83"/>
                      </a:lnTo>
                      <a:lnTo>
                        <a:pt x="277" y="82"/>
                      </a:lnTo>
                      <a:lnTo>
                        <a:pt x="279" y="77"/>
                      </a:lnTo>
                      <a:lnTo>
                        <a:pt x="280" y="68"/>
                      </a:lnTo>
                      <a:lnTo>
                        <a:pt x="283" y="65"/>
                      </a:lnTo>
                      <a:lnTo>
                        <a:pt x="288" y="65"/>
                      </a:lnTo>
                      <a:lnTo>
                        <a:pt x="293" y="65"/>
                      </a:lnTo>
                      <a:lnTo>
                        <a:pt x="306" y="73"/>
                      </a:lnTo>
                      <a:lnTo>
                        <a:pt x="316" y="77"/>
                      </a:lnTo>
                      <a:lnTo>
                        <a:pt x="331" y="77"/>
                      </a:lnTo>
                      <a:lnTo>
                        <a:pt x="360" y="76"/>
                      </a:lnTo>
                      <a:lnTo>
                        <a:pt x="366" y="78"/>
                      </a:lnTo>
                      <a:lnTo>
                        <a:pt x="374" y="83"/>
                      </a:lnTo>
                      <a:lnTo>
                        <a:pt x="383" y="81"/>
                      </a:lnTo>
                      <a:lnTo>
                        <a:pt x="396" y="82"/>
                      </a:lnTo>
                      <a:lnTo>
                        <a:pt x="401" y="87"/>
                      </a:lnTo>
                      <a:lnTo>
                        <a:pt x="414" y="102"/>
                      </a:lnTo>
                      <a:lnTo>
                        <a:pt x="422" y="99"/>
                      </a:lnTo>
                      <a:lnTo>
                        <a:pt x="429" y="99"/>
                      </a:lnTo>
                      <a:lnTo>
                        <a:pt x="430" y="94"/>
                      </a:lnTo>
                      <a:lnTo>
                        <a:pt x="444" y="87"/>
                      </a:lnTo>
                      <a:lnTo>
                        <a:pt x="449" y="86"/>
                      </a:lnTo>
                      <a:lnTo>
                        <a:pt x="453" y="87"/>
                      </a:lnTo>
                      <a:lnTo>
                        <a:pt x="456" y="83"/>
                      </a:lnTo>
                      <a:lnTo>
                        <a:pt x="462" y="81"/>
                      </a:lnTo>
                      <a:lnTo>
                        <a:pt x="466" y="82"/>
                      </a:lnTo>
                      <a:lnTo>
                        <a:pt x="471" y="87"/>
                      </a:lnTo>
                      <a:lnTo>
                        <a:pt x="484" y="92"/>
                      </a:lnTo>
                      <a:lnTo>
                        <a:pt x="488" y="89"/>
                      </a:lnTo>
                      <a:lnTo>
                        <a:pt x="489" y="87"/>
                      </a:lnTo>
                      <a:lnTo>
                        <a:pt x="489" y="82"/>
                      </a:lnTo>
                      <a:lnTo>
                        <a:pt x="487" y="78"/>
                      </a:lnTo>
                      <a:lnTo>
                        <a:pt x="485" y="71"/>
                      </a:lnTo>
                      <a:lnTo>
                        <a:pt x="495" y="59"/>
                      </a:lnTo>
                      <a:lnTo>
                        <a:pt x="500" y="59"/>
                      </a:lnTo>
                      <a:lnTo>
                        <a:pt x="506" y="61"/>
                      </a:lnTo>
                      <a:lnTo>
                        <a:pt x="514" y="59"/>
                      </a:lnTo>
                      <a:lnTo>
                        <a:pt x="522" y="65"/>
                      </a:lnTo>
                      <a:lnTo>
                        <a:pt x="526" y="65"/>
                      </a:lnTo>
                      <a:lnTo>
                        <a:pt x="528" y="63"/>
                      </a:lnTo>
                      <a:lnTo>
                        <a:pt x="536" y="56"/>
                      </a:lnTo>
                      <a:lnTo>
                        <a:pt x="537" y="51"/>
                      </a:lnTo>
                      <a:lnTo>
                        <a:pt x="532" y="45"/>
                      </a:lnTo>
                      <a:lnTo>
                        <a:pt x="532" y="40"/>
                      </a:lnTo>
                      <a:lnTo>
                        <a:pt x="542" y="27"/>
                      </a:lnTo>
                      <a:lnTo>
                        <a:pt x="553" y="11"/>
                      </a:lnTo>
                      <a:lnTo>
                        <a:pt x="555" y="9"/>
                      </a:lnTo>
                      <a:lnTo>
                        <a:pt x="559" y="3"/>
                      </a:lnTo>
                      <a:lnTo>
                        <a:pt x="560" y="2"/>
                      </a:lnTo>
                      <a:lnTo>
                        <a:pt x="567" y="3"/>
                      </a:lnTo>
                      <a:lnTo>
                        <a:pt x="571" y="0"/>
                      </a:lnTo>
                      <a:lnTo>
                        <a:pt x="581" y="2"/>
                      </a:lnTo>
                      <a:lnTo>
                        <a:pt x="594" y="14"/>
                      </a:lnTo>
                      <a:lnTo>
                        <a:pt x="594" y="20"/>
                      </a:lnTo>
                      <a:lnTo>
                        <a:pt x="590" y="28"/>
                      </a:lnTo>
                      <a:lnTo>
                        <a:pt x="590" y="33"/>
                      </a:lnTo>
                      <a:lnTo>
                        <a:pt x="591" y="35"/>
                      </a:lnTo>
                      <a:lnTo>
                        <a:pt x="596" y="38"/>
                      </a:lnTo>
                      <a:lnTo>
                        <a:pt x="602" y="36"/>
                      </a:lnTo>
                      <a:lnTo>
                        <a:pt x="606" y="38"/>
                      </a:lnTo>
                      <a:lnTo>
                        <a:pt x="606" y="40"/>
                      </a:lnTo>
                      <a:lnTo>
                        <a:pt x="607" y="44"/>
                      </a:lnTo>
                      <a:lnTo>
                        <a:pt x="605" y="46"/>
                      </a:lnTo>
                      <a:lnTo>
                        <a:pt x="603" y="51"/>
                      </a:lnTo>
                      <a:lnTo>
                        <a:pt x="605" y="62"/>
                      </a:lnTo>
                      <a:lnTo>
                        <a:pt x="603" y="67"/>
                      </a:lnTo>
                      <a:lnTo>
                        <a:pt x="601" y="72"/>
                      </a:lnTo>
                      <a:lnTo>
                        <a:pt x="601" y="82"/>
                      </a:lnTo>
                      <a:lnTo>
                        <a:pt x="598" y="92"/>
                      </a:lnTo>
                      <a:lnTo>
                        <a:pt x="601" y="100"/>
                      </a:lnTo>
                      <a:lnTo>
                        <a:pt x="607" y="111"/>
                      </a:lnTo>
                      <a:lnTo>
                        <a:pt x="612" y="122"/>
                      </a:lnTo>
                      <a:lnTo>
                        <a:pt x="613" y="124"/>
                      </a:lnTo>
                      <a:lnTo>
                        <a:pt x="618" y="125"/>
                      </a:lnTo>
                      <a:lnTo>
                        <a:pt x="623" y="122"/>
                      </a:lnTo>
                      <a:lnTo>
                        <a:pt x="635" y="115"/>
                      </a:lnTo>
                      <a:lnTo>
                        <a:pt x="648" y="105"/>
                      </a:lnTo>
                      <a:lnTo>
                        <a:pt x="670" y="99"/>
                      </a:lnTo>
                      <a:lnTo>
                        <a:pt x="671" y="98"/>
                      </a:lnTo>
                      <a:lnTo>
                        <a:pt x="676" y="92"/>
                      </a:lnTo>
                      <a:lnTo>
                        <a:pt x="683" y="87"/>
                      </a:lnTo>
                      <a:lnTo>
                        <a:pt x="684" y="84"/>
                      </a:lnTo>
                      <a:lnTo>
                        <a:pt x="689" y="83"/>
                      </a:lnTo>
                      <a:lnTo>
                        <a:pt x="699" y="77"/>
                      </a:lnTo>
                      <a:lnTo>
                        <a:pt x="704" y="75"/>
                      </a:lnTo>
                      <a:lnTo>
                        <a:pt x="711" y="70"/>
                      </a:lnTo>
                      <a:lnTo>
                        <a:pt x="716" y="70"/>
                      </a:lnTo>
                      <a:lnTo>
                        <a:pt x="720" y="72"/>
                      </a:lnTo>
                      <a:lnTo>
                        <a:pt x="723" y="73"/>
                      </a:lnTo>
                      <a:lnTo>
                        <a:pt x="727" y="73"/>
                      </a:lnTo>
                      <a:lnTo>
                        <a:pt x="729" y="83"/>
                      </a:lnTo>
                      <a:lnTo>
                        <a:pt x="731" y="87"/>
                      </a:lnTo>
                      <a:lnTo>
                        <a:pt x="734" y="86"/>
                      </a:lnTo>
                      <a:lnTo>
                        <a:pt x="741" y="79"/>
                      </a:lnTo>
                      <a:lnTo>
                        <a:pt x="741" y="81"/>
                      </a:lnTo>
                      <a:lnTo>
                        <a:pt x="743" y="81"/>
                      </a:lnTo>
                      <a:lnTo>
                        <a:pt x="756" y="76"/>
                      </a:lnTo>
                      <a:lnTo>
                        <a:pt x="767" y="75"/>
                      </a:lnTo>
                      <a:lnTo>
                        <a:pt x="773" y="75"/>
                      </a:lnTo>
                      <a:lnTo>
                        <a:pt x="778" y="77"/>
                      </a:lnTo>
                      <a:lnTo>
                        <a:pt x="785" y="77"/>
                      </a:lnTo>
                      <a:lnTo>
                        <a:pt x="788" y="81"/>
                      </a:lnTo>
                      <a:lnTo>
                        <a:pt x="788" y="83"/>
                      </a:lnTo>
                      <a:lnTo>
                        <a:pt x="783" y="84"/>
                      </a:lnTo>
                      <a:lnTo>
                        <a:pt x="785" y="84"/>
                      </a:lnTo>
                      <a:lnTo>
                        <a:pt x="783" y="84"/>
                      </a:lnTo>
                      <a:lnTo>
                        <a:pt x="778" y="83"/>
                      </a:lnTo>
                      <a:lnTo>
                        <a:pt x="774" y="83"/>
                      </a:lnTo>
                      <a:lnTo>
                        <a:pt x="766" y="92"/>
                      </a:lnTo>
                      <a:lnTo>
                        <a:pt x="768" y="94"/>
                      </a:lnTo>
                      <a:lnTo>
                        <a:pt x="774" y="97"/>
                      </a:lnTo>
                      <a:lnTo>
                        <a:pt x="775" y="102"/>
                      </a:lnTo>
                      <a:lnTo>
                        <a:pt x="775" y="106"/>
                      </a:lnTo>
                      <a:lnTo>
                        <a:pt x="764" y="104"/>
                      </a:lnTo>
                      <a:lnTo>
                        <a:pt x="759" y="108"/>
                      </a:lnTo>
                      <a:lnTo>
                        <a:pt x="757" y="108"/>
                      </a:lnTo>
                      <a:lnTo>
                        <a:pt x="751" y="113"/>
                      </a:lnTo>
                      <a:lnTo>
                        <a:pt x="746" y="113"/>
                      </a:lnTo>
                      <a:lnTo>
                        <a:pt x="732" y="108"/>
                      </a:lnTo>
                      <a:lnTo>
                        <a:pt x="725" y="109"/>
                      </a:lnTo>
                      <a:lnTo>
                        <a:pt x="721" y="108"/>
                      </a:lnTo>
                      <a:lnTo>
                        <a:pt x="686" y="110"/>
                      </a:lnTo>
                      <a:lnTo>
                        <a:pt x="682" y="110"/>
                      </a:lnTo>
                      <a:lnTo>
                        <a:pt x="672" y="114"/>
                      </a:lnTo>
                      <a:lnTo>
                        <a:pt x="665" y="114"/>
                      </a:lnTo>
                      <a:lnTo>
                        <a:pt x="656" y="120"/>
                      </a:lnTo>
                      <a:lnTo>
                        <a:pt x="648" y="121"/>
                      </a:lnTo>
                      <a:lnTo>
                        <a:pt x="643" y="124"/>
                      </a:lnTo>
                      <a:lnTo>
                        <a:pt x="639" y="125"/>
                      </a:lnTo>
                      <a:lnTo>
                        <a:pt x="638" y="129"/>
                      </a:lnTo>
                      <a:lnTo>
                        <a:pt x="635" y="131"/>
                      </a:lnTo>
                      <a:lnTo>
                        <a:pt x="625" y="134"/>
                      </a:lnTo>
                      <a:lnTo>
                        <a:pt x="624" y="136"/>
                      </a:lnTo>
                      <a:lnTo>
                        <a:pt x="625" y="140"/>
                      </a:lnTo>
                      <a:lnTo>
                        <a:pt x="622" y="141"/>
                      </a:lnTo>
                      <a:lnTo>
                        <a:pt x="617" y="138"/>
                      </a:lnTo>
                      <a:lnTo>
                        <a:pt x="612" y="138"/>
                      </a:lnTo>
                      <a:lnTo>
                        <a:pt x="611" y="140"/>
                      </a:lnTo>
                      <a:lnTo>
                        <a:pt x="610" y="145"/>
                      </a:lnTo>
                      <a:lnTo>
                        <a:pt x="594" y="158"/>
                      </a:lnTo>
                      <a:lnTo>
                        <a:pt x="590" y="162"/>
                      </a:lnTo>
                      <a:lnTo>
                        <a:pt x="589" y="168"/>
                      </a:lnTo>
                      <a:lnTo>
                        <a:pt x="590" y="170"/>
                      </a:lnTo>
                      <a:lnTo>
                        <a:pt x="598" y="175"/>
                      </a:lnTo>
                      <a:lnTo>
                        <a:pt x="605" y="183"/>
                      </a:lnTo>
                      <a:lnTo>
                        <a:pt x="608" y="196"/>
                      </a:lnTo>
                      <a:lnTo>
                        <a:pt x="612" y="206"/>
                      </a:lnTo>
                      <a:lnTo>
                        <a:pt x="612" y="207"/>
                      </a:lnTo>
                      <a:lnTo>
                        <a:pt x="608" y="216"/>
                      </a:lnTo>
                      <a:lnTo>
                        <a:pt x="608" y="218"/>
                      </a:lnTo>
                      <a:lnTo>
                        <a:pt x="611" y="222"/>
                      </a:lnTo>
                      <a:lnTo>
                        <a:pt x="610" y="228"/>
                      </a:lnTo>
                      <a:lnTo>
                        <a:pt x="606" y="235"/>
                      </a:lnTo>
                      <a:lnTo>
                        <a:pt x="601" y="243"/>
                      </a:lnTo>
                      <a:lnTo>
                        <a:pt x="592" y="249"/>
                      </a:lnTo>
                      <a:lnTo>
                        <a:pt x="585" y="258"/>
                      </a:lnTo>
                      <a:lnTo>
                        <a:pt x="581" y="265"/>
                      </a:lnTo>
                      <a:lnTo>
                        <a:pt x="578" y="269"/>
                      </a:lnTo>
                      <a:lnTo>
                        <a:pt x="578" y="275"/>
                      </a:lnTo>
                      <a:lnTo>
                        <a:pt x="582" y="277"/>
                      </a:lnTo>
                      <a:lnTo>
                        <a:pt x="586" y="280"/>
                      </a:lnTo>
                      <a:lnTo>
                        <a:pt x="582" y="283"/>
                      </a:lnTo>
                      <a:lnTo>
                        <a:pt x="582" y="291"/>
                      </a:lnTo>
                      <a:lnTo>
                        <a:pt x="575" y="301"/>
                      </a:lnTo>
                      <a:lnTo>
                        <a:pt x="569" y="304"/>
                      </a:lnTo>
                      <a:lnTo>
                        <a:pt x="558" y="307"/>
                      </a:lnTo>
                      <a:lnTo>
                        <a:pt x="547" y="305"/>
                      </a:lnTo>
                      <a:lnTo>
                        <a:pt x="528" y="301"/>
                      </a:lnTo>
                      <a:lnTo>
                        <a:pt x="524" y="299"/>
                      </a:lnTo>
                      <a:lnTo>
                        <a:pt x="520" y="302"/>
                      </a:lnTo>
                      <a:lnTo>
                        <a:pt x="517" y="307"/>
                      </a:lnTo>
                      <a:lnTo>
                        <a:pt x="520" y="310"/>
                      </a:lnTo>
                      <a:lnTo>
                        <a:pt x="525" y="320"/>
                      </a:lnTo>
                      <a:lnTo>
                        <a:pt x="530" y="320"/>
                      </a:lnTo>
                      <a:lnTo>
                        <a:pt x="535" y="336"/>
                      </a:lnTo>
                      <a:lnTo>
                        <a:pt x="539" y="341"/>
                      </a:lnTo>
                      <a:lnTo>
                        <a:pt x="539" y="345"/>
                      </a:lnTo>
                      <a:lnTo>
                        <a:pt x="533" y="351"/>
                      </a:lnTo>
                      <a:lnTo>
                        <a:pt x="527" y="353"/>
                      </a:lnTo>
                      <a:lnTo>
                        <a:pt x="517" y="361"/>
                      </a:lnTo>
                      <a:lnTo>
                        <a:pt x="509" y="360"/>
                      </a:lnTo>
                      <a:lnTo>
                        <a:pt x="498" y="363"/>
                      </a:lnTo>
                      <a:lnTo>
                        <a:pt x="496" y="377"/>
                      </a:lnTo>
                      <a:lnTo>
                        <a:pt x="490" y="379"/>
                      </a:lnTo>
                      <a:lnTo>
                        <a:pt x="489" y="384"/>
                      </a:lnTo>
                      <a:lnTo>
                        <a:pt x="490" y="390"/>
                      </a:lnTo>
                      <a:lnTo>
                        <a:pt x="489" y="394"/>
                      </a:lnTo>
                      <a:lnTo>
                        <a:pt x="487" y="394"/>
                      </a:lnTo>
                      <a:lnTo>
                        <a:pt x="483" y="399"/>
                      </a:lnTo>
                      <a:lnTo>
                        <a:pt x="481" y="404"/>
                      </a:lnTo>
                      <a:lnTo>
                        <a:pt x="479" y="407"/>
                      </a:lnTo>
                      <a:lnTo>
                        <a:pt x="481" y="425"/>
                      </a:lnTo>
                      <a:lnTo>
                        <a:pt x="483" y="437"/>
                      </a:lnTo>
                      <a:lnTo>
                        <a:pt x="483" y="439"/>
                      </a:lnTo>
                      <a:lnTo>
                        <a:pt x="463" y="460"/>
                      </a:lnTo>
                      <a:lnTo>
                        <a:pt x="460" y="460"/>
                      </a:lnTo>
                      <a:lnTo>
                        <a:pt x="455" y="458"/>
                      </a:lnTo>
                      <a:lnTo>
                        <a:pt x="452" y="454"/>
                      </a:lnTo>
                      <a:lnTo>
                        <a:pt x="451" y="450"/>
                      </a:lnTo>
                      <a:lnTo>
                        <a:pt x="444" y="445"/>
                      </a:lnTo>
                      <a:lnTo>
                        <a:pt x="440" y="445"/>
                      </a:lnTo>
                      <a:lnTo>
                        <a:pt x="438" y="449"/>
                      </a:lnTo>
                      <a:lnTo>
                        <a:pt x="441" y="450"/>
                      </a:lnTo>
                      <a:lnTo>
                        <a:pt x="441" y="453"/>
                      </a:lnTo>
                      <a:lnTo>
                        <a:pt x="425" y="448"/>
                      </a:lnTo>
                      <a:lnTo>
                        <a:pt x="419" y="448"/>
                      </a:lnTo>
                      <a:lnTo>
                        <a:pt x="414" y="450"/>
                      </a:lnTo>
                      <a:lnTo>
                        <a:pt x="412" y="455"/>
                      </a:lnTo>
                      <a:lnTo>
                        <a:pt x="395" y="464"/>
                      </a:lnTo>
                      <a:lnTo>
                        <a:pt x="391" y="468"/>
                      </a:lnTo>
                      <a:lnTo>
                        <a:pt x="392" y="470"/>
                      </a:lnTo>
                      <a:lnTo>
                        <a:pt x="399" y="473"/>
                      </a:lnTo>
                      <a:lnTo>
                        <a:pt x="399" y="475"/>
                      </a:lnTo>
                      <a:lnTo>
                        <a:pt x="397" y="477"/>
                      </a:lnTo>
                      <a:lnTo>
                        <a:pt x="390" y="479"/>
                      </a:lnTo>
                      <a:lnTo>
                        <a:pt x="377" y="481"/>
                      </a:lnTo>
                      <a:lnTo>
                        <a:pt x="368" y="484"/>
                      </a:lnTo>
                      <a:lnTo>
                        <a:pt x="356" y="482"/>
                      </a:lnTo>
                      <a:lnTo>
                        <a:pt x="356" y="479"/>
                      </a:lnTo>
                      <a:lnTo>
                        <a:pt x="352" y="476"/>
                      </a:lnTo>
                      <a:lnTo>
                        <a:pt x="345" y="480"/>
                      </a:lnTo>
                      <a:lnTo>
                        <a:pt x="339" y="491"/>
                      </a:lnTo>
                      <a:lnTo>
                        <a:pt x="327" y="500"/>
                      </a:lnTo>
                      <a:lnTo>
                        <a:pt x="325" y="506"/>
                      </a:lnTo>
                      <a:lnTo>
                        <a:pt x="321" y="520"/>
                      </a:lnTo>
                      <a:lnTo>
                        <a:pt x="322" y="533"/>
                      </a:lnTo>
                      <a:lnTo>
                        <a:pt x="318" y="552"/>
                      </a:lnTo>
                      <a:lnTo>
                        <a:pt x="318" y="556"/>
                      </a:lnTo>
                      <a:lnTo>
                        <a:pt x="322" y="560"/>
                      </a:lnTo>
                      <a:lnTo>
                        <a:pt x="321" y="566"/>
                      </a:lnTo>
                      <a:lnTo>
                        <a:pt x="313" y="572"/>
                      </a:lnTo>
                      <a:lnTo>
                        <a:pt x="288" y="577"/>
                      </a:lnTo>
                      <a:lnTo>
                        <a:pt x="268" y="584"/>
                      </a:lnTo>
                      <a:lnTo>
                        <a:pt x="252" y="588"/>
                      </a:lnTo>
                      <a:lnTo>
                        <a:pt x="226" y="587"/>
                      </a:lnTo>
                      <a:lnTo>
                        <a:pt x="213" y="587"/>
                      </a:lnTo>
                      <a:lnTo>
                        <a:pt x="207" y="589"/>
                      </a:lnTo>
                      <a:lnTo>
                        <a:pt x="203" y="592"/>
                      </a:lnTo>
                      <a:lnTo>
                        <a:pt x="200" y="597"/>
                      </a:lnTo>
                      <a:lnTo>
                        <a:pt x="197" y="599"/>
                      </a:lnTo>
                      <a:lnTo>
                        <a:pt x="181" y="592"/>
                      </a:lnTo>
                      <a:lnTo>
                        <a:pt x="164" y="592"/>
                      </a:lnTo>
                      <a:lnTo>
                        <a:pt x="149" y="594"/>
                      </a:lnTo>
                      <a:lnTo>
                        <a:pt x="138" y="593"/>
                      </a:lnTo>
                      <a:lnTo>
                        <a:pt x="129" y="594"/>
                      </a:lnTo>
                      <a:lnTo>
                        <a:pt x="119" y="594"/>
                      </a:lnTo>
                      <a:lnTo>
                        <a:pt x="116" y="595"/>
                      </a:lnTo>
                      <a:lnTo>
                        <a:pt x="112" y="598"/>
                      </a:lnTo>
                      <a:lnTo>
                        <a:pt x="108" y="599"/>
                      </a:lnTo>
                      <a:lnTo>
                        <a:pt x="101" y="598"/>
                      </a:lnTo>
                      <a:lnTo>
                        <a:pt x="83" y="588"/>
                      </a:lnTo>
                      <a:lnTo>
                        <a:pt x="24" y="572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36" name="Freeform 139"/>
                <p:cNvSpPr>
                  <a:spLocks/>
                </p:cNvSpPr>
                <p:nvPr/>
              </p:nvSpPr>
              <p:spPr bwMode="gray">
                <a:xfrm>
                  <a:off x="6330608" y="2569772"/>
                  <a:ext cx="139382" cy="292176"/>
                </a:xfrm>
                <a:custGeom>
                  <a:avLst/>
                  <a:gdLst>
                    <a:gd name="T0" fmla="*/ 20936 w 395"/>
                    <a:gd name="T1" fmla="*/ 61942 h 832"/>
                    <a:gd name="T2" fmla="*/ 22272 w 395"/>
                    <a:gd name="T3" fmla="*/ 61121 h 832"/>
                    <a:gd name="T4" fmla="*/ 24054 w 395"/>
                    <a:gd name="T5" fmla="*/ 59480 h 832"/>
                    <a:gd name="T6" fmla="*/ 28508 w 395"/>
                    <a:gd name="T7" fmla="*/ 58250 h 832"/>
                    <a:gd name="T8" fmla="*/ 33408 w 395"/>
                    <a:gd name="T9" fmla="*/ 55378 h 832"/>
                    <a:gd name="T10" fmla="*/ 34299 w 395"/>
                    <a:gd name="T11" fmla="*/ 53327 h 832"/>
                    <a:gd name="T12" fmla="*/ 34744 w 395"/>
                    <a:gd name="T13" fmla="*/ 52507 h 832"/>
                    <a:gd name="T14" fmla="*/ 34744 w 395"/>
                    <a:gd name="T15" fmla="*/ 49635 h 832"/>
                    <a:gd name="T16" fmla="*/ 35190 w 395"/>
                    <a:gd name="T17" fmla="*/ 48815 h 832"/>
                    <a:gd name="T18" fmla="*/ 34744 w 395"/>
                    <a:gd name="T19" fmla="*/ 45533 h 832"/>
                    <a:gd name="T20" fmla="*/ 33853 w 395"/>
                    <a:gd name="T21" fmla="*/ 41431 h 832"/>
                    <a:gd name="T22" fmla="*/ 29844 w 395"/>
                    <a:gd name="T23" fmla="*/ 33637 h 832"/>
                    <a:gd name="T24" fmla="*/ 28953 w 395"/>
                    <a:gd name="T25" fmla="*/ 32817 h 832"/>
                    <a:gd name="T26" fmla="*/ 24945 w 395"/>
                    <a:gd name="T27" fmla="*/ 30355 h 832"/>
                    <a:gd name="T28" fmla="*/ 22717 w 395"/>
                    <a:gd name="T29" fmla="*/ 28304 h 832"/>
                    <a:gd name="T30" fmla="*/ 20490 w 395"/>
                    <a:gd name="T31" fmla="*/ 24202 h 832"/>
                    <a:gd name="T32" fmla="*/ 17372 w 395"/>
                    <a:gd name="T33" fmla="*/ 20100 h 832"/>
                    <a:gd name="T34" fmla="*/ 21381 w 395"/>
                    <a:gd name="T35" fmla="*/ 13947 h 832"/>
                    <a:gd name="T36" fmla="*/ 23163 w 395"/>
                    <a:gd name="T37" fmla="*/ 11486 h 832"/>
                    <a:gd name="T38" fmla="*/ 27172 w 395"/>
                    <a:gd name="T39" fmla="*/ 8614 h 832"/>
                    <a:gd name="T40" fmla="*/ 27617 w 395"/>
                    <a:gd name="T41" fmla="*/ 7794 h 832"/>
                    <a:gd name="T42" fmla="*/ 22717 w 395"/>
                    <a:gd name="T43" fmla="*/ 6153 h 832"/>
                    <a:gd name="T44" fmla="*/ 21826 w 395"/>
                    <a:gd name="T45" fmla="*/ 2051 h 832"/>
                    <a:gd name="T46" fmla="*/ 16481 w 395"/>
                    <a:gd name="T47" fmla="*/ 410 h 832"/>
                    <a:gd name="T48" fmla="*/ 12472 w 395"/>
                    <a:gd name="T49" fmla="*/ 1641 h 832"/>
                    <a:gd name="T50" fmla="*/ 9354 w 395"/>
                    <a:gd name="T51" fmla="*/ 2871 h 832"/>
                    <a:gd name="T52" fmla="*/ 6236 w 395"/>
                    <a:gd name="T53" fmla="*/ 2461 h 832"/>
                    <a:gd name="T54" fmla="*/ 3118 w 395"/>
                    <a:gd name="T55" fmla="*/ 2871 h 832"/>
                    <a:gd name="T56" fmla="*/ 1336 w 395"/>
                    <a:gd name="T57" fmla="*/ 2871 h 832"/>
                    <a:gd name="T58" fmla="*/ 891 w 395"/>
                    <a:gd name="T59" fmla="*/ 4923 h 832"/>
                    <a:gd name="T60" fmla="*/ 3564 w 395"/>
                    <a:gd name="T61" fmla="*/ 9025 h 832"/>
                    <a:gd name="T62" fmla="*/ 8463 w 395"/>
                    <a:gd name="T63" fmla="*/ 11076 h 832"/>
                    <a:gd name="T64" fmla="*/ 11581 w 395"/>
                    <a:gd name="T65" fmla="*/ 13127 h 832"/>
                    <a:gd name="T66" fmla="*/ 12918 w 395"/>
                    <a:gd name="T67" fmla="*/ 15588 h 832"/>
                    <a:gd name="T68" fmla="*/ 9354 w 395"/>
                    <a:gd name="T69" fmla="*/ 17229 h 832"/>
                    <a:gd name="T70" fmla="*/ 9354 w 395"/>
                    <a:gd name="T71" fmla="*/ 18870 h 832"/>
                    <a:gd name="T72" fmla="*/ 14699 w 395"/>
                    <a:gd name="T73" fmla="*/ 22972 h 832"/>
                    <a:gd name="T74" fmla="*/ 19154 w 395"/>
                    <a:gd name="T75" fmla="*/ 27074 h 832"/>
                    <a:gd name="T76" fmla="*/ 21381 w 395"/>
                    <a:gd name="T77" fmla="*/ 30355 h 832"/>
                    <a:gd name="T78" fmla="*/ 23608 w 395"/>
                    <a:gd name="T79" fmla="*/ 32407 h 832"/>
                    <a:gd name="T80" fmla="*/ 25835 w 395"/>
                    <a:gd name="T81" fmla="*/ 37329 h 832"/>
                    <a:gd name="T82" fmla="*/ 26726 w 395"/>
                    <a:gd name="T83" fmla="*/ 45533 h 832"/>
                    <a:gd name="T84" fmla="*/ 24945 w 395"/>
                    <a:gd name="T85" fmla="*/ 51276 h 832"/>
                    <a:gd name="T86" fmla="*/ 21381 w 395"/>
                    <a:gd name="T87" fmla="*/ 52917 h 832"/>
                    <a:gd name="T88" fmla="*/ 18263 w 395"/>
                    <a:gd name="T89" fmla="*/ 54968 h 832"/>
                    <a:gd name="T90" fmla="*/ 17372 w 395"/>
                    <a:gd name="T91" fmla="*/ 57019 h 832"/>
                    <a:gd name="T92" fmla="*/ 14254 w 395"/>
                    <a:gd name="T93" fmla="*/ 57839 h 832"/>
                    <a:gd name="T94" fmla="*/ 12027 w 395"/>
                    <a:gd name="T95" fmla="*/ 59480 h 832"/>
                    <a:gd name="T96" fmla="*/ 14254 w 395"/>
                    <a:gd name="T97" fmla="*/ 61531 h 832"/>
                    <a:gd name="T98" fmla="*/ 13363 w 395"/>
                    <a:gd name="T99" fmla="*/ 65223 h 832"/>
                    <a:gd name="T100" fmla="*/ 13809 w 395"/>
                    <a:gd name="T101" fmla="*/ 68095 h 832"/>
                    <a:gd name="T102" fmla="*/ 17372 w 395"/>
                    <a:gd name="T103" fmla="*/ 65223 h 832"/>
                    <a:gd name="T104" fmla="*/ 20490 w 395"/>
                    <a:gd name="T105" fmla="*/ 63172 h 832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395"/>
                    <a:gd name="T160" fmla="*/ 0 h 832"/>
                    <a:gd name="T161" fmla="*/ 395 w 395"/>
                    <a:gd name="T162" fmla="*/ 832 h 832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395" h="832">
                      <a:moveTo>
                        <a:pt x="228" y="773"/>
                      </a:moveTo>
                      <a:lnTo>
                        <a:pt x="238" y="776"/>
                      </a:lnTo>
                      <a:lnTo>
                        <a:pt x="242" y="768"/>
                      </a:lnTo>
                      <a:lnTo>
                        <a:pt x="237" y="758"/>
                      </a:lnTo>
                      <a:lnTo>
                        <a:pt x="239" y="753"/>
                      </a:lnTo>
                      <a:lnTo>
                        <a:pt x="245" y="754"/>
                      </a:lnTo>
                      <a:lnTo>
                        <a:pt x="247" y="748"/>
                      </a:lnTo>
                      <a:lnTo>
                        <a:pt x="250" y="749"/>
                      </a:lnTo>
                      <a:lnTo>
                        <a:pt x="249" y="741"/>
                      </a:lnTo>
                      <a:lnTo>
                        <a:pt x="253" y="737"/>
                      </a:lnTo>
                      <a:lnTo>
                        <a:pt x="255" y="731"/>
                      </a:lnTo>
                      <a:lnTo>
                        <a:pt x="270" y="727"/>
                      </a:lnTo>
                      <a:lnTo>
                        <a:pt x="276" y="731"/>
                      </a:lnTo>
                      <a:lnTo>
                        <a:pt x="283" y="731"/>
                      </a:lnTo>
                      <a:lnTo>
                        <a:pt x="308" y="716"/>
                      </a:lnTo>
                      <a:lnTo>
                        <a:pt x="321" y="713"/>
                      </a:lnTo>
                      <a:lnTo>
                        <a:pt x="330" y="701"/>
                      </a:lnTo>
                      <a:lnTo>
                        <a:pt x="361" y="687"/>
                      </a:lnTo>
                      <a:lnTo>
                        <a:pt x="367" y="681"/>
                      </a:lnTo>
                      <a:lnTo>
                        <a:pt x="376" y="679"/>
                      </a:lnTo>
                      <a:lnTo>
                        <a:pt x="378" y="673"/>
                      </a:lnTo>
                      <a:lnTo>
                        <a:pt x="379" y="665"/>
                      </a:lnTo>
                      <a:lnTo>
                        <a:pt x="385" y="660"/>
                      </a:lnTo>
                      <a:lnTo>
                        <a:pt x="387" y="654"/>
                      </a:lnTo>
                      <a:lnTo>
                        <a:pt x="383" y="650"/>
                      </a:lnTo>
                      <a:lnTo>
                        <a:pt x="385" y="646"/>
                      </a:lnTo>
                      <a:lnTo>
                        <a:pt x="388" y="647"/>
                      </a:lnTo>
                      <a:lnTo>
                        <a:pt x="388" y="643"/>
                      </a:lnTo>
                      <a:lnTo>
                        <a:pt x="383" y="619"/>
                      </a:lnTo>
                      <a:lnTo>
                        <a:pt x="384" y="615"/>
                      </a:lnTo>
                      <a:lnTo>
                        <a:pt x="388" y="618"/>
                      </a:lnTo>
                      <a:lnTo>
                        <a:pt x="388" y="607"/>
                      </a:lnTo>
                      <a:lnTo>
                        <a:pt x="392" y="602"/>
                      </a:lnTo>
                      <a:lnTo>
                        <a:pt x="395" y="603"/>
                      </a:lnTo>
                      <a:lnTo>
                        <a:pt x="395" y="607"/>
                      </a:lnTo>
                      <a:lnTo>
                        <a:pt x="395" y="596"/>
                      </a:lnTo>
                      <a:lnTo>
                        <a:pt x="394" y="587"/>
                      </a:lnTo>
                      <a:lnTo>
                        <a:pt x="390" y="585"/>
                      </a:lnTo>
                      <a:lnTo>
                        <a:pt x="389" y="569"/>
                      </a:lnTo>
                      <a:lnTo>
                        <a:pt x="389" y="557"/>
                      </a:lnTo>
                      <a:lnTo>
                        <a:pt x="388" y="549"/>
                      </a:lnTo>
                      <a:lnTo>
                        <a:pt x="388" y="539"/>
                      </a:lnTo>
                      <a:lnTo>
                        <a:pt x="385" y="536"/>
                      </a:lnTo>
                      <a:lnTo>
                        <a:pt x="382" y="507"/>
                      </a:lnTo>
                      <a:lnTo>
                        <a:pt x="366" y="456"/>
                      </a:lnTo>
                      <a:lnTo>
                        <a:pt x="344" y="434"/>
                      </a:lnTo>
                      <a:lnTo>
                        <a:pt x="337" y="424"/>
                      </a:lnTo>
                      <a:lnTo>
                        <a:pt x="336" y="409"/>
                      </a:lnTo>
                      <a:lnTo>
                        <a:pt x="335" y="413"/>
                      </a:lnTo>
                      <a:lnTo>
                        <a:pt x="329" y="414"/>
                      </a:lnTo>
                      <a:lnTo>
                        <a:pt x="329" y="409"/>
                      </a:lnTo>
                      <a:lnTo>
                        <a:pt x="323" y="401"/>
                      </a:lnTo>
                      <a:lnTo>
                        <a:pt x="306" y="398"/>
                      </a:lnTo>
                      <a:lnTo>
                        <a:pt x="298" y="387"/>
                      </a:lnTo>
                      <a:lnTo>
                        <a:pt x="290" y="378"/>
                      </a:lnTo>
                      <a:lnTo>
                        <a:pt x="281" y="372"/>
                      </a:lnTo>
                      <a:lnTo>
                        <a:pt x="274" y="362"/>
                      </a:lnTo>
                      <a:lnTo>
                        <a:pt x="270" y="359"/>
                      </a:lnTo>
                      <a:lnTo>
                        <a:pt x="265" y="351"/>
                      </a:lnTo>
                      <a:lnTo>
                        <a:pt x="255" y="344"/>
                      </a:lnTo>
                      <a:lnTo>
                        <a:pt x="248" y="334"/>
                      </a:lnTo>
                      <a:lnTo>
                        <a:pt x="236" y="324"/>
                      </a:lnTo>
                      <a:lnTo>
                        <a:pt x="234" y="312"/>
                      </a:lnTo>
                      <a:lnTo>
                        <a:pt x="228" y="297"/>
                      </a:lnTo>
                      <a:lnTo>
                        <a:pt x="217" y="290"/>
                      </a:lnTo>
                      <a:lnTo>
                        <a:pt x="197" y="270"/>
                      </a:lnTo>
                      <a:lnTo>
                        <a:pt x="191" y="258"/>
                      </a:lnTo>
                      <a:lnTo>
                        <a:pt x="194" y="245"/>
                      </a:lnTo>
                      <a:lnTo>
                        <a:pt x="197" y="235"/>
                      </a:lnTo>
                      <a:lnTo>
                        <a:pt x="199" y="222"/>
                      </a:lnTo>
                      <a:lnTo>
                        <a:pt x="211" y="195"/>
                      </a:lnTo>
                      <a:lnTo>
                        <a:pt x="239" y="171"/>
                      </a:lnTo>
                      <a:lnTo>
                        <a:pt x="243" y="166"/>
                      </a:lnTo>
                      <a:lnTo>
                        <a:pt x="247" y="152"/>
                      </a:lnTo>
                      <a:lnTo>
                        <a:pt x="253" y="145"/>
                      </a:lnTo>
                      <a:lnTo>
                        <a:pt x="258" y="140"/>
                      </a:lnTo>
                      <a:lnTo>
                        <a:pt x="276" y="132"/>
                      </a:lnTo>
                      <a:lnTo>
                        <a:pt x="286" y="124"/>
                      </a:lnTo>
                      <a:lnTo>
                        <a:pt x="287" y="116"/>
                      </a:lnTo>
                      <a:lnTo>
                        <a:pt x="307" y="105"/>
                      </a:lnTo>
                      <a:lnTo>
                        <a:pt x="315" y="108"/>
                      </a:lnTo>
                      <a:lnTo>
                        <a:pt x="318" y="106"/>
                      </a:lnTo>
                      <a:lnTo>
                        <a:pt x="319" y="102"/>
                      </a:lnTo>
                      <a:lnTo>
                        <a:pt x="312" y="97"/>
                      </a:lnTo>
                      <a:lnTo>
                        <a:pt x="293" y="98"/>
                      </a:lnTo>
                      <a:lnTo>
                        <a:pt x="283" y="96"/>
                      </a:lnTo>
                      <a:lnTo>
                        <a:pt x="278" y="91"/>
                      </a:lnTo>
                      <a:lnTo>
                        <a:pt x="255" y="77"/>
                      </a:lnTo>
                      <a:lnTo>
                        <a:pt x="248" y="65"/>
                      </a:lnTo>
                      <a:lnTo>
                        <a:pt x="243" y="50"/>
                      </a:lnTo>
                      <a:lnTo>
                        <a:pt x="248" y="35"/>
                      </a:lnTo>
                      <a:lnTo>
                        <a:pt x="244" y="26"/>
                      </a:lnTo>
                      <a:lnTo>
                        <a:pt x="224" y="25"/>
                      </a:lnTo>
                      <a:lnTo>
                        <a:pt x="211" y="21"/>
                      </a:lnTo>
                      <a:lnTo>
                        <a:pt x="196" y="15"/>
                      </a:lnTo>
                      <a:lnTo>
                        <a:pt x="184" y="5"/>
                      </a:lnTo>
                      <a:lnTo>
                        <a:pt x="169" y="0"/>
                      </a:lnTo>
                      <a:lnTo>
                        <a:pt x="162" y="1"/>
                      </a:lnTo>
                      <a:lnTo>
                        <a:pt x="152" y="12"/>
                      </a:lnTo>
                      <a:lnTo>
                        <a:pt x="142" y="19"/>
                      </a:lnTo>
                      <a:lnTo>
                        <a:pt x="127" y="27"/>
                      </a:lnTo>
                      <a:lnTo>
                        <a:pt x="121" y="28"/>
                      </a:lnTo>
                      <a:lnTo>
                        <a:pt x="113" y="26"/>
                      </a:lnTo>
                      <a:lnTo>
                        <a:pt x="104" y="33"/>
                      </a:lnTo>
                      <a:lnTo>
                        <a:pt x="94" y="38"/>
                      </a:lnTo>
                      <a:lnTo>
                        <a:pt x="91" y="32"/>
                      </a:lnTo>
                      <a:lnTo>
                        <a:pt x="77" y="36"/>
                      </a:lnTo>
                      <a:lnTo>
                        <a:pt x="71" y="31"/>
                      </a:lnTo>
                      <a:lnTo>
                        <a:pt x="65" y="32"/>
                      </a:lnTo>
                      <a:lnTo>
                        <a:pt x="50" y="42"/>
                      </a:lnTo>
                      <a:lnTo>
                        <a:pt x="44" y="41"/>
                      </a:lnTo>
                      <a:lnTo>
                        <a:pt x="36" y="33"/>
                      </a:lnTo>
                      <a:lnTo>
                        <a:pt x="23" y="31"/>
                      </a:lnTo>
                      <a:lnTo>
                        <a:pt x="21" y="28"/>
                      </a:lnTo>
                      <a:lnTo>
                        <a:pt x="17" y="31"/>
                      </a:lnTo>
                      <a:lnTo>
                        <a:pt x="13" y="37"/>
                      </a:lnTo>
                      <a:lnTo>
                        <a:pt x="7" y="44"/>
                      </a:lnTo>
                      <a:lnTo>
                        <a:pt x="7" y="48"/>
                      </a:lnTo>
                      <a:lnTo>
                        <a:pt x="0" y="44"/>
                      </a:lnTo>
                      <a:lnTo>
                        <a:pt x="12" y="60"/>
                      </a:lnTo>
                      <a:lnTo>
                        <a:pt x="29" y="80"/>
                      </a:lnTo>
                      <a:lnTo>
                        <a:pt x="39" y="90"/>
                      </a:lnTo>
                      <a:lnTo>
                        <a:pt x="44" y="100"/>
                      </a:lnTo>
                      <a:lnTo>
                        <a:pt x="41" y="112"/>
                      </a:lnTo>
                      <a:lnTo>
                        <a:pt x="43" y="120"/>
                      </a:lnTo>
                      <a:lnTo>
                        <a:pt x="57" y="135"/>
                      </a:lnTo>
                      <a:lnTo>
                        <a:pt x="77" y="139"/>
                      </a:lnTo>
                      <a:lnTo>
                        <a:pt x="97" y="134"/>
                      </a:lnTo>
                      <a:lnTo>
                        <a:pt x="113" y="135"/>
                      </a:lnTo>
                      <a:lnTo>
                        <a:pt x="122" y="146"/>
                      </a:lnTo>
                      <a:lnTo>
                        <a:pt x="127" y="155"/>
                      </a:lnTo>
                      <a:lnTo>
                        <a:pt x="129" y="162"/>
                      </a:lnTo>
                      <a:lnTo>
                        <a:pt x="137" y="168"/>
                      </a:lnTo>
                      <a:lnTo>
                        <a:pt x="141" y="177"/>
                      </a:lnTo>
                      <a:lnTo>
                        <a:pt x="147" y="183"/>
                      </a:lnTo>
                      <a:lnTo>
                        <a:pt x="146" y="192"/>
                      </a:lnTo>
                      <a:lnTo>
                        <a:pt x="130" y="208"/>
                      </a:lnTo>
                      <a:lnTo>
                        <a:pt x="125" y="208"/>
                      </a:lnTo>
                      <a:lnTo>
                        <a:pt x="114" y="205"/>
                      </a:lnTo>
                      <a:lnTo>
                        <a:pt x="107" y="208"/>
                      </a:lnTo>
                      <a:lnTo>
                        <a:pt x="103" y="213"/>
                      </a:lnTo>
                      <a:lnTo>
                        <a:pt x="99" y="222"/>
                      </a:lnTo>
                      <a:lnTo>
                        <a:pt x="100" y="229"/>
                      </a:lnTo>
                      <a:lnTo>
                        <a:pt x="107" y="231"/>
                      </a:lnTo>
                      <a:lnTo>
                        <a:pt x="115" y="237"/>
                      </a:lnTo>
                      <a:lnTo>
                        <a:pt x="134" y="247"/>
                      </a:lnTo>
                      <a:lnTo>
                        <a:pt x="161" y="267"/>
                      </a:lnTo>
                      <a:lnTo>
                        <a:pt x="165" y="280"/>
                      </a:lnTo>
                      <a:lnTo>
                        <a:pt x="188" y="301"/>
                      </a:lnTo>
                      <a:lnTo>
                        <a:pt x="191" y="311"/>
                      </a:lnTo>
                      <a:lnTo>
                        <a:pt x="208" y="331"/>
                      </a:lnTo>
                      <a:lnTo>
                        <a:pt x="213" y="332"/>
                      </a:lnTo>
                      <a:lnTo>
                        <a:pt x="231" y="344"/>
                      </a:lnTo>
                      <a:lnTo>
                        <a:pt x="236" y="358"/>
                      </a:lnTo>
                      <a:lnTo>
                        <a:pt x="239" y="370"/>
                      </a:lnTo>
                      <a:lnTo>
                        <a:pt x="238" y="371"/>
                      </a:lnTo>
                      <a:lnTo>
                        <a:pt x="239" y="372"/>
                      </a:lnTo>
                      <a:lnTo>
                        <a:pt x="243" y="386"/>
                      </a:lnTo>
                      <a:lnTo>
                        <a:pt x="251" y="386"/>
                      </a:lnTo>
                      <a:lnTo>
                        <a:pt x="265" y="396"/>
                      </a:lnTo>
                      <a:lnTo>
                        <a:pt x="274" y="404"/>
                      </a:lnTo>
                      <a:lnTo>
                        <a:pt x="278" y="421"/>
                      </a:lnTo>
                      <a:lnTo>
                        <a:pt x="291" y="450"/>
                      </a:lnTo>
                      <a:lnTo>
                        <a:pt x="292" y="457"/>
                      </a:lnTo>
                      <a:lnTo>
                        <a:pt x="292" y="490"/>
                      </a:lnTo>
                      <a:lnTo>
                        <a:pt x="290" y="527"/>
                      </a:lnTo>
                      <a:lnTo>
                        <a:pt x="292" y="543"/>
                      </a:lnTo>
                      <a:lnTo>
                        <a:pt x="299" y="558"/>
                      </a:lnTo>
                      <a:lnTo>
                        <a:pt x="298" y="607"/>
                      </a:lnTo>
                      <a:lnTo>
                        <a:pt x="296" y="619"/>
                      </a:lnTo>
                      <a:lnTo>
                        <a:pt x="290" y="628"/>
                      </a:lnTo>
                      <a:lnTo>
                        <a:pt x="281" y="625"/>
                      </a:lnTo>
                      <a:lnTo>
                        <a:pt x="271" y="634"/>
                      </a:lnTo>
                      <a:lnTo>
                        <a:pt x="264" y="638"/>
                      </a:lnTo>
                      <a:lnTo>
                        <a:pt x="256" y="638"/>
                      </a:lnTo>
                      <a:lnTo>
                        <a:pt x="238" y="646"/>
                      </a:lnTo>
                      <a:lnTo>
                        <a:pt x="237" y="656"/>
                      </a:lnTo>
                      <a:lnTo>
                        <a:pt x="218" y="657"/>
                      </a:lnTo>
                      <a:lnTo>
                        <a:pt x="208" y="661"/>
                      </a:lnTo>
                      <a:lnTo>
                        <a:pt x="206" y="674"/>
                      </a:lnTo>
                      <a:lnTo>
                        <a:pt x="207" y="683"/>
                      </a:lnTo>
                      <a:lnTo>
                        <a:pt x="208" y="692"/>
                      </a:lnTo>
                      <a:lnTo>
                        <a:pt x="202" y="694"/>
                      </a:lnTo>
                      <a:lnTo>
                        <a:pt x="194" y="697"/>
                      </a:lnTo>
                      <a:lnTo>
                        <a:pt x="183" y="704"/>
                      </a:lnTo>
                      <a:lnTo>
                        <a:pt x="173" y="708"/>
                      </a:lnTo>
                      <a:lnTo>
                        <a:pt x="165" y="705"/>
                      </a:lnTo>
                      <a:lnTo>
                        <a:pt x="158" y="705"/>
                      </a:lnTo>
                      <a:lnTo>
                        <a:pt x="157" y="715"/>
                      </a:lnTo>
                      <a:lnTo>
                        <a:pt x="152" y="720"/>
                      </a:lnTo>
                      <a:lnTo>
                        <a:pt x="145" y="724"/>
                      </a:lnTo>
                      <a:lnTo>
                        <a:pt x="134" y="726"/>
                      </a:lnTo>
                      <a:lnTo>
                        <a:pt x="129" y="727"/>
                      </a:lnTo>
                      <a:lnTo>
                        <a:pt x="136" y="738"/>
                      </a:lnTo>
                      <a:lnTo>
                        <a:pt x="154" y="746"/>
                      </a:lnTo>
                      <a:lnTo>
                        <a:pt x="161" y="752"/>
                      </a:lnTo>
                      <a:lnTo>
                        <a:pt x="157" y="760"/>
                      </a:lnTo>
                      <a:lnTo>
                        <a:pt x="150" y="770"/>
                      </a:lnTo>
                      <a:lnTo>
                        <a:pt x="148" y="786"/>
                      </a:lnTo>
                      <a:lnTo>
                        <a:pt x="148" y="797"/>
                      </a:lnTo>
                      <a:lnTo>
                        <a:pt x="151" y="810"/>
                      </a:lnTo>
                      <a:lnTo>
                        <a:pt x="156" y="822"/>
                      </a:lnTo>
                      <a:lnTo>
                        <a:pt x="151" y="827"/>
                      </a:lnTo>
                      <a:lnTo>
                        <a:pt x="153" y="832"/>
                      </a:lnTo>
                      <a:lnTo>
                        <a:pt x="162" y="830"/>
                      </a:lnTo>
                      <a:lnTo>
                        <a:pt x="175" y="821"/>
                      </a:lnTo>
                      <a:lnTo>
                        <a:pt x="186" y="807"/>
                      </a:lnTo>
                      <a:lnTo>
                        <a:pt x="195" y="797"/>
                      </a:lnTo>
                      <a:lnTo>
                        <a:pt x="216" y="789"/>
                      </a:lnTo>
                      <a:lnTo>
                        <a:pt x="220" y="785"/>
                      </a:lnTo>
                      <a:lnTo>
                        <a:pt x="220" y="778"/>
                      </a:lnTo>
                      <a:lnTo>
                        <a:pt x="228" y="773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37" name="Freeform 142"/>
                <p:cNvSpPr>
                  <a:spLocks/>
                </p:cNvSpPr>
                <p:nvPr/>
              </p:nvSpPr>
              <p:spPr bwMode="gray">
                <a:xfrm>
                  <a:off x="6245221" y="2620054"/>
                  <a:ext cx="150684" cy="297611"/>
                </a:xfrm>
                <a:custGeom>
                  <a:avLst/>
                  <a:gdLst>
                    <a:gd name="T0" fmla="*/ 11110 w 431"/>
                    <a:gd name="T1" fmla="*/ 2058 h 844"/>
                    <a:gd name="T2" fmla="*/ 6666 w 431"/>
                    <a:gd name="T3" fmla="*/ 4117 h 844"/>
                    <a:gd name="T4" fmla="*/ 2222 w 431"/>
                    <a:gd name="T5" fmla="*/ 5352 h 844"/>
                    <a:gd name="T6" fmla="*/ 0 w 431"/>
                    <a:gd name="T7" fmla="*/ 11115 h 844"/>
                    <a:gd name="T8" fmla="*/ 3555 w 431"/>
                    <a:gd name="T9" fmla="*/ 16467 h 844"/>
                    <a:gd name="T10" fmla="*/ 4444 w 431"/>
                    <a:gd name="T11" fmla="*/ 20584 h 844"/>
                    <a:gd name="T12" fmla="*/ 4888 w 431"/>
                    <a:gd name="T13" fmla="*/ 23466 h 844"/>
                    <a:gd name="T14" fmla="*/ 3555 w 431"/>
                    <a:gd name="T15" fmla="*/ 25936 h 844"/>
                    <a:gd name="T16" fmla="*/ 5333 w 431"/>
                    <a:gd name="T17" fmla="*/ 30053 h 844"/>
                    <a:gd name="T18" fmla="*/ 7110 w 431"/>
                    <a:gd name="T19" fmla="*/ 35817 h 844"/>
                    <a:gd name="T20" fmla="*/ 9777 w 431"/>
                    <a:gd name="T21" fmla="*/ 41580 h 844"/>
                    <a:gd name="T22" fmla="*/ 6222 w 431"/>
                    <a:gd name="T23" fmla="*/ 46109 h 844"/>
                    <a:gd name="T24" fmla="*/ 5333 w 431"/>
                    <a:gd name="T25" fmla="*/ 49402 h 844"/>
                    <a:gd name="T26" fmla="*/ 3111 w 431"/>
                    <a:gd name="T27" fmla="*/ 55989 h 844"/>
                    <a:gd name="T28" fmla="*/ 7110 w 431"/>
                    <a:gd name="T29" fmla="*/ 59694 h 844"/>
                    <a:gd name="T30" fmla="*/ 10666 w 431"/>
                    <a:gd name="T31" fmla="*/ 63811 h 844"/>
                    <a:gd name="T32" fmla="*/ 14221 w 431"/>
                    <a:gd name="T33" fmla="*/ 65870 h 844"/>
                    <a:gd name="T34" fmla="*/ 17332 w 431"/>
                    <a:gd name="T35" fmla="*/ 68751 h 844"/>
                    <a:gd name="T36" fmla="*/ 21331 w 431"/>
                    <a:gd name="T37" fmla="*/ 68340 h 844"/>
                    <a:gd name="T38" fmla="*/ 19109 w 431"/>
                    <a:gd name="T39" fmla="*/ 64223 h 844"/>
                    <a:gd name="T40" fmla="*/ 13777 w 431"/>
                    <a:gd name="T41" fmla="*/ 61341 h 844"/>
                    <a:gd name="T42" fmla="*/ 11554 w 431"/>
                    <a:gd name="T43" fmla="*/ 55577 h 844"/>
                    <a:gd name="T44" fmla="*/ 8888 w 431"/>
                    <a:gd name="T45" fmla="*/ 53519 h 844"/>
                    <a:gd name="T46" fmla="*/ 7555 w 431"/>
                    <a:gd name="T47" fmla="*/ 50226 h 844"/>
                    <a:gd name="T48" fmla="*/ 8444 w 431"/>
                    <a:gd name="T49" fmla="*/ 46932 h 844"/>
                    <a:gd name="T50" fmla="*/ 9777 w 431"/>
                    <a:gd name="T51" fmla="*/ 42404 h 844"/>
                    <a:gd name="T52" fmla="*/ 11999 w 431"/>
                    <a:gd name="T53" fmla="*/ 36228 h 844"/>
                    <a:gd name="T54" fmla="*/ 14221 w 431"/>
                    <a:gd name="T55" fmla="*/ 33758 h 844"/>
                    <a:gd name="T56" fmla="*/ 15999 w 431"/>
                    <a:gd name="T57" fmla="*/ 37463 h 844"/>
                    <a:gd name="T58" fmla="*/ 16887 w 431"/>
                    <a:gd name="T59" fmla="*/ 37875 h 844"/>
                    <a:gd name="T60" fmla="*/ 22220 w 431"/>
                    <a:gd name="T61" fmla="*/ 39110 h 844"/>
                    <a:gd name="T62" fmla="*/ 23998 w 431"/>
                    <a:gd name="T63" fmla="*/ 40345 h 844"/>
                    <a:gd name="T64" fmla="*/ 25775 w 431"/>
                    <a:gd name="T65" fmla="*/ 41992 h 844"/>
                    <a:gd name="T66" fmla="*/ 23553 w 431"/>
                    <a:gd name="T67" fmla="*/ 38287 h 844"/>
                    <a:gd name="T68" fmla="*/ 23553 w 431"/>
                    <a:gd name="T69" fmla="*/ 33346 h 844"/>
                    <a:gd name="T70" fmla="*/ 26220 w 431"/>
                    <a:gd name="T71" fmla="*/ 30053 h 844"/>
                    <a:gd name="T72" fmla="*/ 32441 w 431"/>
                    <a:gd name="T73" fmla="*/ 30053 h 844"/>
                    <a:gd name="T74" fmla="*/ 36886 w 431"/>
                    <a:gd name="T75" fmla="*/ 30053 h 844"/>
                    <a:gd name="T76" fmla="*/ 38219 w 431"/>
                    <a:gd name="T77" fmla="*/ 24701 h 844"/>
                    <a:gd name="T78" fmla="*/ 36886 w 431"/>
                    <a:gd name="T79" fmla="*/ 22643 h 844"/>
                    <a:gd name="T80" fmla="*/ 34663 w 431"/>
                    <a:gd name="T81" fmla="*/ 20584 h 844"/>
                    <a:gd name="T82" fmla="*/ 33775 w 431"/>
                    <a:gd name="T83" fmla="*/ 15644 h 844"/>
                    <a:gd name="T84" fmla="*/ 31997 w 431"/>
                    <a:gd name="T85" fmla="*/ 13586 h 844"/>
                    <a:gd name="T86" fmla="*/ 28442 w 431"/>
                    <a:gd name="T87" fmla="*/ 11115 h 844"/>
                    <a:gd name="T88" fmla="*/ 25775 w 431"/>
                    <a:gd name="T89" fmla="*/ 12762 h 844"/>
                    <a:gd name="T90" fmla="*/ 22665 w 431"/>
                    <a:gd name="T91" fmla="*/ 12762 h 844"/>
                    <a:gd name="T92" fmla="*/ 19554 w 431"/>
                    <a:gd name="T93" fmla="*/ 12351 h 844"/>
                    <a:gd name="T94" fmla="*/ 16443 w 431"/>
                    <a:gd name="T95" fmla="*/ 14821 h 844"/>
                    <a:gd name="T96" fmla="*/ 16887 w 431"/>
                    <a:gd name="T97" fmla="*/ 10292 h 844"/>
                    <a:gd name="T98" fmla="*/ 16887 w 431"/>
                    <a:gd name="T99" fmla="*/ 6587 h 844"/>
                    <a:gd name="T100" fmla="*/ 14665 w 431"/>
                    <a:gd name="T101" fmla="*/ 4940 h 844"/>
                    <a:gd name="T102" fmla="*/ 13332 w 431"/>
                    <a:gd name="T103" fmla="*/ 1235 h 844"/>
                    <a:gd name="T104" fmla="*/ 12443 w 431"/>
                    <a:gd name="T105" fmla="*/ 0 h 844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431"/>
                    <a:gd name="T160" fmla="*/ 0 h 844"/>
                    <a:gd name="T161" fmla="*/ 431 w 431"/>
                    <a:gd name="T162" fmla="*/ 844 h 844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431" h="844">
                      <a:moveTo>
                        <a:pt x="144" y="0"/>
                      </a:moveTo>
                      <a:lnTo>
                        <a:pt x="138" y="3"/>
                      </a:lnTo>
                      <a:lnTo>
                        <a:pt x="131" y="11"/>
                      </a:lnTo>
                      <a:lnTo>
                        <a:pt x="125" y="24"/>
                      </a:lnTo>
                      <a:lnTo>
                        <a:pt x="112" y="27"/>
                      </a:lnTo>
                      <a:lnTo>
                        <a:pt x="103" y="32"/>
                      </a:lnTo>
                      <a:lnTo>
                        <a:pt x="88" y="43"/>
                      </a:lnTo>
                      <a:lnTo>
                        <a:pt x="77" y="49"/>
                      </a:lnTo>
                      <a:lnTo>
                        <a:pt x="66" y="60"/>
                      </a:lnTo>
                      <a:lnTo>
                        <a:pt x="55" y="64"/>
                      </a:lnTo>
                      <a:lnTo>
                        <a:pt x="37" y="65"/>
                      </a:lnTo>
                      <a:lnTo>
                        <a:pt x="23" y="67"/>
                      </a:lnTo>
                      <a:lnTo>
                        <a:pt x="9" y="106"/>
                      </a:lnTo>
                      <a:lnTo>
                        <a:pt x="7" y="118"/>
                      </a:lnTo>
                      <a:lnTo>
                        <a:pt x="9" y="128"/>
                      </a:lnTo>
                      <a:lnTo>
                        <a:pt x="0" y="135"/>
                      </a:lnTo>
                      <a:lnTo>
                        <a:pt x="1" y="142"/>
                      </a:lnTo>
                      <a:lnTo>
                        <a:pt x="7" y="159"/>
                      </a:lnTo>
                      <a:lnTo>
                        <a:pt x="17" y="182"/>
                      </a:lnTo>
                      <a:lnTo>
                        <a:pt x="40" y="199"/>
                      </a:lnTo>
                      <a:lnTo>
                        <a:pt x="48" y="209"/>
                      </a:lnTo>
                      <a:lnTo>
                        <a:pt x="50" y="225"/>
                      </a:lnTo>
                      <a:lnTo>
                        <a:pt x="49" y="240"/>
                      </a:lnTo>
                      <a:lnTo>
                        <a:pt x="52" y="252"/>
                      </a:lnTo>
                      <a:lnTo>
                        <a:pt x="61" y="253"/>
                      </a:lnTo>
                      <a:lnTo>
                        <a:pt x="65" y="263"/>
                      </a:lnTo>
                      <a:lnTo>
                        <a:pt x="59" y="269"/>
                      </a:lnTo>
                      <a:lnTo>
                        <a:pt x="53" y="283"/>
                      </a:lnTo>
                      <a:lnTo>
                        <a:pt x="50" y="291"/>
                      </a:lnTo>
                      <a:lnTo>
                        <a:pt x="50" y="304"/>
                      </a:lnTo>
                      <a:lnTo>
                        <a:pt x="47" y="307"/>
                      </a:lnTo>
                      <a:lnTo>
                        <a:pt x="38" y="315"/>
                      </a:lnTo>
                      <a:lnTo>
                        <a:pt x="34" y="323"/>
                      </a:lnTo>
                      <a:lnTo>
                        <a:pt x="33" y="337"/>
                      </a:lnTo>
                      <a:lnTo>
                        <a:pt x="39" y="354"/>
                      </a:lnTo>
                      <a:lnTo>
                        <a:pt x="58" y="366"/>
                      </a:lnTo>
                      <a:lnTo>
                        <a:pt x="76" y="386"/>
                      </a:lnTo>
                      <a:lnTo>
                        <a:pt x="79" y="392"/>
                      </a:lnTo>
                      <a:lnTo>
                        <a:pt x="81" y="401"/>
                      </a:lnTo>
                      <a:lnTo>
                        <a:pt x="82" y="434"/>
                      </a:lnTo>
                      <a:lnTo>
                        <a:pt x="88" y="452"/>
                      </a:lnTo>
                      <a:lnTo>
                        <a:pt x="91" y="454"/>
                      </a:lnTo>
                      <a:lnTo>
                        <a:pt x="96" y="469"/>
                      </a:lnTo>
                      <a:lnTo>
                        <a:pt x="111" y="503"/>
                      </a:lnTo>
                      <a:lnTo>
                        <a:pt x="109" y="510"/>
                      </a:lnTo>
                      <a:lnTo>
                        <a:pt x="91" y="540"/>
                      </a:lnTo>
                      <a:lnTo>
                        <a:pt x="80" y="547"/>
                      </a:lnTo>
                      <a:lnTo>
                        <a:pt x="72" y="559"/>
                      </a:lnTo>
                      <a:lnTo>
                        <a:pt x="70" y="574"/>
                      </a:lnTo>
                      <a:lnTo>
                        <a:pt x="65" y="586"/>
                      </a:lnTo>
                      <a:lnTo>
                        <a:pt x="60" y="594"/>
                      </a:lnTo>
                      <a:lnTo>
                        <a:pt x="59" y="597"/>
                      </a:lnTo>
                      <a:lnTo>
                        <a:pt x="54" y="610"/>
                      </a:lnTo>
                      <a:lnTo>
                        <a:pt x="53" y="618"/>
                      </a:lnTo>
                      <a:lnTo>
                        <a:pt x="39" y="664"/>
                      </a:lnTo>
                      <a:lnTo>
                        <a:pt x="37" y="681"/>
                      </a:lnTo>
                      <a:lnTo>
                        <a:pt x="37" y="696"/>
                      </a:lnTo>
                      <a:lnTo>
                        <a:pt x="40" y="705"/>
                      </a:lnTo>
                      <a:lnTo>
                        <a:pt x="60" y="703"/>
                      </a:lnTo>
                      <a:lnTo>
                        <a:pt x="80" y="725"/>
                      </a:lnTo>
                      <a:lnTo>
                        <a:pt x="86" y="729"/>
                      </a:lnTo>
                      <a:lnTo>
                        <a:pt x="101" y="750"/>
                      </a:lnTo>
                      <a:lnTo>
                        <a:pt x="112" y="759"/>
                      </a:lnTo>
                      <a:lnTo>
                        <a:pt x="118" y="774"/>
                      </a:lnTo>
                      <a:lnTo>
                        <a:pt x="145" y="804"/>
                      </a:lnTo>
                      <a:lnTo>
                        <a:pt x="140" y="788"/>
                      </a:lnTo>
                      <a:lnTo>
                        <a:pt x="152" y="788"/>
                      </a:lnTo>
                      <a:lnTo>
                        <a:pt x="160" y="797"/>
                      </a:lnTo>
                      <a:lnTo>
                        <a:pt x="177" y="800"/>
                      </a:lnTo>
                      <a:lnTo>
                        <a:pt x="187" y="802"/>
                      </a:lnTo>
                      <a:lnTo>
                        <a:pt x="197" y="817"/>
                      </a:lnTo>
                      <a:lnTo>
                        <a:pt x="194" y="833"/>
                      </a:lnTo>
                      <a:lnTo>
                        <a:pt x="198" y="844"/>
                      </a:lnTo>
                      <a:lnTo>
                        <a:pt x="221" y="829"/>
                      </a:lnTo>
                      <a:lnTo>
                        <a:pt x="232" y="831"/>
                      </a:lnTo>
                      <a:lnTo>
                        <a:pt x="243" y="829"/>
                      </a:lnTo>
                      <a:lnTo>
                        <a:pt x="251" y="817"/>
                      </a:lnTo>
                      <a:lnTo>
                        <a:pt x="242" y="804"/>
                      </a:lnTo>
                      <a:lnTo>
                        <a:pt x="230" y="790"/>
                      </a:lnTo>
                      <a:lnTo>
                        <a:pt x="215" y="778"/>
                      </a:lnTo>
                      <a:lnTo>
                        <a:pt x="181" y="773"/>
                      </a:lnTo>
                      <a:lnTo>
                        <a:pt x="168" y="758"/>
                      </a:lnTo>
                      <a:lnTo>
                        <a:pt x="162" y="754"/>
                      </a:lnTo>
                      <a:lnTo>
                        <a:pt x="157" y="745"/>
                      </a:lnTo>
                      <a:lnTo>
                        <a:pt x="151" y="709"/>
                      </a:lnTo>
                      <a:lnTo>
                        <a:pt x="145" y="699"/>
                      </a:lnTo>
                      <a:lnTo>
                        <a:pt x="136" y="691"/>
                      </a:lnTo>
                      <a:lnTo>
                        <a:pt x="131" y="676"/>
                      </a:lnTo>
                      <a:lnTo>
                        <a:pt x="129" y="660"/>
                      </a:lnTo>
                      <a:lnTo>
                        <a:pt x="124" y="649"/>
                      </a:lnTo>
                      <a:lnTo>
                        <a:pt x="114" y="646"/>
                      </a:lnTo>
                      <a:lnTo>
                        <a:pt x="102" y="651"/>
                      </a:lnTo>
                      <a:lnTo>
                        <a:pt x="92" y="649"/>
                      </a:lnTo>
                      <a:lnTo>
                        <a:pt x="88" y="640"/>
                      </a:lnTo>
                      <a:lnTo>
                        <a:pt x="86" y="623"/>
                      </a:lnTo>
                      <a:lnTo>
                        <a:pt x="85" y="607"/>
                      </a:lnTo>
                      <a:lnTo>
                        <a:pt x="85" y="592"/>
                      </a:lnTo>
                      <a:lnTo>
                        <a:pt x="86" y="586"/>
                      </a:lnTo>
                      <a:lnTo>
                        <a:pt x="92" y="578"/>
                      </a:lnTo>
                      <a:lnTo>
                        <a:pt x="93" y="568"/>
                      </a:lnTo>
                      <a:lnTo>
                        <a:pt x="98" y="563"/>
                      </a:lnTo>
                      <a:lnTo>
                        <a:pt x="103" y="553"/>
                      </a:lnTo>
                      <a:lnTo>
                        <a:pt x="103" y="542"/>
                      </a:lnTo>
                      <a:lnTo>
                        <a:pt x="112" y="515"/>
                      </a:lnTo>
                      <a:lnTo>
                        <a:pt x="119" y="501"/>
                      </a:lnTo>
                      <a:lnTo>
                        <a:pt x="126" y="487"/>
                      </a:lnTo>
                      <a:lnTo>
                        <a:pt x="128" y="471"/>
                      </a:lnTo>
                      <a:lnTo>
                        <a:pt x="133" y="439"/>
                      </a:lnTo>
                      <a:lnTo>
                        <a:pt x="129" y="415"/>
                      </a:lnTo>
                      <a:lnTo>
                        <a:pt x="142" y="411"/>
                      </a:lnTo>
                      <a:lnTo>
                        <a:pt x="157" y="409"/>
                      </a:lnTo>
                      <a:lnTo>
                        <a:pt x="161" y="409"/>
                      </a:lnTo>
                      <a:lnTo>
                        <a:pt x="168" y="411"/>
                      </a:lnTo>
                      <a:lnTo>
                        <a:pt x="179" y="414"/>
                      </a:lnTo>
                      <a:lnTo>
                        <a:pt x="182" y="419"/>
                      </a:lnTo>
                      <a:lnTo>
                        <a:pt x="179" y="455"/>
                      </a:lnTo>
                      <a:lnTo>
                        <a:pt x="183" y="462"/>
                      </a:lnTo>
                      <a:lnTo>
                        <a:pt x="187" y="462"/>
                      </a:lnTo>
                      <a:lnTo>
                        <a:pt x="184" y="458"/>
                      </a:lnTo>
                      <a:lnTo>
                        <a:pt x="189" y="458"/>
                      </a:lnTo>
                      <a:lnTo>
                        <a:pt x="212" y="460"/>
                      </a:lnTo>
                      <a:lnTo>
                        <a:pt x="222" y="458"/>
                      </a:lnTo>
                      <a:lnTo>
                        <a:pt x="233" y="461"/>
                      </a:lnTo>
                      <a:lnTo>
                        <a:pt x="251" y="476"/>
                      </a:lnTo>
                      <a:lnTo>
                        <a:pt x="257" y="484"/>
                      </a:lnTo>
                      <a:lnTo>
                        <a:pt x="264" y="488"/>
                      </a:lnTo>
                      <a:lnTo>
                        <a:pt x="270" y="492"/>
                      </a:lnTo>
                      <a:lnTo>
                        <a:pt x="271" y="489"/>
                      </a:lnTo>
                      <a:lnTo>
                        <a:pt x="276" y="493"/>
                      </a:lnTo>
                      <a:lnTo>
                        <a:pt x="285" y="511"/>
                      </a:lnTo>
                      <a:lnTo>
                        <a:pt x="291" y="516"/>
                      </a:lnTo>
                      <a:lnTo>
                        <a:pt x="292" y="510"/>
                      </a:lnTo>
                      <a:lnTo>
                        <a:pt x="292" y="501"/>
                      </a:lnTo>
                      <a:lnTo>
                        <a:pt x="286" y="487"/>
                      </a:lnTo>
                      <a:lnTo>
                        <a:pt x="280" y="473"/>
                      </a:lnTo>
                      <a:lnTo>
                        <a:pt x="265" y="462"/>
                      </a:lnTo>
                      <a:lnTo>
                        <a:pt x="258" y="440"/>
                      </a:lnTo>
                      <a:lnTo>
                        <a:pt x="255" y="429"/>
                      </a:lnTo>
                      <a:lnTo>
                        <a:pt x="258" y="411"/>
                      </a:lnTo>
                      <a:lnTo>
                        <a:pt x="265" y="407"/>
                      </a:lnTo>
                      <a:lnTo>
                        <a:pt x="270" y="396"/>
                      </a:lnTo>
                      <a:lnTo>
                        <a:pt x="278" y="392"/>
                      </a:lnTo>
                      <a:lnTo>
                        <a:pt x="292" y="372"/>
                      </a:lnTo>
                      <a:lnTo>
                        <a:pt x="298" y="366"/>
                      </a:lnTo>
                      <a:lnTo>
                        <a:pt x="307" y="363"/>
                      </a:lnTo>
                      <a:lnTo>
                        <a:pt x="334" y="365"/>
                      </a:lnTo>
                      <a:lnTo>
                        <a:pt x="350" y="368"/>
                      </a:lnTo>
                      <a:lnTo>
                        <a:pt x="368" y="365"/>
                      </a:lnTo>
                      <a:lnTo>
                        <a:pt x="396" y="364"/>
                      </a:lnTo>
                      <a:lnTo>
                        <a:pt x="405" y="374"/>
                      </a:lnTo>
                      <a:lnTo>
                        <a:pt x="416" y="369"/>
                      </a:lnTo>
                      <a:lnTo>
                        <a:pt x="416" y="365"/>
                      </a:lnTo>
                      <a:lnTo>
                        <a:pt x="420" y="365"/>
                      </a:lnTo>
                      <a:lnTo>
                        <a:pt x="427" y="354"/>
                      </a:lnTo>
                      <a:lnTo>
                        <a:pt x="427" y="312"/>
                      </a:lnTo>
                      <a:lnTo>
                        <a:pt x="431" y="302"/>
                      </a:lnTo>
                      <a:lnTo>
                        <a:pt x="430" y="293"/>
                      </a:lnTo>
                      <a:lnTo>
                        <a:pt x="429" y="286"/>
                      </a:lnTo>
                      <a:lnTo>
                        <a:pt x="424" y="280"/>
                      </a:lnTo>
                      <a:lnTo>
                        <a:pt x="416" y="275"/>
                      </a:lnTo>
                      <a:lnTo>
                        <a:pt x="414" y="268"/>
                      </a:lnTo>
                      <a:lnTo>
                        <a:pt x="404" y="267"/>
                      </a:lnTo>
                      <a:lnTo>
                        <a:pt x="397" y="262"/>
                      </a:lnTo>
                      <a:lnTo>
                        <a:pt x="389" y="252"/>
                      </a:lnTo>
                      <a:lnTo>
                        <a:pt x="386" y="241"/>
                      </a:lnTo>
                      <a:lnTo>
                        <a:pt x="387" y="216"/>
                      </a:lnTo>
                      <a:lnTo>
                        <a:pt x="386" y="203"/>
                      </a:lnTo>
                      <a:lnTo>
                        <a:pt x="382" y="191"/>
                      </a:lnTo>
                      <a:lnTo>
                        <a:pt x="377" y="181"/>
                      </a:lnTo>
                      <a:lnTo>
                        <a:pt x="370" y="176"/>
                      </a:lnTo>
                      <a:lnTo>
                        <a:pt x="368" y="169"/>
                      </a:lnTo>
                      <a:lnTo>
                        <a:pt x="360" y="165"/>
                      </a:lnTo>
                      <a:lnTo>
                        <a:pt x="353" y="158"/>
                      </a:lnTo>
                      <a:lnTo>
                        <a:pt x="348" y="150"/>
                      </a:lnTo>
                      <a:lnTo>
                        <a:pt x="335" y="135"/>
                      </a:lnTo>
                      <a:lnTo>
                        <a:pt x="323" y="134"/>
                      </a:lnTo>
                      <a:lnTo>
                        <a:pt x="312" y="135"/>
                      </a:lnTo>
                      <a:lnTo>
                        <a:pt x="301" y="138"/>
                      </a:lnTo>
                      <a:lnTo>
                        <a:pt x="297" y="149"/>
                      </a:lnTo>
                      <a:lnTo>
                        <a:pt x="292" y="153"/>
                      </a:lnTo>
                      <a:lnTo>
                        <a:pt x="285" y="156"/>
                      </a:lnTo>
                      <a:lnTo>
                        <a:pt x="273" y="162"/>
                      </a:lnTo>
                      <a:lnTo>
                        <a:pt x="264" y="162"/>
                      </a:lnTo>
                      <a:lnTo>
                        <a:pt x="255" y="156"/>
                      </a:lnTo>
                      <a:lnTo>
                        <a:pt x="249" y="146"/>
                      </a:lnTo>
                      <a:lnTo>
                        <a:pt x="242" y="144"/>
                      </a:lnTo>
                      <a:lnTo>
                        <a:pt x="233" y="146"/>
                      </a:lnTo>
                      <a:lnTo>
                        <a:pt x="220" y="151"/>
                      </a:lnTo>
                      <a:lnTo>
                        <a:pt x="208" y="164"/>
                      </a:lnTo>
                      <a:lnTo>
                        <a:pt x="195" y="169"/>
                      </a:lnTo>
                      <a:lnTo>
                        <a:pt x="188" y="178"/>
                      </a:lnTo>
                      <a:lnTo>
                        <a:pt x="183" y="182"/>
                      </a:lnTo>
                      <a:lnTo>
                        <a:pt x="184" y="177"/>
                      </a:lnTo>
                      <a:lnTo>
                        <a:pt x="181" y="164"/>
                      </a:lnTo>
                      <a:lnTo>
                        <a:pt x="185" y="150"/>
                      </a:lnTo>
                      <a:lnTo>
                        <a:pt x="188" y="126"/>
                      </a:lnTo>
                      <a:lnTo>
                        <a:pt x="193" y="115"/>
                      </a:lnTo>
                      <a:lnTo>
                        <a:pt x="193" y="106"/>
                      </a:lnTo>
                      <a:lnTo>
                        <a:pt x="194" y="97"/>
                      </a:lnTo>
                      <a:lnTo>
                        <a:pt x="190" y="81"/>
                      </a:lnTo>
                      <a:lnTo>
                        <a:pt x="194" y="64"/>
                      </a:lnTo>
                      <a:lnTo>
                        <a:pt x="190" y="60"/>
                      </a:lnTo>
                      <a:lnTo>
                        <a:pt x="169" y="60"/>
                      </a:lnTo>
                      <a:lnTo>
                        <a:pt x="163" y="59"/>
                      </a:lnTo>
                      <a:lnTo>
                        <a:pt x="161" y="58"/>
                      </a:lnTo>
                      <a:lnTo>
                        <a:pt x="161" y="40"/>
                      </a:lnTo>
                      <a:lnTo>
                        <a:pt x="158" y="25"/>
                      </a:lnTo>
                      <a:lnTo>
                        <a:pt x="152" y="16"/>
                      </a:lnTo>
                      <a:lnTo>
                        <a:pt x="149" y="11"/>
                      </a:lnTo>
                      <a:lnTo>
                        <a:pt x="142" y="14"/>
                      </a:lnTo>
                      <a:lnTo>
                        <a:pt x="140" y="8"/>
                      </a:lnTo>
                      <a:lnTo>
                        <a:pt x="141" y="0"/>
                      </a:lnTo>
                      <a:lnTo>
                        <a:pt x="144" y="0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38" name="Freeform 143"/>
                <p:cNvSpPr>
                  <a:spLocks/>
                </p:cNvSpPr>
                <p:nvPr/>
              </p:nvSpPr>
              <p:spPr bwMode="gray">
                <a:xfrm>
                  <a:off x="6140997" y="2461056"/>
                  <a:ext cx="170775" cy="369636"/>
                </a:xfrm>
                <a:custGeom>
                  <a:avLst/>
                  <a:gdLst>
                    <a:gd name="T0" fmla="*/ 11045 w 489"/>
                    <a:gd name="T1" fmla="*/ 53867 h 1050"/>
                    <a:gd name="T2" fmla="*/ 10161 w 489"/>
                    <a:gd name="T3" fmla="*/ 48521 h 1050"/>
                    <a:gd name="T4" fmla="*/ 7952 w 489"/>
                    <a:gd name="T5" fmla="*/ 46054 h 1050"/>
                    <a:gd name="T6" fmla="*/ 7510 w 489"/>
                    <a:gd name="T7" fmla="*/ 43998 h 1050"/>
                    <a:gd name="T8" fmla="*/ 6627 w 489"/>
                    <a:gd name="T9" fmla="*/ 41942 h 1050"/>
                    <a:gd name="T10" fmla="*/ 1767 w 489"/>
                    <a:gd name="T11" fmla="*/ 38653 h 1050"/>
                    <a:gd name="T12" fmla="*/ 0 w 489"/>
                    <a:gd name="T13" fmla="*/ 36597 h 1050"/>
                    <a:gd name="T14" fmla="*/ 1767 w 489"/>
                    <a:gd name="T15" fmla="*/ 34129 h 1050"/>
                    <a:gd name="T16" fmla="*/ 2209 w 489"/>
                    <a:gd name="T17" fmla="*/ 30840 h 1050"/>
                    <a:gd name="T18" fmla="*/ 3976 w 489"/>
                    <a:gd name="T19" fmla="*/ 30017 h 1050"/>
                    <a:gd name="T20" fmla="*/ 3534 w 489"/>
                    <a:gd name="T21" fmla="*/ 26728 h 1050"/>
                    <a:gd name="T22" fmla="*/ 5302 w 489"/>
                    <a:gd name="T23" fmla="*/ 22616 h 1050"/>
                    <a:gd name="T24" fmla="*/ 8836 w 489"/>
                    <a:gd name="T25" fmla="*/ 22205 h 1050"/>
                    <a:gd name="T26" fmla="*/ 11928 w 489"/>
                    <a:gd name="T27" fmla="*/ 16037 h 1050"/>
                    <a:gd name="T28" fmla="*/ 14137 w 489"/>
                    <a:gd name="T29" fmla="*/ 12747 h 1050"/>
                    <a:gd name="T30" fmla="*/ 16788 w 489"/>
                    <a:gd name="T31" fmla="*/ 7402 h 1050"/>
                    <a:gd name="T32" fmla="*/ 21206 w 489"/>
                    <a:gd name="T33" fmla="*/ 5346 h 1050"/>
                    <a:gd name="T34" fmla="*/ 22973 w 489"/>
                    <a:gd name="T35" fmla="*/ 2878 h 1050"/>
                    <a:gd name="T36" fmla="*/ 25624 w 489"/>
                    <a:gd name="T37" fmla="*/ 411 h 1050"/>
                    <a:gd name="T38" fmla="*/ 28275 w 489"/>
                    <a:gd name="T39" fmla="*/ 1645 h 1050"/>
                    <a:gd name="T40" fmla="*/ 30926 w 489"/>
                    <a:gd name="T41" fmla="*/ 6579 h 1050"/>
                    <a:gd name="T42" fmla="*/ 30042 w 489"/>
                    <a:gd name="T43" fmla="*/ 13570 h 1050"/>
                    <a:gd name="T44" fmla="*/ 27391 w 489"/>
                    <a:gd name="T45" fmla="*/ 16448 h 1050"/>
                    <a:gd name="T46" fmla="*/ 26508 w 489"/>
                    <a:gd name="T47" fmla="*/ 20971 h 1050"/>
                    <a:gd name="T48" fmla="*/ 28275 w 489"/>
                    <a:gd name="T49" fmla="*/ 21382 h 1050"/>
                    <a:gd name="T50" fmla="*/ 32251 w 489"/>
                    <a:gd name="T51" fmla="*/ 23027 h 1050"/>
                    <a:gd name="T52" fmla="*/ 34460 w 489"/>
                    <a:gd name="T53" fmla="*/ 28373 h 1050"/>
                    <a:gd name="T54" fmla="*/ 37111 w 489"/>
                    <a:gd name="T55" fmla="*/ 31662 h 1050"/>
                    <a:gd name="T56" fmla="*/ 42854 w 489"/>
                    <a:gd name="T57" fmla="*/ 32073 h 1050"/>
                    <a:gd name="T58" fmla="*/ 39761 w 489"/>
                    <a:gd name="T59" fmla="*/ 34952 h 1050"/>
                    <a:gd name="T60" fmla="*/ 38878 w 489"/>
                    <a:gd name="T61" fmla="*/ 36597 h 1050"/>
                    <a:gd name="T62" fmla="*/ 37552 w 489"/>
                    <a:gd name="T63" fmla="*/ 38241 h 1050"/>
                    <a:gd name="T64" fmla="*/ 33576 w 489"/>
                    <a:gd name="T65" fmla="*/ 40709 h 1050"/>
                    <a:gd name="T66" fmla="*/ 29158 w 489"/>
                    <a:gd name="T67" fmla="*/ 42765 h 1050"/>
                    <a:gd name="T68" fmla="*/ 26508 w 489"/>
                    <a:gd name="T69" fmla="*/ 47699 h 1050"/>
                    <a:gd name="T70" fmla="*/ 27391 w 489"/>
                    <a:gd name="T71" fmla="*/ 52222 h 1050"/>
                    <a:gd name="T72" fmla="*/ 30042 w 489"/>
                    <a:gd name="T73" fmla="*/ 57157 h 1050"/>
                    <a:gd name="T74" fmla="*/ 30926 w 489"/>
                    <a:gd name="T75" fmla="*/ 59213 h 1050"/>
                    <a:gd name="T76" fmla="*/ 30042 w 489"/>
                    <a:gd name="T77" fmla="*/ 62502 h 1050"/>
                    <a:gd name="T78" fmla="*/ 29158 w 489"/>
                    <a:gd name="T79" fmla="*/ 66203 h 1050"/>
                    <a:gd name="T80" fmla="*/ 33135 w 489"/>
                    <a:gd name="T81" fmla="*/ 70315 h 1050"/>
                    <a:gd name="T82" fmla="*/ 34460 w 489"/>
                    <a:gd name="T83" fmla="*/ 75660 h 1050"/>
                    <a:gd name="T84" fmla="*/ 32693 w 489"/>
                    <a:gd name="T85" fmla="*/ 82240 h 1050"/>
                    <a:gd name="T86" fmla="*/ 30926 w 489"/>
                    <a:gd name="T87" fmla="*/ 85940 h 1050"/>
                    <a:gd name="T88" fmla="*/ 30484 w 489"/>
                    <a:gd name="T89" fmla="*/ 83473 h 1050"/>
                    <a:gd name="T90" fmla="*/ 30926 w 489"/>
                    <a:gd name="T91" fmla="*/ 78950 h 1050"/>
                    <a:gd name="T92" fmla="*/ 30926 w 489"/>
                    <a:gd name="T93" fmla="*/ 76894 h 1050"/>
                    <a:gd name="T94" fmla="*/ 29158 w 489"/>
                    <a:gd name="T95" fmla="*/ 69904 h 1050"/>
                    <a:gd name="T96" fmla="*/ 27833 w 489"/>
                    <a:gd name="T97" fmla="*/ 67436 h 1050"/>
                    <a:gd name="T98" fmla="*/ 26066 w 489"/>
                    <a:gd name="T99" fmla="*/ 59213 h 1050"/>
                    <a:gd name="T100" fmla="*/ 24299 w 489"/>
                    <a:gd name="T101" fmla="*/ 56745 h 1050"/>
                    <a:gd name="T102" fmla="*/ 22090 w 489"/>
                    <a:gd name="T103" fmla="*/ 53867 h 1050"/>
                    <a:gd name="T104" fmla="*/ 19881 w 489"/>
                    <a:gd name="T105" fmla="*/ 57157 h 1050"/>
                    <a:gd name="T106" fmla="*/ 15905 w 489"/>
                    <a:gd name="T107" fmla="*/ 59624 h 1050"/>
                    <a:gd name="T108" fmla="*/ 13696 w 489"/>
                    <a:gd name="T109" fmla="*/ 60035 h 1050"/>
                    <a:gd name="T110" fmla="*/ 10603 w 489"/>
                    <a:gd name="T111" fmla="*/ 59624 h 1050"/>
                    <a:gd name="T112" fmla="*/ 9719 w 489"/>
                    <a:gd name="T113" fmla="*/ 57979 h 1050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489"/>
                    <a:gd name="T172" fmla="*/ 0 h 1050"/>
                    <a:gd name="T173" fmla="*/ 489 w 489"/>
                    <a:gd name="T174" fmla="*/ 1050 h 1050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489" h="1050">
                      <a:moveTo>
                        <a:pt x="112" y="704"/>
                      </a:moveTo>
                      <a:lnTo>
                        <a:pt x="117" y="690"/>
                      </a:lnTo>
                      <a:lnTo>
                        <a:pt x="119" y="673"/>
                      </a:lnTo>
                      <a:lnTo>
                        <a:pt x="125" y="657"/>
                      </a:lnTo>
                      <a:lnTo>
                        <a:pt x="125" y="638"/>
                      </a:lnTo>
                      <a:lnTo>
                        <a:pt x="121" y="607"/>
                      </a:lnTo>
                      <a:lnTo>
                        <a:pt x="117" y="599"/>
                      </a:lnTo>
                      <a:lnTo>
                        <a:pt x="116" y="592"/>
                      </a:lnTo>
                      <a:lnTo>
                        <a:pt x="109" y="580"/>
                      </a:lnTo>
                      <a:lnTo>
                        <a:pt x="95" y="556"/>
                      </a:lnTo>
                      <a:lnTo>
                        <a:pt x="92" y="545"/>
                      </a:lnTo>
                      <a:lnTo>
                        <a:pt x="89" y="559"/>
                      </a:lnTo>
                      <a:lnTo>
                        <a:pt x="78" y="553"/>
                      </a:lnTo>
                      <a:lnTo>
                        <a:pt x="71" y="539"/>
                      </a:lnTo>
                      <a:lnTo>
                        <a:pt x="74" y="531"/>
                      </a:lnTo>
                      <a:lnTo>
                        <a:pt x="85" y="536"/>
                      </a:lnTo>
                      <a:lnTo>
                        <a:pt x="84" y="531"/>
                      </a:lnTo>
                      <a:lnTo>
                        <a:pt x="76" y="525"/>
                      </a:lnTo>
                      <a:lnTo>
                        <a:pt x="79" y="518"/>
                      </a:lnTo>
                      <a:lnTo>
                        <a:pt x="78" y="512"/>
                      </a:lnTo>
                      <a:lnTo>
                        <a:pt x="38" y="493"/>
                      </a:lnTo>
                      <a:lnTo>
                        <a:pt x="37" y="482"/>
                      </a:lnTo>
                      <a:lnTo>
                        <a:pt x="28" y="479"/>
                      </a:lnTo>
                      <a:lnTo>
                        <a:pt x="22" y="470"/>
                      </a:lnTo>
                      <a:lnTo>
                        <a:pt x="21" y="474"/>
                      </a:lnTo>
                      <a:lnTo>
                        <a:pt x="14" y="468"/>
                      </a:lnTo>
                      <a:lnTo>
                        <a:pt x="10" y="458"/>
                      </a:lnTo>
                      <a:lnTo>
                        <a:pt x="0" y="443"/>
                      </a:lnTo>
                      <a:lnTo>
                        <a:pt x="1" y="425"/>
                      </a:lnTo>
                      <a:lnTo>
                        <a:pt x="3" y="418"/>
                      </a:lnTo>
                      <a:lnTo>
                        <a:pt x="7" y="413"/>
                      </a:lnTo>
                      <a:lnTo>
                        <a:pt x="19" y="416"/>
                      </a:lnTo>
                      <a:lnTo>
                        <a:pt x="17" y="387"/>
                      </a:lnTo>
                      <a:lnTo>
                        <a:pt x="19" y="384"/>
                      </a:lnTo>
                      <a:lnTo>
                        <a:pt x="22" y="381"/>
                      </a:lnTo>
                      <a:lnTo>
                        <a:pt x="27" y="376"/>
                      </a:lnTo>
                      <a:lnTo>
                        <a:pt x="36" y="378"/>
                      </a:lnTo>
                      <a:lnTo>
                        <a:pt x="41" y="377"/>
                      </a:lnTo>
                      <a:lnTo>
                        <a:pt x="46" y="371"/>
                      </a:lnTo>
                      <a:lnTo>
                        <a:pt x="47" y="365"/>
                      </a:lnTo>
                      <a:lnTo>
                        <a:pt x="44" y="365"/>
                      </a:lnTo>
                      <a:lnTo>
                        <a:pt x="41" y="355"/>
                      </a:lnTo>
                      <a:lnTo>
                        <a:pt x="41" y="339"/>
                      </a:lnTo>
                      <a:lnTo>
                        <a:pt x="42" y="326"/>
                      </a:lnTo>
                      <a:lnTo>
                        <a:pt x="53" y="327"/>
                      </a:lnTo>
                      <a:lnTo>
                        <a:pt x="57" y="322"/>
                      </a:lnTo>
                      <a:lnTo>
                        <a:pt x="60" y="302"/>
                      </a:lnTo>
                      <a:lnTo>
                        <a:pt x="59" y="276"/>
                      </a:lnTo>
                      <a:lnTo>
                        <a:pt x="66" y="269"/>
                      </a:lnTo>
                      <a:lnTo>
                        <a:pt x="80" y="265"/>
                      </a:lnTo>
                      <a:lnTo>
                        <a:pt x="93" y="268"/>
                      </a:lnTo>
                      <a:lnTo>
                        <a:pt x="101" y="268"/>
                      </a:lnTo>
                      <a:lnTo>
                        <a:pt x="106" y="263"/>
                      </a:lnTo>
                      <a:lnTo>
                        <a:pt x="112" y="243"/>
                      </a:lnTo>
                      <a:lnTo>
                        <a:pt x="130" y="208"/>
                      </a:lnTo>
                      <a:lnTo>
                        <a:pt x="134" y="197"/>
                      </a:lnTo>
                      <a:lnTo>
                        <a:pt x="132" y="187"/>
                      </a:lnTo>
                      <a:lnTo>
                        <a:pt x="138" y="178"/>
                      </a:lnTo>
                      <a:lnTo>
                        <a:pt x="154" y="167"/>
                      </a:lnTo>
                      <a:lnTo>
                        <a:pt x="160" y="155"/>
                      </a:lnTo>
                      <a:lnTo>
                        <a:pt x="159" y="127"/>
                      </a:lnTo>
                      <a:lnTo>
                        <a:pt x="166" y="111"/>
                      </a:lnTo>
                      <a:lnTo>
                        <a:pt x="179" y="100"/>
                      </a:lnTo>
                      <a:lnTo>
                        <a:pt x="194" y="92"/>
                      </a:lnTo>
                      <a:lnTo>
                        <a:pt x="204" y="84"/>
                      </a:lnTo>
                      <a:lnTo>
                        <a:pt x="211" y="70"/>
                      </a:lnTo>
                      <a:lnTo>
                        <a:pt x="231" y="66"/>
                      </a:lnTo>
                      <a:lnTo>
                        <a:pt x="242" y="63"/>
                      </a:lnTo>
                      <a:lnTo>
                        <a:pt x="258" y="68"/>
                      </a:lnTo>
                      <a:lnTo>
                        <a:pt x="263" y="63"/>
                      </a:lnTo>
                      <a:lnTo>
                        <a:pt x="259" y="47"/>
                      </a:lnTo>
                      <a:lnTo>
                        <a:pt x="264" y="33"/>
                      </a:lnTo>
                      <a:lnTo>
                        <a:pt x="275" y="28"/>
                      </a:lnTo>
                      <a:lnTo>
                        <a:pt x="281" y="21"/>
                      </a:lnTo>
                      <a:lnTo>
                        <a:pt x="281" y="9"/>
                      </a:lnTo>
                      <a:lnTo>
                        <a:pt x="290" y="5"/>
                      </a:lnTo>
                      <a:lnTo>
                        <a:pt x="294" y="0"/>
                      </a:lnTo>
                      <a:lnTo>
                        <a:pt x="297" y="0"/>
                      </a:lnTo>
                      <a:lnTo>
                        <a:pt x="310" y="6"/>
                      </a:lnTo>
                      <a:lnTo>
                        <a:pt x="322" y="20"/>
                      </a:lnTo>
                      <a:lnTo>
                        <a:pt x="326" y="37"/>
                      </a:lnTo>
                      <a:lnTo>
                        <a:pt x="331" y="45"/>
                      </a:lnTo>
                      <a:lnTo>
                        <a:pt x="347" y="47"/>
                      </a:lnTo>
                      <a:lnTo>
                        <a:pt x="354" y="79"/>
                      </a:lnTo>
                      <a:lnTo>
                        <a:pt x="355" y="100"/>
                      </a:lnTo>
                      <a:lnTo>
                        <a:pt x="351" y="128"/>
                      </a:lnTo>
                      <a:lnTo>
                        <a:pt x="351" y="136"/>
                      </a:lnTo>
                      <a:lnTo>
                        <a:pt x="342" y="163"/>
                      </a:lnTo>
                      <a:lnTo>
                        <a:pt x="333" y="174"/>
                      </a:lnTo>
                      <a:lnTo>
                        <a:pt x="326" y="177"/>
                      </a:lnTo>
                      <a:lnTo>
                        <a:pt x="322" y="187"/>
                      </a:lnTo>
                      <a:lnTo>
                        <a:pt x="311" y="198"/>
                      </a:lnTo>
                      <a:lnTo>
                        <a:pt x="307" y="217"/>
                      </a:lnTo>
                      <a:lnTo>
                        <a:pt x="301" y="231"/>
                      </a:lnTo>
                      <a:lnTo>
                        <a:pt x="305" y="247"/>
                      </a:lnTo>
                      <a:lnTo>
                        <a:pt x="304" y="256"/>
                      </a:lnTo>
                      <a:lnTo>
                        <a:pt x="294" y="273"/>
                      </a:lnTo>
                      <a:lnTo>
                        <a:pt x="299" y="278"/>
                      </a:lnTo>
                      <a:lnTo>
                        <a:pt x="312" y="264"/>
                      </a:lnTo>
                      <a:lnTo>
                        <a:pt x="323" y="258"/>
                      </a:lnTo>
                      <a:lnTo>
                        <a:pt x="342" y="257"/>
                      </a:lnTo>
                      <a:lnTo>
                        <a:pt x="361" y="256"/>
                      </a:lnTo>
                      <a:lnTo>
                        <a:pt x="361" y="267"/>
                      </a:lnTo>
                      <a:lnTo>
                        <a:pt x="366" y="281"/>
                      </a:lnTo>
                      <a:lnTo>
                        <a:pt x="367" y="301"/>
                      </a:lnTo>
                      <a:lnTo>
                        <a:pt x="381" y="311"/>
                      </a:lnTo>
                      <a:lnTo>
                        <a:pt x="397" y="319"/>
                      </a:lnTo>
                      <a:lnTo>
                        <a:pt x="391" y="346"/>
                      </a:lnTo>
                      <a:lnTo>
                        <a:pt x="387" y="366"/>
                      </a:lnTo>
                      <a:lnTo>
                        <a:pt x="402" y="369"/>
                      </a:lnTo>
                      <a:lnTo>
                        <a:pt x="420" y="375"/>
                      </a:lnTo>
                      <a:lnTo>
                        <a:pt x="423" y="387"/>
                      </a:lnTo>
                      <a:lnTo>
                        <a:pt x="441" y="404"/>
                      </a:lnTo>
                      <a:lnTo>
                        <a:pt x="461" y="402"/>
                      </a:lnTo>
                      <a:lnTo>
                        <a:pt x="476" y="389"/>
                      </a:lnTo>
                      <a:lnTo>
                        <a:pt x="488" y="391"/>
                      </a:lnTo>
                      <a:lnTo>
                        <a:pt x="489" y="397"/>
                      </a:lnTo>
                      <a:lnTo>
                        <a:pt x="488" y="402"/>
                      </a:lnTo>
                      <a:lnTo>
                        <a:pt x="483" y="409"/>
                      </a:lnTo>
                      <a:lnTo>
                        <a:pt x="456" y="427"/>
                      </a:lnTo>
                      <a:lnTo>
                        <a:pt x="456" y="432"/>
                      </a:lnTo>
                      <a:lnTo>
                        <a:pt x="458" y="440"/>
                      </a:lnTo>
                      <a:lnTo>
                        <a:pt x="452" y="441"/>
                      </a:lnTo>
                      <a:lnTo>
                        <a:pt x="445" y="443"/>
                      </a:lnTo>
                      <a:lnTo>
                        <a:pt x="440" y="447"/>
                      </a:lnTo>
                      <a:lnTo>
                        <a:pt x="439" y="453"/>
                      </a:lnTo>
                      <a:lnTo>
                        <a:pt x="433" y="456"/>
                      </a:lnTo>
                      <a:lnTo>
                        <a:pt x="426" y="464"/>
                      </a:lnTo>
                      <a:lnTo>
                        <a:pt x="420" y="477"/>
                      </a:lnTo>
                      <a:lnTo>
                        <a:pt x="407" y="480"/>
                      </a:lnTo>
                      <a:lnTo>
                        <a:pt x="398" y="485"/>
                      </a:lnTo>
                      <a:lnTo>
                        <a:pt x="383" y="496"/>
                      </a:lnTo>
                      <a:lnTo>
                        <a:pt x="372" y="502"/>
                      </a:lnTo>
                      <a:lnTo>
                        <a:pt x="361" y="513"/>
                      </a:lnTo>
                      <a:lnTo>
                        <a:pt x="350" y="517"/>
                      </a:lnTo>
                      <a:lnTo>
                        <a:pt x="332" y="518"/>
                      </a:lnTo>
                      <a:lnTo>
                        <a:pt x="318" y="520"/>
                      </a:lnTo>
                      <a:lnTo>
                        <a:pt x="304" y="559"/>
                      </a:lnTo>
                      <a:lnTo>
                        <a:pt x="302" y="571"/>
                      </a:lnTo>
                      <a:lnTo>
                        <a:pt x="304" y="581"/>
                      </a:lnTo>
                      <a:lnTo>
                        <a:pt x="295" y="588"/>
                      </a:lnTo>
                      <a:lnTo>
                        <a:pt x="296" y="595"/>
                      </a:lnTo>
                      <a:lnTo>
                        <a:pt x="302" y="612"/>
                      </a:lnTo>
                      <a:lnTo>
                        <a:pt x="312" y="635"/>
                      </a:lnTo>
                      <a:lnTo>
                        <a:pt x="335" y="652"/>
                      </a:lnTo>
                      <a:lnTo>
                        <a:pt x="343" y="662"/>
                      </a:lnTo>
                      <a:lnTo>
                        <a:pt x="345" y="678"/>
                      </a:lnTo>
                      <a:lnTo>
                        <a:pt x="344" y="693"/>
                      </a:lnTo>
                      <a:lnTo>
                        <a:pt x="347" y="705"/>
                      </a:lnTo>
                      <a:lnTo>
                        <a:pt x="356" y="706"/>
                      </a:lnTo>
                      <a:lnTo>
                        <a:pt x="360" y="716"/>
                      </a:lnTo>
                      <a:lnTo>
                        <a:pt x="354" y="722"/>
                      </a:lnTo>
                      <a:lnTo>
                        <a:pt x="348" y="736"/>
                      </a:lnTo>
                      <a:lnTo>
                        <a:pt x="345" y="744"/>
                      </a:lnTo>
                      <a:lnTo>
                        <a:pt x="345" y="757"/>
                      </a:lnTo>
                      <a:lnTo>
                        <a:pt x="342" y="760"/>
                      </a:lnTo>
                      <a:lnTo>
                        <a:pt x="333" y="768"/>
                      </a:lnTo>
                      <a:lnTo>
                        <a:pt x="329" y="776"/>
                      </a:lnTo>
                      <a:lnTo>
                        <a:pt x="328" y="790"/>
                      </a:lnTo>
                      <a:lnTo>
                        <a:pt x="334" y="807"/>
                      </a:lnTo>
                      <a:lnTo>
                        <a:pt x="353" y="819"/>
                      </a:lnTo>
                      <a:lnTo>
                        <a:pt x="371" y="839"/>
                      </a:lnTo>
                      <a:lnTo>
                        <a:pt x="374" y="845"/>
                      </a:lnTo>
                      <a:lnTo>
                        <a:pt x="376" y="854"/>
                      </a:lnTo>
                      <a:lnTo>
                        <a:pt x="377" y="887"/>
                      </a:lnTo>
                      <a:lnTo>
                        <a:pt x="383" y="905"/>
                      </a:lnTo>
                      <a:lnTo>
                        <a:pt x="386" y="907"/>
                      </a:lnTo>
                      <a:lnTo>
                        <a:pt x="391" y="922"/>
                      </a:lnTo>
                      <a:lnTo>
                        <a:pt x="406" y="956"/>
                      </a:lnTo>
                      <a:lnTo>
                        <a:pt x="404" y="963"/>
                      </a:lnTo>
                      <a:lnTo>
                        <a:pt x="386" y="993"/>
                      </a:lnTo>
                      <a:lnTo>
                        <a:pt x="375" y="1000"/>
                      </a:lnTo>
                      <a:lnTo>
                        <a:pt x="367" y="1012"/>
                      </a:lnTo>
                      <a:lnTo>
                        <a:pt x="365" y="1027"/>
                      </a:lnTo>
                      <a:lnTo>
                        <a:pt x="360" y="1039"/>
                      </a:lnTo>
                      <a:lnTo>
                        <a:pt x="355" y="1047"/>
                      </a:lnTo>
                      <a:lnTo>
                        <a:pt x="354" y="1050"/>
                      </a:lnTo>
                      <a:lnTo>
                        <a:pt x="344" y="1043"/>
                      </a:lnTo>
                      <a:lnTo>
                        <a:pt x="345" y="1031"/>
                      </a:lnTo>
                      <a:lnTo>
                        <a:pt x="349" y="1017"/>
                      </a:lnTo>
                      <a:lnTo>
                        <a:pt x="359" y="993"/>
                      </a:lnTo>
                      <a:lnTo>
                        <a:pt x="359" y="981"/>
                      </a:lnTo>
                      <a:lnTo>
                        <a:pt x="361" y="964"/>
                      </a:lnTo>
                      <a:lnTo>
                        <a:pt x="351" y="958"/>
                      </a:lnTo>
                      <a:lnTo>
                        <a:pt x="344" y="953"/>
                      </a:lnTo>
                      <a:lnTo>
                        <a:pt x="345" y="946"/>
                      </a:lnTo>
                      <a:lnTo>
                        <a:pt x="354" y="947"/>
                      </a:lnTo>
                      <a:lnTo>
                        <a:pt x="351" y="937"/>
                      </a:lnTo>
                      <a:lnTo>
                        <a:pt x="354" y="924"/>
                      </a:lnTo>
                      <a:lnTo>
                        <a:pt x="349" y="897"/>
                      </a:lnTo>
                      <a:lnTo>
                        <a:pt x="338" y="870"/>
                      </a:lnTo>
                      <a:lnTo>
                        <a:pt x="333" y="851"/>
                      </a:lnTo>
                      <a:lnTo>
                        <a:pt x="329" y="855"/>
                      </a:lnTo>
                      <a:lnTo>
                        <a:pt x="327" y="860"/>
                      </a:lnTo>
                      <a:lnTo>
                        <a:pt x="322" y="844"/>
                      </a:lnTo>
                      <a:lnTo>
                        <a:pt x="317" y="821"/>
                      </a:lnTo>
                      <a:lnTo>
                        <a:pt x="311" y="805"/>
                      </a:lnTo>
                      <a:lnTo>
                        <a:pt x="306" y="784"/>
                      </a:lnTo>
                      <a:lnTo>
                        <a:pt x="301" y="759"/>
                      </a:lnTo>
                      <a:lnTo>
                        <a:pt x="297" y="721"/>
                      </a:lnTo>
                      <a:lnTo>
                        <a:pt x="299" y="695"/>
                      </a:lnTo>
                      <a:lnTo>
                        <a:pt x="295" y="695"/>
                      </a:lnTo>
                      <a:lnTo>
                        <a:pt x="291" y="694"/>
                      </a:lnTo>
                      <a:lnTo>
                        <a:pt x="279" y="688"/>
                      </a:lnTo>
                      <a:lnTo>
                        <a:pt x="269" y="679"/>
                      </a:lnTo>
                      <a:lnTo>
                        <a:pt x="262" y="671"/>
                      </a:lnTo>
                      <a:lnTo>
                        <a:pt x="254" y="673"/>
                      </a:lnTo>
                      <a:lnTo>
                        <a:pt x="251" y="653"/>
                      </a:lnTo>
                      <a:lnTo>
                        <a:pt x="246" y="642"/>
                      </a:lnTo>
                      <a:lnTo>
                        <a:pt x="246" y="662"/>
                      </a:lnTo>
                      <a:lnTo>
                        <a:pt x="241" y="685"/>
                      </a:lnTo>
                      <a:lnTo>
                        <a:pt x="226" y="693"/>
                      </a:lnTo>
                      <a:lnTo>
                        <a:pt x="211" y="700"/>
                      </a:lnTo>
                      <a:lnTo>
                        <a:pt x="200" y="710"/>
                      </a:lnTo>
                      <a:lnTo>
                        <a:pt x="189" y="717"/>
                      </a:lnTo>
                      <a:lnTo>
                        <a:pt x="179" y="726"/>
                      </a:lnTo>
                      <a:lnTo>
                        <a:pt x="170" y="738"/>
                      </a:lnTo>
                      <a:lnTo>
                        <a:pt x="165" y="733"/>
                      </a:lnTo>
                      <a:lnTo>
                        <a:pt x="159" y="735"/>
                      </a:lnTo>
                      <a:lnTo>
                        <a:pt x="154" y="728"/>
                      </a:lnTo>
                      <a:lnTo>
                        <a:pt x="146" y="738"/>
                      </a:lnTo>
                      <a:lnTo>
                        <a:pt x="136" y="733"/>
                      </a:lnTo>
                      <a:lnTo>
                        <a:pt x="127" y="730"/>
                      </a:lnTo>
                      <a:lnTo>
                        <a:pt x="122" y="726"/>
                      </a:lnTo>
                      <a:lnTo>
                        <a:pt x="125" y="717"/>
                      </a:lnTo>
                      <a:lnTo>
                        <a:pt x="116" y="725"/>
                      </a:lnTo>
                      <a:lnTo>
                        <a:pt x="109" y="721"/>
                      </a:lnTo>
                      <a:lnTo>
                        <a:pt x="112" y="704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39" name="Freeform 144"/>
                <p:cNvSpPr>
                  <a:spLocks/>
                </p:cNvSpPr>
                <p:nvPr/>
              </p:nvSpPr>
              <p:spPr bwMode="gray">
                <a:xfrm>
                  <a:off x="6334375" y="2742361"/>
                  <a:ext cx="102967" cy="82896"/>
                </a:xfrm>
                <a:custGeom>
                  <a:avLst/>
                  <a:gdLst>
                    <a:gd name="T0" fmla="*/ 10245 w 290"/>
                    <a:gd name="T1" fmla="*/ 19163 h 237"/>
                    <a:gd name="T2" fmla="*/ 9354 w 290"/>
                    <a:gd name="T3" fmla="*/ 18755 h 237"/>
                    <a:gd name="T4" fmla="*/ 7127 w 290"/>
                    <a:gd name="T5" fmla="*/ 18755 h 237"/>
                    <a:gd name="T6" fmla="*/ 6236 w 290"/>
                    <a:gd name="T7" fmla="*/ 17940 h 237"/>
                    <a:gd name="T8" fmla="*/ 6682 w 290"/>
                    <a:gd name="T9" fmla="*/ 16309 h 237"/>
                    <a:gd name="T10" fmla="*/ 5791 w 290"/>
                    <a:gd name="T11" fmla="*/ 16309 h 237"/>
                    <a:gd name="T12" fmla="*/ 4454 w 290"/>
                    <a:gd name="T13" fmla="*/ 17124 h 237"/>
                    <a:gd name="T14" fmla="*/ 3564 w 290"/>
                    <a:gd name="T15" fmla="*/ 15086 h 237"/>
                    <a:gd name="T16" fmla="*/ 4009 w 290"/>
                    <a:gd name="T17" fmla="*/ 14678 h 237"/>
                    <a:gd name="T18" fmla="*/ 3118 w 290"/>
                    <a:gd name="T19" fmla="*/ 13863 h 237"/>
                    <a:gd name="T20" fmla="*/ 3118 w 290"/>
                    <a:gd name="T21" fmla="*/ 12639 h 237"/>
                    <a:gd name="T22" fmla="*/ 2227 w 290"/>
                    <a:gd name="T23" fmla="*/ 10601 h 237"/>
                    <a:gd name="T24" fmla="*/ 445 w 290"/>
                    <a:gd name="T25" fmla="*/ 7747 h 237"/>
                    <a:gd name="T26" fmla="*/ 445 w 290"/>
                    <a:gd name="T27" fmla="*/ 5300 h 237"/>
                    <a:gd name="T28" fmla="*/ 1336 w 290"/>
                    <a:gd name="T29" fmla="*/ 4077 h 237"/>
                    <a:gd name="T30" fmla="*/ 3118 w 290"/>
                    <a:gd name="T31" fmla="*/ 2446 h 237"/>
                    <a:gd name="T32" fmla="*/ 4454 w 290"/>
                    <a:gd name="T33" fmla="*/ 1631 h 237"/>
                    <a:gd name="T34" fmla="*/ 8463 w 290"/>
                    <a:gd name="T35" fmla="*/ 2039 h 237"/>
                    <a:gd name="T36" fmla="*/ 12472 w 290"/>
                    <a:gd name="T37" fmla="*/ 1631 h 237"/>
                    <a:gd name="T38" fmla="*/ 14254 w 290"/>
                    <a:gd name="T39" fmla="*/ 2039 h 237"/>
                    <a:gd name="T40" fmla="*/ 16481 w 290"/>
                    <a:gd name="T41" fmla="*/ 2854 h 237"/>
                    <a:gd name="T42" fmla="*/ 18263 w 290"/>
                    <a:gd name="T43" fmla="*/ 3262 h 237"/>
                    <a:gd name="T44" fmla="*/ 20045 w 290"/>
                    <a:gd name="T45" fmla="*/ 1223 h 237"/>
                    <a:gd name="T46" fmla="*/ 21381 w 290"/>
                    <a:gd name="T47" fmla="*/ 815 h 237"/>
                    <a:gd name="T48" fmla="*/ 23163 w 290"/>
                    <a:gd name="T49" fmla="*/ 1631 h 237"/>
                    <a:gd name="T50" fmla="*/ 24945 w 290"/>
                    <a:gd name="T51" fmla="*/ 408 h 237"/>
                    <a:gd name="T52" fmla="*/ 24945 w 290"/>
                    <a:gd name="T53" fmla="*/ 2854 h 237"/>
                    <a:gd name="T54" fmla="*/ 25835 w 290"/>
                    <a:gd name="T55" fmla="*/ 5300 h 237"/>
                    <a:gd name="T56" fmla="*/ 25390 w 290"/>
                    <a:gd name="T57" fmla="*/ 10601 h 237"/>
                    <a:gd name="T58" fmla="*/ 24054 w 290"/>
                    <a:gd name="T59" fmla="*/ 11009 h 237"/>
                    <a:gd name="T60" fmla="*/ 22717 w 290"/>
                    <a:gd name="T61" fmla="*/ 11824 h 237"/>
                    <a:gd name="T62" fmla="*/ 20490 w 290"/>
                    <a:gd name="T63" fmla="*/ 12639 h 237"/>
                    <a:gd name="T64" fmla="*/ 18708 w 290"/>
                    <a:gd name="T65" fmla="*/ 13455 h 237"/>
                    <a:gd name="T66" fmla="*/ 17372 w 290"/>
                    <a:gd name="T67" fmla="*/ 14678 h 237"/>
                    <a:gd name="T68" fmla="*/ 17818 w 290"/>
                    <a:gd name="T69" fmla="*/ 16309 h 237"/>
                    <a:gd name="T70" fmla="*/ 16481 w 290"/>
                    <a:gd name="T71" fmla="*/ 16717 h 237"/>
                    <a:gd name="T72" fmla="*/ 14699 w 290"/>
                    <a:gd name="T73" fmla="*/ 17532 h 237"/>
                    <a:gd name="T74" fmla="*/ 13363 w 290"/>
                    <a:gd name="T75" fmla="*/ 17532 h 237"/>
                    <a:gd name="T76" fmla="*/ 12918 w 290"/>
                    <a:gd name="T77" fmla="*/ 18755 h 237"/>
                    <a:gd name="T78" fmla="*/ 11136 w 290"/>
                    <a:gd name="T79" fmla="*/ 19163 h 237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90"/>
                    <a:gd name="T121" fmla="*/ 0 h 237"/>
                    <a:gd name="T122" fmla="*/ 290 w 290"/>
                    <a:gd name="T123" fmla="*/ 237 h 237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90" h="237">
                      <a:moveTo>
                        <a:pt x="120" y="237"/>
                      </a:moveTo>
                      <a:lnTo>
                        <a:pt x="115" y="236"/>
                      </a:lnTo>
                      <a:lnTo>
                        <a:pt x="112" y="234"/>
                      </a:lnTo>
                      <a:lnTo>
                        <a:pt x="106" y="230"/>
                      </a:lnTo>
                      <a:lnTo>
                        <a:pt x="89" y="229"/>
                      </a:lnTo>
                      <a:lnTo>
                        <a:pt x="82" y="232"/>
                      </a:lnTo>
                      <a:lnTo>
                        <a:pt x="72" y="232"/>
                      </a:lnTo>
                      <a:lnTo>
                        <a:pt x="72" y="221"/>
                      </a:lnTo>
                      <a:lnTo>
                        <a:pt x="77" y="214"/>
                      </a:lnTo>
                      <a:lnTo>
                        <a:pt x="75" y="204"/>
                      </a:lnTo>
                      <a:lnTo>
                        <a:pt x="69" y="202"/>
                      </a:lnTo>
                      <a:lnTo>
                        <a:pt x="64" y="203"/>
                      </a:lnTo>
                      <a:lnTo>
                        <a:pt x="59" y="211"/>
                      </a:lnTo>
                      <a:lnTo>
                        <a:pt x="50" y="214"/>
                      </a:lnTo>
                      <a:lnTo>
                        <a:pt x="41" y="188"/>
                      </a:lnTo>
                      <a:lnTo>
                        <a:pt x="41" y="186"/>
                      </a:lnTo>
                      <a:lnTo>
                        <a:pt x="45" y="189"/>
                      </a:lnTo>
                      <a:lnTo>
                        <a:pt x="45" y="184"/>
                      </a:lnTo>
                      <a:lnTo>
                        <a:pt x="36" y="173"/>
                      </a:lnTo>
                      <a:lnTo>
                        <a:pt x="36" y="172"/>
                      </a:lnTo>
                      <a:lnTo>
                        <a:pt x="37" y="166"/>
                      </a:lnTo>
                      <a:lnTo>
                        <a:pt x="37" y="157"/>
                      </a:lnTo>
                      <a:lnTo>
                        <a:pt x="31" y="143"/>
                      </a:lnTo>
                      <a:lnTo>
                        <a:pt x="25" y="129"/>
                      </a:lnTo>
                      <a:lnTo>
                        <a:pt x="10" y="118"/>
                      </a:lnTo>
                      <a:lnTo>
                        <a:pt x="3" y="96"/>
                      </a:lnTo>
                      <a:lnTo>
                        <a:pt x="0" y="85"/>
                      </a:lnTo>
                      <a:lnTo>
                        <a:pt x="3" y="67"/>
                      </a:lnTo>
                      <a:lnTo>
                        <a:pt x="10" y="63"/>
                      </a:lnTo>
                      <a:lnTo>
                        <a:pt x="15" y="52"/>
                      </a:lnTo>
                      <a:lnTo>
                        <a:pt x="23" y="48"/>
                      </a:lnTo>
                      <a:lnTo>
                        <a:pt x="37" y="28"/>
                      </a:lnTo>
                      <a:lnTo>
                        <a:pt x="43" y="22"/>
                      </a:lnTo>
                      <a:lnTo>
                        <a:pt x="52" y="19"/>
                      </a:lnTo>
                      <a:lnTo>
                        <a:pt x="79" y="21"/>
                      </a:lnTo>
                      <a:lnTo>
                        <a:pt x="95" y="24"/>
                      </a:lnTo>
                      <a:lnTo>
                        <a:pt x="113" y="21"/>
                      </a:lnTo>
                      <a:lnTo>
                        <a:pt x="141" y="20"/>
                      </a:lnTo>
                      <a:lnTo>
                        <a:pt x="150" y="30"/>
                      </a:lnTo>
                      <a:lnTo>
                        <a:pt x="161" y="25"/>
                      </a:lnTo>
                      <a:lnTo>
                        <a:pt x="169" y="33"/>
                      </a:lnTo>
                      <a:lnTo>
                        <a:pt x="187" y="37"/>
                      </a:lnTo>
                      <a:lnTo>
                        <a:pt x="198" y="41"/>
                      </a:lnTo>
                      <a:lnTo>
                        <a:pt x="207" y="38"/>
                      </a:lnTo>
                      <a:lnTo>
                        <a:pt x="207" y="24"/>
                      </a:lnTo>
                      <a:lnTo>
                        <a:pt x="223" y="15"/>
                      </a:lnTo>
                      <a:lnTo>
                        <a:pt x="234" y="11"/>
                      </a:lnTo>
                      <a:lnTo>
                        <a:pt x="242" y="11"/>
                      </a:lnTo>
                      <a:lnTo>
                        <a:pt x="251" y="20"/>
                      </a:lnTo>
                      <a:lnTo>
                        <a:pt x="258" y="20"/>
                      </a:lnTo>
                      <a:lnTo>
                        <a:pt x="268" y="15"/>
                      </a:lnTo>
                      <a:lnTo>
                        <a:pt x="279" y="6"/>
                      </a:lnTo>
                      <a:lnTo>
                        <a:pt x="283" y="0"/>
                      </a:lnTo>
                      <a:lnTo>
                        <a:pt x="281" y="37"/>
                      </a:lnTo>
                      <a:lnTo>
                        <a:pt x="283" y="53"/>
                      </a:lnTo>
                      <a:lnTo>
                        <a:pt x="290" y="68"/>
                      </a:lnTo>
                      <a:lnTo>
                        <a:pt x="289" y="117"/>
                      </a:lnTo>
                      <a:lnTo>
                        <a:pt x="287" y="129"/>
                      </a:lnTo>
                      <a:lnTo>
                        <a:pt x="281" y="138"/>
                      </a:lnTo>
                      <a:lnTo>
                        <a:pt x="272" y="135"/>
                      </a:lnTo>
                      <a:lnTo>
                        <a:pt x="262" y="144"/>
                      </a:lnTo>
                      <a:lnTo>
                        <a:pt x="255" y="148"/>
                      </a:lnTo>
                      <a:lnTo>
                        <a:pt x="247" y="148"/>
                      </a:lnTo>
                      <a:lnTo>
                        <a:pt x="229" y="156"/>
                      </a:lnTo>
                      <a:lnTo>
                        <a:pt x="228" y="166"/>
                      </a:lnTo>
                      <a:lnTo>
                        <a:pt x="209" y="167"/>
                      </a:lnTo>
                      <a:lnTo>
                        <a:pt x="199" y="171"/>
                      </a:lnTo>
                      <a:lnTo>
                        <a:pt x="197" y="184"/>
                      </a:lnTo>
                      <a:lnTo>
                        <a:pt x="198" y="193"/>
                      </a:lnTo>
                      <a:lnTo>
                        <a:pt x="199" y="202"/>
                      </a:lnTo>
                      <a:lnTo>
                        <a:pt x="193" y="204"/>
                      </a:lnTo>
                      <a:lnTo>
                        <a:pt x="185" y="207"/>
                      </a:lnTo>
                      <a:lnTo>
                        <a:pt x="174" y="214"/>
                      </a:lnTo>
                      <a:lnTo>
                        <a:pt x="164" y="218"/>
                      </a:lnTo>
                      <a:lnTo>
                        <a:pt x="156" y="215"/>
                      </a:lnTo>
                      <a:lnTo>
                        <a:pt x="149" y="215"/>
                      </a:lnTo>
                      <a:lnTo>
                        <a:pt x="148" y="225"/>
                      </a:lnTo>
                      <a:lnTo>
                        <a:pt x="143" y="230"/>
                      </a:lnTo>
                      <a:lnTo>
                        <a:pt x="136" y="234"/>
                      </a:lnTo>
                      <a:lnTo>
                        <a:pt x="125" y="236"/>
                      </a:lnTo>
                      <a:lnTo>
                        <a:pt x="120" y="237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40" name="Freeform 145"/>
                <p:cNvSpPr>
                  <a:spLocks/>
                </p:cNvSpPr>
                <p:nvPr/>
              </p:nvSpPr>
              <p:spPr bwMode="gray">
                <a:xfrm>
                  <a:off x="6294192" y="2583363"/>
                  <a:ext cx="139383" cy="172588"/>
                </a:xfrm>
                <a:custGeom>
                  <a:avLst/>
                  <a:gdLst>
                    <a:gd name="T0" fmla="*/ 11936 w 398"/>
                    <a:gd name="T1" fmla="*/ 3290 h 490"/>
                    <a:gd name="T2" fmla="*/ 12820 w 398"/>
                    <a:gd name="T3" fmla="*/ 5757 h 490"/>
                    <a:gd name="T4" fmla="*/ 15915 w 398"/>
                    <a:gd name="T5" fmla="*/ 8224 h 490"/>
                    <a:gd name="T6" fmla="*/ 19894 w 398"/>
                    <a:gd name="T7" fmla="*/ 8635 h 490"/>
                    <a:gd name="T8" fmla="*/ 21220 w 398"/>
                    <a:gd name="T9" fmla="*/ 10280 h 490"/>
                    <a:gd name="T10" fmla="*/ 22104 w 398"/>
                    <a:gd name="T11" fmla="*/ 12336 h 490"/>
                    <a:gd name="T12" fmla="*/ 19452 w 398"/>
                    <a:gd name="T13" fmla="*/ 13570 h 490"/>
                    <a:gd name="T14" fmla="*/ 18125 w 398"/>
                    <a:gd name="T15" fmla="*/ 14803 h 490"/>
                    <a:gd name="T16" fmla="*/ 19452 w 398"/>
                    <a:gd name="T17" fmla="*/ 16037 h 490"/>
                    <a:gd name="T18" fmla="*/ 23872 w 398"/>
                    <a:gd name="T19" fmla="*/ 19738 h 490"/>
                    <a:gd name="T20" fmla="*/ 27409 w 398"/>
                    <a:gd name="T21" fmla="*/ 23849 h 490"/>
                    <a:gd name="T22" fmla="*/ 30061 w 398"/>
                    <a:gd name="T23" fmla="*/ 25905 h 490"/>
                    <a:gd name="T24" fmla="*/ 30061 w 398"/>
                    <a:gd name="T25" fmla="*/ 27139 h 490"/>
                    <a:gd name="T26" fmla="*/ 32714 w 398"/>
                    <a:gd name="T27" fmla="*/ 29195 h 490"/>
                    <a:gd name="T28" fmla="*/ 34924 w 398"/>
                    <a:gd name="T29" fmla="*/ 33718 h 490"/>
                    <a:gd name="T30" fmla="*/ 34482 w 398"/>
                    <a:gd name="T31" fmla="*/ 37419 h 490"/>
                    <a:gd name="T32" fmla="*/ 32272 w 398"/>
                    <a:gd name="T33" fmla="*/ 38653 h 490"/>
                    <a:gd name="T34" fmla="*/ 29619 w 398"/>
                    <a:gd name="T35" fmla="*/ 38241 h 490"/>
                    <a:gd name="T36" fmla="*/ 27409 w 398"/>
                    <a:gd name="T37" fmla="*/ 40297 h 490"/>
                    <a:gd name="T38" fmla="*/ 24314 w 398"/>
                    <a:gd name="T39" fmla="*/ 39064 h 490"/>
                    <a:gd name="T40" fmla="*/ 25199 w 398"/>
                    <a:gd name="T41" fmla="*/ 37830 h 490"/>
                    <a:gd name="T42" fmla="*/ 25641 w 398"/>
                    <a:gd name="T43" fmla="*/ 32896 h 490"/>
                    <a:gd name="T44" fmla="*/ 24314 w 398"/>
                    <a:gd name="T45" fmla="*/ 31251 h 490"/>
                    <a:gd name="T46" fmla="*/ 22546 w 398"/>
                    <a:gd name="T47" fmla="*/ 30017 h 490"/>
                    <a:gd name="T48" fmla="*/ 21662 w 398"/>
                    <a:gd name="T49" fmla="*/ 26317 h 490"/>
                    <a:gd name="T50" fmla="*/ 20778 w 398"/>
                    <a:gd name="T51" fmla="*/ 23438 h 490"/>
                    <a:gd name="T52" fmla="*/ 19452 w 398"/>
                    <a:gd name="T53" fmla="*/ 22205 h 490"/>
                    <a:gd name="T54" fmla="*/ 17241 w 398"/>
                    <a:gd name="T55" fmla="*/ 19738 h 490"/>
                    <a:gd name="T56" fmla="*/ 14147 w 398"/>
                    <a:gd name="T57" fmla="*/ 20149 h 490"/>
                    <a:gd name="T58" fmla="*/ 12820 w 398"/>
                    <a:gd name="T59" fmla="*/ 21382 h 490"/>
                    <a:gd name="T60" fmla="*/ 10168 w 398"/>
                    <a:gd name="T61" fmla="*/ 21382 h 490"/>
                    <a:gd name="T62" fmla="*/ 7957 w 398"/>
                    <a:gd name="T63" fmla="*/ 20560 h 490"/>
                    <a:gd name="T64" fmla="*/ 4863 w 398"/>
                    <a:gd name="T65" fmla="*/ 22616 h 490"/>
                    <a:gd name="T66" fmla="*/ 3979 w 398"/>
                    <a:gd name="T67" fmla="*/ 23027 h 490"/>
                    <a:gd name="T68" fmla="*/ 4421 w 398"/>
                    <a:gd name="T69" fmla="*/ 18915 h 490"/>
                    <a:gd name="T70" fmla="*/ 4863 w 398"/>
                    <a:gd name="T71" fmla="*/ 16448 h 490"/>
                    <a:gd name="T72" fmla="*/ 4421 w 398"/>
                    <a:gd name="T73" fmla="*/ 13570 h 490"/>
                    <a:gd name="T74" fmla="*/ 1768 w 398"/>
                    <a:gd name="T75" fmla="*/ 13570 h 490"/>
                    <a:gd name="T76" fmla="*/ 884 w 398"/>
                    <a:gd name="T77" fmla="*/ 9869 h 490"/>
                    <a:gd name="T78" fmla="*/ 0 w 398"/>
                    <a:gd name="T79" fmla="*/ 9458 h 490"/>
                    <a:gd name="T80" fmla="*/ 442 w 398"/>
                    <a:gd name="T81" fmla="*/ 8224 h 490"/>
                    <a:gd name="T82" fmla="*/ 2210 w 398"/>
                    <a:gd name="T83" fmla="*/ 7402 h 490"/>
                    <a:gd name="T84" fmla="*/ 4421 w 398"/>
                    <a:gd name="T85" fmla="*/ 4934 h 490"/>
                    <a:gd name="T86" fmla="*/ 5305 w 398"/>
                    <a:gd name="T87" fmla="*/ 6168 h 490"/>
                    <a:gd name="T88" fmla="*/ 7515 w 398"/>
                    <a:gd name="T89" fmla="*/ 4112 h 490"/>
                    <a:gd name="T90" fmla="*/ 6631 w 398"/>
                    <a:gd name="T91" fmla="*/ 411 h 490"/>
                    <a:gd name="T92" fmla="*/ 9284 w 398"/>
                    <a:gd name="T93" fmla="*/ 411 h 49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w 398"/>
                    <a:gd name="T142" fmla="*/ 0 h 490"/>
                    <a:gd name="T143" fmla="*/ 398 w 398"/>
                    <a:gd name="T144" fmla="*/ 490 h 490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T141" t="T142" r="T143" b="T144"/>
                  <a:pathLst>
                    <a:path w="398" h="490">
                      <a:moveTo>
                        <a:pt x="106" y="3"/>
                      </a:moveTo>
                      <a:lnTo>
                        <a:pt x="118" y="19"/>
                      </a:lnTo>
                      <a:lnTo>
                        <a:pt x="135" y="39"/>
                      </a:lnTo>
                      <a:lnTo>
                        <a:pt x="145" y="49"/>
                      </a:lnTo>
                      <a:lnTo>
                        <a:pt x="150" y="59"/>
                      </a:lnTo>
                      <a:lnTo>
                        <a:pt x="147" y="71"/>
                      </a:lnTo>
                      <a:lnTo>
                        <a:pt x="149" y="79"/>
                      </a:lnTo>
                      <a:lnTo>
                        <a:pt x="163" y="94"/>
                      </a:lnTo>
                      <a:lnTo>
                        <a:pt x="183" y="98"/>
                      </a:lnTo>
                      <a:lnTo>
                        <a:pt x="203" y="93"/>
                      </a:lnTo>
                      <a:lnTo>
                        <a:pt x="219" y="94"/>
                      </a:lnTo>
                      <a:lnTo>
                        <a:pt x="228" y="105"/>
                      </a:lnTo>
                      <a:lnTo>
                        <a:pt x="233" y="114"/>
                      </a:lnTo>
                      <a:lnTo>
                        <a:pt x="235" y="121"/>
                      </a:lnTo>
                      <a:lnTo>
                        <a:pt x="243" y="127"/>
                      </a:lnTo>
                      <a:lnTo>
                        <a:pt x="247" y="136"/>
                      </a:lnTo>
                      <a:lnTo>
                        <a:pt x="253" y="142"/>
                      </a:lnTo>
                      <a:lnTo>
                        <a:pt x="252" y="151"/>
                      </a:lnTo>
                      <a:lnTo>
                        <a:pt x="236" y="167"/>
                      </a:lnTo>
                      <a:lnTo>
                        <a:pt x="231" y="167"/>
                      </a:lnTo>
                      <a:lnTo>
                        <a:pt x="220" y="164"/>
                      </a:lnTo>
                      <a:lnTo>
                        <a:pt x="213" y="167"/>
                      </a:lnTo>
                      <a:lnTo>
                        <a:pt x="209" y="172"/>
                      </a:lnTo>
                      <a:lnTo>
                        <a:pt x="205" y="181"/>
                      </a:lnTo>
                      <a:lnTo>
                        <a:pt x="206" y="188"/>
                      </a:lnTo>
                      <a:lnTo>
                        <a:pt x="213" y="190"/>
                      </a:lnTo>
                      <a:lnTo>
                        <a:pt x="221" y="196"/>
                      </a:lnTo>
                      <a:lnTo>
                        <a:pt x="240" y="206"/>
                      </a:lnTo>
                      <a:lnTo>
                        <a:pt x="267" y="226"/>
                      </a:lnTo>
                      <a:lnTo>
                        <a:pt x="271" y="239"/>
                      </a:lnTo>
                      <a:lnTo>
                        <a:pt x="294" y="260"/>
                      </a:lnTo>
                      <a:lnTo>
                        <a:pt x="297" y="270"/>
                      </a:lnTo>
                      <a:lnTo>
                        <a:pt x="314" y="290"/>
                      </a:lnTo>
                      <a:lnTo>
                        <a:pt x="319" y="291"/>
                      </a:lnTo>
                      <a:lnTo>
                        <a:pt x="337" y="303"/>
                      </a:lnTo>
                      <a:lnTo>
                        <a:pt x="342" y="317"/>
                      </a:lnTo>
                      <a:lnTo>
                        <a:pt x="345" y="329"/>
                      </a:lnTo>
                      <a:lnTo>
                        <a:pt x="344" y="330"/>
                      </a:lnTo>
                      <a:lnTo>
                        <a:pt x="345" y="331"/>
                      </a:lnTo>
                      <a:lnTo>
                        <a:pt x="349" y="345"/>
                      </a:lnTo>
                      <a:lnTo>
                        <a:pt x="357" y="345"/>
                      </a:lnTo>
                      <a:lnTo>
                        <a:pt x="371" y="355"/>
                      </a:lnTo>
                      <a:lnTo>
                        <a:pt x="380" y="363"/>
                      </a:lnTo>
                      <a:lnTo>
                        <a:pt x="384" y="380"/>
                      </a:lnTo>
                      <a:lnTo>
                        <a:pt x="397" y="409"/>
                      </a:lnTo>
                      <a:lnTo>
                        <a:pt x="398" y="416"/>
                      </a:lnTo>
                      <a:lnTo>
                        <a:pt x="398" y="449"/>
                      </a:lnTo>
                      <a:lnTo>
                        <a:pt x="394" y="455"/>
                      </a:lnTo>
                      <a:lnTo>
                        <a:pt x="383" y="464"/>
                      </a:lnTo>
                      <a:lnTo>
                        <a:pt x="373" y="469"/>
                      </a:lnTo>
                      <a:lnTo>
                        <a:pt x="366" y="469"/>
                      </a:lnTo>
                      <a:lnTo>
                        <a:pt x="357" y="460"/>
                      </a:lnTo>
                      <a:lnTo>
                        <a:pt x="349" y="460"/>
                      </a:lnTo>
                      <a:lnTo>
                        <a:pt x="338" y="464"/>
                      </a:lnTo>
                      <a:lnTo>
                        <a:pt x="322" y="473"/>
                      </a:lnTo>
                      <a:lnTo>
                        <a:pt x="322" y="487"/>
                      </a:lnTo>
                      <a:lnTo>
                        <a:pt x="313" y="490"/>
                      </a:lnTo>
                      <a:lnTo>
                        <a:pt x="302" y="486"/>
                      </a:lnTo>
                      <a:lnTo>
                        <a:pt x="284" y="482"/>
                      </a:lnTo>
                      <a:lnTo>
                        <a:pt x="276" y="474"/>
                      </a:lnTo>
                      <a:lnTo>
                        <a:pt x="276" y="470"/>
                      </a:lnTo>
                      <a:lnTo>
                        <a:pt x="280" y="470"/>
                      </a:lnTo>
                      <a:lnTo>
                        <a:pt x="287" y="459"/>
                      </a:lnTo>
                      <a:lnTo>
                        <a:pt x="287" y="417"/>
                      </a:lnTo>
                      <a:lnTo>
                        <a:pt x="291" y="407"/>
                      </a:lnTo>
                      <a:lnTo>
                        <a:pt x="290" y="398"/>
                      </a:lnTo>
                      <a:lnTo>
                        <a:pt x="289" y="391"/>
                      </a:lnTo>
                      <a:lnTo>
                        <a:pt x="284" y="385"/>
                      </a:lnTo>
                      <a:lnTo>
                        <a:pt x="276" y="380"/>
                      </a:lnTo>
                      <a:lnTo>
                        <a:pt x="274" y="373"/>
                      </a:lnTo>
                      <a:lnTo>
                        <a:pt x="264" y="372"/>
                      </a:lnTo>
                      <a:lnTo>
                        <a:pt x="257" y="367"/>
                      </a:lnTo>
                      <a:lnTo>
                        <a:pt x="249" y="357"/>
                      </a:lnTo>
                      <a:lnTo>
                        <a:pt x="246" y="346"/>
                      </a:lnTo>
                      <a:lnTo>
                        <a:pt x="247" y="321"/>
                      </a:lnTo>
                      <a:lnTo>
                        <a:pt x="246" y="308"/>
                      </a:lnTo>
                      <a:lnTo>
                        <a:pt x="242" y="296"/>
                      </a:lnTo>
                      <a:lnTo>
                        <a:pt x="237" y="286"/>
                      </a:lnTo>
                      <a:lnTo>
                        <a:pt x="230" y="281"/>
                      </a:lnTo>
                      <a:lnTo>
                        <a:pt x="228" y="274"/>
                      </a:lnTo>
                      <a:lnTo>
                        <a:pt x="220" y="270"/>
                      </a:lnTo>
                      <a:lnTo>
                        <a:pt x="213" y="263"/>
                      </a:lnTo>
                      <a:lnTo>
                        <a:pt x="208" y="255"/>
                      </a:lnTo>
                      <a:lnTo>
                        <a:pt x="195" y="240"/>
                      </a:lnTo>
                      <a:lnTo>
                        <a:pt x="183" y="239"/>
                      </a:lnTo>
                      <a:lnTo>
                        <a:pt x="172" y="240"/>
                      </a:lnTo>
                      <a:lnTo>
                        <a:pt x="161" y="243"/>
                      </a:lnTo>
                      <a:lnTo>
                        <a:pt x="157" y="254"/>
                      </a:lnTo>
                      <a:lnTo>
                        <a:pt x="152" y="258"/>
                      </a:lnTo>
                      <a:lnTo>
                        <a:pt x="145" y="261"/>
                      </a:lnTo>
                      <a:lnTo>
                        <a:pt x="133" y="267"/>
                      </a:lnTo>
                      <a:lnTo>
                        <a:pt x="124" y="267"/>
                      </a:lnTo>
                      <a:lnTo>
                        <a:pt x="115" y="261"/>
                      </a:lnTo>
                      <a:lnTo>
                        <a:pt x="109" y="251"/>
                      </a:lnTo>
                      <a:lnTo>
                        <a:pt x="102" y="249"/>
                      </a:lnTo>
                      <a:lnTo>
                        <a:pt x="93" y="251"/>
                      </a:lnTo>
                      <a:lnTo>
                        <a:pt x="80" y="256"/>
                      </a:lnTo>
                      <a:lnTo>
                        <a:pt x="68" y="269"/>
                      </a:lnTo>
                      <a:lnTo>
                        <a:pt x="55" y="274"/>
                      </a:lnTo>
                      <a:lnTo>
                        <a:pt x="48" y="283"/>
                      </a:lnTo>
                      <a:lnTo>
                        <a:pt x="43" y="287"/>
                      </a:lnTo>
                      <a:lnTo>
                        <a:pt x="44" y="282"/>
                      </a:lnTo>
                      <a:lnTo>
                        <a:pt x="41" y="269"/>
                      </a:lnTo>
                      <a:lnTo>
                        <a:pt x="45" y="255"/>
                      </a:lnTo>
                      <a:lnTo>
                        <a:pt x="48" y="231"/>
                      </a:lnTo>
                      <a:lnTo>
                        <a:pt x="53" y="220"/>
                      </a:lnTo>
                      <a:lnTo>
                        <a:pt x="53" y="211"/>
                      </a:lnTo>
                      <a:lnTo>
                        <a:pt x="54" y="202"/>
                      </a:lnTo>
                      <a:lnTo>
                        <a:pt x="50" y="186"/>
                      </a:lnTo>
                      <a:lnTo>
                        <a:pt x="54" y="169"/>
                      </a:lnTo>
                      <a:lnTo>
                        <a:pt x="50" y="165"/>
                      </a:lnTo>
                      <a:lnTo>
                        <a:pt x="29" y="165"/>
                      </a:lnTo>
                      <a:lnTo>
                        <a:pt x="23" y="164"/>
                      </a:lnTo>
                      <a:lnTo>
                        <a:pt x="21" y="163"/>
                      </a:lnTo>
                      <a:lnTo>
                        <a:pt x="21" y="145"/>
                      </a:lnTo>
                      <a:lnTo>
                        <a:pt x="18" y="130"/>
                      </a:lnTo>
                      <a:lnTo>
                        <a:pt x="12" y="121"/>
                      </a:lnTo>
                      <a:lnTo>
                        <a:pt x="9" y="116"/>
                      </a:lnTo>
                      <a:lnTo>
                        <a:pt x="2" y="119"/>
                      </a:lnTo>
                      <a:lnTo>
                        <a:pt x="0" y="113"/>
                      </a:lnTo>
                      <a:lnTo>
                        <a:pt x="1" y="105"/>
                      </a:lnTo>
                      <a:lnTo>
                        <a:pt x="4" y="105"/>
                      </a:lnTo>
                      <a:lnTo>
                        <a:pt x="5" y="99"/>
                      </a:lnTo>
                      <a:lnTo>
                        <a:pt x="10" y="95"/>
                      </a:lnTo>
                      <a:lnTo>
                        <a:pt x="17" y="93"/>
                      </a:lnTo>
                      <a:lnTo>
                        <a:pt x="23" y="92"/>
                      </a:lnTo>
                      <a:lnTo>
                        <a:pt x="21" y="84"/>
                      </a:lnTo>
                      <a:lnTo>
                        <a:pt x="21" y="79"/>
                      </a:lnTo>
                      <a:lnTo>
                        <a:pt x="48" y="61"/>
                      </a:lnTo>
                      <a:lnTo>
                        <a:pt x="53" y="54"/>
                      </a:lnTo>
                      <a:lnTo>
                        <a:pt x="54" y="49"/>
                      </a:lnTo>
                      <a:lnTo>
                        <a:pt x="59" y="76"/>
                      </a:lnTo>
                      <a:lnTo>
                        <a:pt x="80" y="71"/>
                      </a:lnTo>
                      <a:lnTo>
                        <a:pt x="84" y="67"/>
                      </a:lnTo>
                      <a:lnTo>
                        <a:pt x="85" y="52"/>
                      </a:lnTo>
                      <a:lnTo>
                        <a:pt x="79" y="36"/>
                      </a:lnTo>
                      <a:lnTo>
                        <a:pt x="76" y="19"/>
                      </a:lnTo>
                      <a:lnTo>
                        <a:pt x="77" y="7"/>
                      </a:lnTo>
                      <a:lnTo>
                        <a:pt x="86" y="0"/>
                      </a:lnTo>
                      <a:lnTo>
                        <a:pt x="106" y="1"/>
                      </a:lnTo>
                      <a:lnTo>
                        <a:pt x="106" y="3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grpSp>
              <p:nvGrpSpPr>
                <p:cNvPr id="441" name="Group 146"/>
                <p:cNvGrpSpPr>
                  <a:grpSpLocks/>
                </p:cNvGrpSpPr>
                <p:nvPr/>
              </p:nvGrpSpPr>
              <p:grpSpPr bwMode="auto">
                <a:xfrm>
                  <a:off x="5533238" y="2261290"/>
                  <a:ext cx="705704" cy="650940"/>
                  <a:chOff x="3183" y="2052"/>
                  <a:chExt cx="401" cy="370"/>
                </a:xfrm>
                <a:solidFill>
                  <a:srgbClr val="D9D9D9"/>
                </a:solidFill>
              </p:grpSpPr>
              <p:sp>
                <p:nvSpPr>
                  <p:cNvPr id="519" name="Freeform 147"/>
                  <p:cNvSpPr>
                    <a:spLocks/>
                  </p:cNvSpPr>
                  <p:nvPr/>
                </p:nvSpPr>
                <p:spPr bwMode="gray">
                  <a:xfrm>
                    <a:off x="3509" y="2232"/>
                    <a:ext cx="3" cy="5"/>
                  </a:xfrm>
                  <a:custGeom>
                    <a:avLst/>
                    <a:gdLst>
                      <a:gd name="T0" fmla="*/ 0 w 14"/>
                      <a:gd name="T1" fmla="*/ 0 h 27"/>
                      <a:gd name="T2" fmla="*/ 0 w 14"/>
                      <a:gd name="T3" fmla="*/ 1 h 27"/>
                      <a:gd name="T4" fmla="*/ 0 w 14"/>
                      <a:gd name="T5" fmla="*/ 1 h 27"/>
                      <a:gd name="T6" fmla="*/ 1 w 14"/>
                      <a:gd name="T7" fmla="*/ 1 h 27"/>
                      <a:gd name="T8" fmla="*/ 1 w 14"/>
                      <a:gd name="T9" fmla="*/ 0 h 27"/>
                      <a:gd name="T10" fmla="*/ 0 w 14"/>
                      <a:gd name="T11" fmla="*/ 0 h 27"/>
                      <a:gd name="T12" fmla="*/ 0 w 14"/>
                      <a:gd name="T13" fmla="*/ 0 h 27"/>
                      <a:gd name="T14" fmla="*/ 0 w 14"/>
                      <a:gd name="T15" fmla="*/ 0 h 27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14"/>
                      <a:gd name="T25" fmla="*/ 0 h 27"/>
                      <a:gd name="T26" fmla="*/ 14 w 14"/>
                      <a:gd name="T27" fmla="*/ 27 h 27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14" h="27">
                        <a:moveTo>
                          <a:pt x="0" y="4"/>
                        </a:moveTo>
                        <a:lnTo>
                          <a:pt x="1" y="26"/>
                        </a:lnTo>
                        <a:lnTo>
                          <a:pt x="9" y="27"/>
                        </a:lnTo>
                        <a:lnTo>
                          <a:pt x="14" y="21"/>
                        </a:lnTo>
                        <a:lnTo>
                          <a:pt x="14" y="12"/>
                        </a:lnTo>
                        <a:lnTo>
                          <a:pt x="9" y="3"/>
                        </a:lnTo>
                        <a:lnTo>
                          <a:pt x="5" y="0"/>
                        </a:lnTo>
                        <a:lnTo>
                          <a:pt x="0" y="4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20" name="Freeform 148"/>
                  <p:cNvSpPr>
                    <a:spLocks/>
                  </p:cNvSpPr>
                  <p:nvPr/>
                </p:nvSpPr>
                <p:spPr bwMode="gray">
                  <a:xfrm>
                    <a:off x="3262" y="2066"/>
                    <a:ext cx="322" cy="332"/>
                  </a:xfrm>
                  <a:custGeom>
                    <a:avLst/>
                    <a:gdLst>
                      <a:gd name="T0" fmla="*/ 14 w 1608"/>
                      <a:gd name="T1" fmla="*/ 53 h 1661"/>
                      <a:gd name="T2" fmla="*/ 19 w 1608"/>
                      <a:gd name="T3" fmla="*/ 65 h 1661"/>
                      <a:gd name="T4" fmla="*/ 24 w 1608"/>
                      <a:gd name="T5" fmla="*/ 64 h 1661"/>
                      <a:gd name="T6" fmla="*/ 26 w 1608"/>
                      <a:gd name="T7" fmla="*/ 57 h 1661"/>
                      <a:gd name="T8" fmla="*/ 26 w 1608"/>
                      <a:gd name="T9" fmla="*/ 52 h 1661"/>
                      <a:gd name="T10" fmla="*/ 29 w 1608"/>
                      <a:gd name="T11" fmla="*/ 48 h 1661"/>
                      <a:gd name="T12" fmla="*/ 35 w 1608"/>
                      <a:gd name="T13" fmla="*/ 43 h 1661"/>
                      <a:gd name="T14" fmla="*/ 41 w 1608"/>
                      <a:gd name="T15" fmla="*/ 36 h 1661"/>
                      <a:gd name="T16" fmla="*/ 44 w 1608"/>
                      <a:gd name="T17" fmla="*/ 36 h 1661"/>
                      <a:gd name="T18" fmla="*/ 45 w 1608"/>
                      <a:gd name="T19" fmla="*/ 34 h 1661"/>
                      <a:gd name="T20" fmla="*/ 45 w 1608"/>
                      <a:gd name="T21" fmla="*/ 30 h 1661"/>
                      <a:gd name="T22" fmla="*/ 45 w 1608"/>
                      <a:gd name="T23" fmla="*/ 27 h 1661"/>
                      <a:gd name="T24" fmla="*/ 46 w 1608"/>
                      <a:gd name="T25" fmla="*/ 25 h 1661"/>
                      <a:gd name="T26" fmla="*/ 51 w 1608"/>
                      <a:gd name="T27" fmla="*/ 27 h 1661"/>
                      <a:gd name="T28" fmla="*/ 51 w 1608"/>
                      <a:gd name="T29" fmla="*/ 32 h 1661"/>
                      <a:gd name="T30" fmla="*/ 54 w 1608"/>
                      <a:gd name="T31" fmla="*/ 35 h 1661"/>
                      <a:gd name="T32" fmla="*/ 56 w 1608"/>
                      <a:gd name="T33" fmla="*/ 32 h 1661"/>
                      <a:gd name="T34" fmla="*/ 60 w 1608"/>
                      <a:gd name="T35" fmla="*/ 26 h 1661"/>
                      <a:gd name="T36" fmla="*/ 64 w 1608"/>
                      <a:gd name="T37" fmla="*/ 21 h 1661"/>
                      <a:gd name="T38" fmla="*/ 61 w 1608"/>
                      <a:gd name="T39" fmla="*/ 17 h 1661"/>
                      <a:gd name="T40" fmla="*/ 55 w 1608"/>
                      <a:gd name="T41" fmla="*/ 20 h 1661"/>
                      <a:gd name="T42" fmla="*/ 53 w 1608"/>
                      <a:gd name="T43" fmla="*/ 23 h 1661"/>
                      <a:gd name="T44" fmla="*/ 46 w 1608"/>
                      <a:gd name="T45" fmla="*/ 24 h 1661"/>
                      <a:gd name="T46" fmla="*/ 45 w 1608"/>
                      <a:gd name="T47" fmla="*/ 22 h 1661"/>
                      <a:gd name="T48" fmla="*/ 44 w 1608"/>
                      <a:gd name="T49" fmla="*/ 22 h 1661"/>
                      <a:gd name="T50" fmla="*/ 42 w 1608"/>
                      <a:gd name="T51" fmla="*/ 25 h 1661"/>
                      <a:gd name="T52" fmla="*/ 35 w 1608"/>
                      <a:gd name="T53" fmla="*/ 22 h 1661"/>
                      <a:gd name="T54" fmla="*/ 31 w 1608"/>
                      <a:gd name="T55" fmla="*/ 21 h 1661"/>
                      <a:gd name="T56" fmla="*/ 27 w 1608"/>
                      <a:gd name="T57" fmla="*/ 19 h 1661"/>
                      <a:gd name="T58" fmla="*/ 27 w 1608"/>
                      <a:gd name="T59" fmla="*/ 16 h 1661"/>
                      <a:gd name="T60" fmla="*/ 28 w 1608"/>
                      <a:gd name="T61" fmla="*/ 15 h 1661"/>
                      <a:gd name="T62" fmla="*/ 25 w 1608"/>
                      <a:gd name="T63" fmla="*/ 13 h 1661"/>
                      <a:gd name="T64" fmla="*/ 24 w 1608"/>
                      <a:gd name="T65" fmla="*/ 12 h 1661"/>
                      <a:gd name="T66" fmla="*/ 23 w 1608"/>
                      <a:gd name="T67" fmla="*/ 9 h 1661"/>
                      <a:gd name="T68" fmla="*/ 25 w 1608"/>
                      <a:gd name="T69" fmla="*/ 9 h 1661"/>
                      <a:gd name="T70" fmla="*/ 24 w 1608"/>
                      <a:gd name="T71" fmla="*/ 7 h 1661"/>
                      <a:gd name="T72" fmla="*/ 25 w 1608"/>
                      <a:gd name="T73" fmla="*/ 5 h 1661"/>
                      <a:gd name="T74" fmla="*/ 27 w 1608"/>
                      <a:gd name="T75" fmla="*/ 2 h 1661"/>
                      <a:gd name="T76" fmla="*/ 26 w 1608"/>
                      <a:gd name="T77" fmla="*/ 1 h 1661"/>
                      <a:gd name="T78" fmla="*/ 24 w 1608"/>
                      <a:gd name="T79" fmla="*/ 0 h 1661"/>
                      <a:gd name="T80" fmla="*/ 20 w 1608"/>
                      <a:gd name="T81" fmla="*/ 3 h 1661"/>
                      <a:gd name="T82" fmla="*/ 17 w 1608"/>
                      <a:gd name="T83" fmla="*/ 4 h 1661"/>
                      <a:gd name="T84" fmla="*/ 13 w 1608"/>
                      <a:gd name="T85" fmla="*/ 3 h 1661"/>
                      <a:gd name="T86" fmla="*/ 13 w 1608"/>
                      <a:gd name="T87" fmla="*/ 5 h 1661"/>
                      <a:gd name="T88" fmla="*/ 13 w 1608"/>
                      <a:gd name="T89" fmla="*/ 7 h 1661"/>
                      <a:gd name="T90" fmla="*/ 15 w 1608"/>
                      <a:gd name="T91" fmla="*/ 9 h 1661"/>
                      <a:gd name="T92" fmla="*/ 14 w 1608"/>
                      <a:gd name="T93" fmla="*/ 11 h 1661"/>
                      <a:gd name="T94" fmla="*/ 15 w 1608"/>
                      <a:gd name="T95" fmla="*/ 13 h 1661"/>
                      <a:gd name="T96" fmla="*/ 13 w 1608"/>
                      <a:gd name="T97" fmla="*/ 16 h 1661"/>
                      <a:gd name="T98" fmla="*/ 8 w 1608"/>
                      <a:gd name="T99" fmla="*/ 20 h 1661"/>
                      <a:gd name="T100" fmla="*/ 5 w 1608"/>
                      <a:gd name="T101" fmla="*/ 21 h 1661"/>
                      <a:gd name="T102" fmla="*/ 4 w 1608"/>
                      <a:gd name="T103" fmla="*/ 24 h 1661"/>
                      <a:gd name="T104" fmla="*/ 6 w 1608"/>
                      <a:gd name="T105" fmla="*/ 27 h 1661"/>
                      <a:gd name="T106" fmla="*/ 7 w 1608"/>
                      <a:gd name="T107" fmla="*/ 29 h 1661"/>
                      <a:gd name="T108" fmla="*/ 5 w 1608"/>
                      <a:gd name="T109" fmla="*/ 29 h 1661"/>
                      <a:gd name="T110" fmla="*/ 2 w 1608"/>
                      <a:gd name="T111" fmla="*/ 30 h 1661"/>
                      <a:gd name="T112" fmla="*/ 0 w 1608"/>
                      <a:gd name="T113" fmla="*/ 31 h 1661"/>
                      <a:gd name="T114" fmla="*/ 5 w 1608"/>
                      <a:gd name="T115" fmla="*/ 33 h 1661"/>
                      <a:gd name="T116" fmla="*/ 5 w 1608"/>
                      <a:gd name="T117" fmla="*/ 38 h 1661"/>
                      <a:gd name="T118" fmla="*/ 9 w 1608"/>
                      <a:gd name="T119" fmla="*/ 34 h 1661"/>
                      <a:gd name="T120" fmla="*/ 10 w 1608"/>
                      <a:gd name="T121" fmla="*/ 37 h 1661"/>
                      <a:gd name="T122" fmla="*/ 10 w 1608"/>
                      <a:gd name="T123" fmla="*/ 42 h 1661"/>
                      <a:gd name="T124" fmla="*/ 11 w 1608"/>
                      <a:gd name="T125" fmla="*/ 46 h 1661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60000 65536"/>
                      <a:gd name="T184" fmla="*/ 0 60000 65536"/>
                      <a:gd name="T185" fmla="*/ 0 60000 65536"/>
                      <a:gd name="T186" fmla="*/ 0 60000 65536"/>
                      <a:gd name="T187" fmla="*/ 0 60000 65536"/>
                      <a:gd name="T188" fmla="*/ 0 60000 65536"/>
                      <a:gd name="T189" fmla="*/ 0 w 1608"/>
                      <a:gd name="T190" fmla="*/ 0 h 1661"/>
                      <a:gd name="T191" fmla="*/ 1608 w 1608"/>
                      <a:gd name="T192" fmla="*/ 1661 h 1661"/>
                    </a:gdLst>
                    <a:ahLst/>
                    <a:cxnLst>
                      <a:cxn ang="T126">
                        <a:pos x="T0" y="T1"/>
                      </a:cxn>
                      <a:cxn ang="T127">
                        <a:pos x="T2" y="T3"/>
                      </a:cxn>
                      <a:cxn ang="T128">
                        <a:pos x="T4" y="T5"/>
                      </a:cxn>
                      <a:cxn ang="T129">
                        <a:pos x="T6" y="T7"/>
                      </a:cxn>
                      <a:cxn ang="T130">
                        <a:pos x="T8" y="T9"/>
                      </a:cxn>
                      <a:cxn ang="T131">
                        <a:pos x="T10" y="T11"/>
                      </a:cxn>
                      <a:cxn ang="T132">
                        <a:pos x="T12" y="T13"/>
                      </a:cxn>
                      <a:cxn ang="T133">
                        <a:pos x="T14" y="T15"/>
                      </a:cxn>
                      <a:cxn ang="T134">
                        <a:pos x="T16" y="T17"/>
                      </a:cxn>
                      <a:cxn ang="T135">
                        <a:pos x="T18" y="T19"/>
                      </a:cxn>
                      <a:cxn ang="T136">
                        <a:pos x="T20" y="T21"/>
                      </a:cxn>
                      <a:cxn ang="T137">
                        <a:pos x="T22" y="T23"/>
                      </a:cxn>
                      <a:cxn ang="T138">
                        <a:pos x="T24" y="T25"/>
                      </a:cxn>
                      <a:cxn ang="T139">
                        <a:pos x="T26" y="T27"/>
                      </a:cxn>
                      <a:cxn ang="T140">
                        <a:pos x="T28" y="T29"/>
                      </a:cxn>
                      <a:cxn ang="T141">
                        <a:pos x="T30" y="T31"/>
                      </a:cxn>
                      <a:cxn ang="T142">
                        <a:pos x="T32" y="T33"/>
                      </a:cxn>
                      <a:cxn ang="T143">
                        <a:pos x="T34" y="T35"/>
                      </a:cxn>
                      <a:cxn ang="T144">
                        <a:pos x="T36" y="T37"/>
                      </a:cxn>
                      <a:cxn ang="T145">
                        <a:pos x="T38" y="T39"/>
                      </a:cxn>
                      <a:cxn ang="T146">
                        <a:pos x="T40" y="T41"/>
                      </a:cxn>
                      <a:cxn ang="T147">
                        <a:pos x="T42" y="T43"/>
                      </a:cxn>
                      <a:cxn ang="T148">
                        <a:pos x="T44" y="T45"/>
                      </a:cxn>
                      <a:cxn ang="T149">
                        <a:pos x="T46" y="T47"/>
                      </a:cxn>
                      <a:cxn ang="T150">
                        <a:pos x="T48" y="T49"/>
                      </a:cxn>
                      <a:cxn ang="T151">
                        <a:pos x="T50" y="T51"/>
                      </a:cxn>
                      <a:cxn ang="T152">
                        <a:pos x="T52" y="T53"/>
                      </a:cxn>
                      <a:cxn ang="T153">
                        <a:pos x="T54" y="T55"/>
                      </a:cxn>
                      <a:cxn ang="T154">
                        <a:pos x="T56" y="T57"/>
                      </a:cxn>
                      <a:cxn ang="T155">
                        <a:pos x="T58" y="T59"/>
                      </a:cxn>
                      <a:cxn ang="T156">
                        <a:pos x="T60" y="T61"/>
                      </a:cxn>
                      <a:cxn ang="T157">
                        <a:pos x="T62" y="T63"/>
                      </a:cxn>
                      <a:cxn ang="T158">
                        <a:pos x="T64" y="T65"/>
                      </a:cxn>
                      <a:cxn ang="T159">
                        <a:pos x="T66" y="T67"/>
                      </a:cxn>
                      <a:cxn ang="T160">
                        <a:pos x="T68" y="T69"/>
                      </a:cxn>
                      <a:cxn ang="T161">
                        <a:pos x="T70" y="T71"/>
                      </a:cxn>
                      <a:cxn ang="T162">
                        <a:pos x="T72" y="T73"/>
                      </a:cxn>
                      <a:cxn ang="T163">
                        <a:pos x="T74" y="T75"/>
                      </a:cxn>
                      <a:cxn ang="T164">
                        <a:pos x="T76" y="T77"/>
                      </a:cxn>
                      <a:cxn ang="T165">
                        <a:pos x="T78" y="T79"/>
                      </a:cxn>
                      <a:cxn ang="T166">
                        <a:pos x="T80" y="T81"/>
                      </a:cxn>
                      <a:cxn ang="T167">
                        <a:pos x="T82" y="T83"/>
                      </a:cxn>
                      <a:cxn ang="T168">
                        <a:pos x="T84" y="T85"/>
                      </a:cxn>
                      <a:cxn ang="T169">
                        <a:pos x="T86" y="T87"/>
                      </a:cxn>
                      <a:cxn ang="T170">
                        <a:pos x="T88" y="T89"/>
                      </a:cxn>
                      <a:cxn ang="T171">
                        <a:pos x="T90" y="T91"/>
                      </a:cxn>
                      <a:cxn ang="T172">
                        <a:pos x="T92" y="T93"/>
                      </a:cxn>
                      <a:cxn ang="T173">
                        <a:pos x="T94" y="T95"/>
                      </a:cxn>
                      <a:cxn ang="T174">
                        <a:pos x="T96" y="T97"/>
                      </a:cxn>
                      <a:cxn ang="T175">
                        <a:pos x="T98" y="T99"/>
                      </a:cxn>
                      <a:cxn ang="T176">
                        <a:pos x="T100" y="T101"/>
                      </a:cxn>
                      <a:cxn ang="T177">
                        <a:pos x="T102" y="T103"/>
                      </a:cxn>
                      <a:cxn ang="T178">
                        <a:pos x="T104" y="T105"/>
                      </a:cxn>
                      <a:cxn ang="T179">
                        <a:pos x="T106" y="T107"/>
                      </a:cxn>
                      <a:cxn ang="T180">
                        <a:pos x="T108" y="T109"/>
                      </a:cxn>
                      <a:cxn ang="T181">
                        <a:pos x="T110" y="T111"/>
                      </a:cxn>
                      <a:cxn ang="T182">
                        <a:pos x="T112" y="T113"/>
                      </a:cxn>
                      <a:cxn ang="T183">
                        <a:pos x="T114" y="T115"/>
                      </a:cxn>
                      <a:cxn ang="T184">
                        <a:pos x="T116" y="T117"/>
                      </a:cxn>
                      <a:cxn ang="T185">
                        <a:pos x="T118" y="T119"/>
                      </a:cxn>
                      <a:cxn ang="T186">
                        <a:pos x="T120" y="T121"/>
                      </a:cxn>
                      <a:cxn ang="T187">
                        <a:pos x="T122" y="T123"/>
                      </a:cxn>
                      <a:cxn ang="T188">
                        <a:pos x="T124" y="T125"/>
                      </a:cxn>
                    </a:cxnLst>
                    <a:rect l="T189" t="T190" r="T191" b="T192"/>
                    <a:pathLst>
                      <a:path w="1608" h="1661">
                        <a:moveTo>
                          <a:pt x="304" y="1236"/>
                        </a:moveTo>
                        <a:lnTo>
                          <a:pt x="306" y="1238"/>
                        </a:lnTo>
                        <a:lnTo>
                          <a:pt x="310" y="1250"/>
                        </a:lnTo>
                        <a:lnTo>
                          <a:pt x="312" y="1252"/>
                        </a:lnTo>
                        <a:lnTo>
                          <a:pt x="315" y="1249"/>
                        </a:lnTo>
                        <a:lnTo>
                          <a:pt x="320" y="1250"/>
                        </a:lnTo>
                        <a:lnTo>
                          <a:pt x="316" y="1255"/>
                        </a:lnTo>
                        <a:lnTo>
                          <a:pt x="316" y="1260"/>
                        </a:lnTo>
                        <a:lnTo>
                          <a:pt x="322" y="1281"/>
                        </a:lnTo>
                        <a:lnTo>
                          <a:pt x="331" y="1293"/>
                        </a:lnTo>
                        <a:lnTo>
                          <a:pt x="338" y="1297"/>
                        </a:lnTo>
                        <a:lnTo>
                          <a:pt x="348" y="1319"/>
                        </a:lnTo>
                        <a:lnTo>
                          <a:pt x="351" y="1334"/>
                        </a:lnTo>
                        <a:lnTo>
                          <a:pt x="358" y="1343"/>
                        </a:lnTo>
                        <a:lnTo>
                          <a:pt x="364" y="1358"/>
                        </a:lnTo>
                        <a:lnTo>
                          <a:pt x="370" y="1388"/>
                        </a:lnTo>
                        <a:lnTo>
                          <a:pt x="382" y="1426"/>
                        </a:lnTo>
                        <a:lnTo>
                          <a:pt x="382" y="1429"/>
                        </a:lnTo>
                        <a:lnTo>
                          <a:pt x="391" y="1444"/>
                        </a:lnTo>
                        <a:lnTo>
                          <a:pt x="401" y="1453"/>
                        </a:lnTo>
                        <a:lnTo>
                          <a:pt x="418" y="1475"/>
                        </a:lnTo>
                        <a:lnTo>
                          <a:pt x="425" y="1494"/>
                        </a:lnTo>
                        <a:lnTo>
                          <a:pt x="432" y="1519"/>
                        </a:lnTo>
                        <a:lnTo>
                          <a:pt x="454" y="1572"/>
                        </a:lnTo>
                        <a:lnTo>
                          <a:pt x="461" y="1600"/>
                        </a:lnTo>
                        <a:lnTo>
                          <a:pt x="468" y="1614"/>
                        </a:lnTo>
                        <a:lnTo>
                          <a:pt x="481" y="1633"/>
                        </a:lnTo>
                        <a:lnTo>
                          <a:pt x="495" y="1650"/>
                        </a:lnTo>
                        <a:lnTo>
                          <a:pt x="508" y="1661"/>
                        </a:lnTo>
                        <a:lnTo>
                          <a:pt x="525" y="1661"/>
                        </a:lnTo>
                        <a:lnTo>
                          <a:pt x="534" y="1653"/>
                        </a:lnTo>
                        <a:lnTo>
                          <a:pt x="534" y="1650"/>
                        </a:lnTo>
                        <a:lnTo>
                          <a:pt x="540" y="1647"/>
                        </a:lnTo>
                        <a:lnTo>
                          <a:pt x="546" y="1642"/>
                        </a:lnTo>
                        <a:lnTo>
                          <a:pt x="548" y="1636"/>
                        </a:lnTo>
                        <a:lnTo>
                          <a:pt x="547" y="1632"/>
                        </a:lnTo>
                        <a:lnTo>
                          <a:pt x="554" y="1611"/>
                        </a:lnTo>
                        <a:lnTo>
                          <a:pt x="577" y="1600"/>
                        </a:lnTo>
                        <a:lnTo>
                          <a:pt x="594" y="1598"/>
                        </a:lnTo>
                        <a:lnTo>
                          <a:pt x="593" y="1588"/>
                        </a:lnTo>
                        <a:lnTo>
                          <a:pt x="594" y="1578"/>
                        </a:lnTo>
                        <a:lnTo>
                          <a:pt x="607" y="1560"/>
                        </a:lnTo>
                        <a:lnTo>
                          <a:pt x="610" y="1552"/>
                        </a:lnTo>
                        <a:lnTo>
                          <a:pt x="615" y="1541"/>
                        </a:lnTo>
                        <a:lnTo>
                          <a:pt x="628" y="1539"/>
                        </a:lnTo>
                        <a:lnTo>
                          <a:pt x="632" y="1542"/>
                        </a:lnTo>
                        <a:lnTo>
                          <a:pt x="643" y="1542"/>
                        </a:lnTo>
                        <a:lnTo>
                          <a:pt x="643" y="1525"/>
                        </a:lnTo>
                        <a:lnTo>
                          <a:pt x="640" y="1496"/>
                        </a:lnTo>
                        <a:lnTo>
                          <a:pt x="640" y="1467"/>
                        </a:lnTo>
                        <a:lnTo>
                          <a:pt x="643" y="1456"/>
                        </a:lnTo>
                        <a:lnTo>
                          <a:pt x="655" y="1431"/>
                        </a:lnTo>
                        <a:lnTo>
                          <a:pt x="660" y="1417"/>
                        </a:lnTo>
                        <a:lnTo>
                          <a:pt x="667" y="1390"/>
                        </a:lnTo>
                        <a:lnTo>
                          <a:pt x="669" y="1381"/>
                        </a:lnTo>
                        <a:lnTo>
                          <a:pt x="667" y="1368"/>
                        </a:lnTo>
                        <a:lnTo>
                          <a:pt x="661" y="1363"/>
                        </a:lnTo>
                        <a:lnTo>
                          <a:pt x="660" y="1358"/>
                        </a:lnTo>
                        <a:lnTo>
                          <a:pt x="658" y="1356"/>
                        </a:lnTo>
                        <a:lnTo>
                          <a:pt x="660" y="1352"/>
                        </a:lnTo>
                        <a:lnTo>
                          <a:pt x="664" y="1356"/>
                        </a:lnTo>
                        <a:lnTo>
                          <a:pt x="656" y="1324"/>
                        </a:lnTo>
                        <a:lnTo>
                          <a:pt x="659" y="1314"/>
                        </a:lnTo>
                        <a:lnTo>
                          <a:pt x="659" y="1304"/>
                        </a:lnTo>
                        <a:lnTo>
                          <a:pt x="659" y="1302"/>
                        </a:lnTo>
                        <a:lnTo>
                          <a:pt x="655" y="1297"/>
                        </a:lnTo>
                        <a:lnTo>
                          <a:pt x="654" y="1284"/>
                        </a:lnTo>
                        <a:lnTo>
                          <a:pt x="654" y="1262"/>
                        </a:lnTo>
                        <a:lnTo>
                          <a:pt x="661" y="1251"/>
                        </a:lnTo>
                        <a:lnTo>
                          <a:pt x="670" y="1238"/>
                        </a:lnTo>
                        <a:lnTo>
                          <a:pt x="680" y="1233"/>
                        </a:lnTo>
                        <a:lnTo>
                          <a:pt x="688" y="1232"/>
                        </a:lnTo>
                        <a:lnTo>
                          <a:pt x="698" y="1238"/>
                        </a:lnTo>
                        <a:lnTo>
                          <a:pt x="706" y="1234"/>
                        </a:lnTo>
                        <a:lnTo>
                          <a:pt x="713" y="1222"/>
                        </a:lnTo>
                        <a:lnTo>
                          <a:pt x="718" y="1208"/>
                        </a:lnTo>
                        <a:lnTo>
                          <a:pt x="720" y="1208"/>
                        </a:lnTo>
                        <a:lnTo>
                          <a:pt x="733" y="1205"/>
                        </a:lnTo>
                        <a:lnTo>
                          <a:pt x="746" y="1202"/>
                        </a:lnTo>
                        <a:lnTo>
                          <a:pt x="769" y="1193"/>
                        </a:lnTo>
                        <a:lnTo>
                          <a:pt x="776" y="1185"/>
                        </a:lnTo>
                        <a:lnTo>
                          <a:pt x="776" y="1174"/>
                        </a:lnTo>
                        <a:lnTo>
                          <a:pt x="782" y="1164"/>
                        </a:lnTo>
                        <a:lnTo>
                          <a:pt x="795" y="1155"/>
                        </a:lnTo>
                        <a:lnTo>
                          <a:pt x="820" y="1136"/>
                        </a:lnTo>
                        <a:lnTo>
                          <a:pt x="837" y="1123"/>
                        </a:lnTo>
                        <a:lnTo>
                          <a:pt x="849" y="1109"/>
                        </a:lnTo>
                        <a:lnTo>
                          <a:pt x="864" y="1098"/>
                        </a:lnTo>
                        <a:lnTo>
                          <a:pt x="875" y="1092"/>
                        </a:lnTo>
                        <a:lnTo>
                          <a:pt x="878" y="1088"/>
                        </a:lnTo>
                        <a:lnTo>
                          <a:pt x="880" y="1087"/>
                        </a:lnTo>
                        <a:lnTo>
                          <a:pt x="890" y="1077"/>
                        </a:lnTo>
                        <a:lnTo>
                          <a:pt x="925" y="1034"/>
                        </a:lnTo>
                        <a:lnTo>
                          <a:pt x="938" y="1024"/>
                        </a:lnTo>
                        <a:lnTo>
                          <a:pt x="968" y="1007"/>
                        </a:lnTo>
                        <a:lnTo>
                          <a:pt x="986" y="1001"/>
                        </a:lnTo>
                        <a:lnTo>
                          <a:pt x="995" y="996"/>
                        </a:lnTo>
                        <a:lnTo>
                          <a:pt x="998" y="996"/>
                        </a:lnTo>
                        <a:lnTo>
                          <a:pt x="1015" y="981"/>
                        </a:lnTo>
                        <a:lnTo>
                          <a:pt x="1024" y="970"/>
                        </a:lnTo>
                        <a:lnTo>
                          <a:pt x="1026" y="964"/>
                        </a:lnTo>
                        <a:lnTo>
                          <a:pt x="1036" y="953"/>
                        </a:lnTo>
                        <a:lnTo>
                          <a:pt x="1030" y="929"/>
                        </a:lnTo>
                        <a:lnTo>
                          <a:pt x="1036" y="913"/>
                        </a:lnTo>
                        <a:lnTo>
                          <a:pt x="1068" y="897"/>
                        </a:lnTo>
                        <a:lnTo>
                          <a:pt x="1078" y="894"/>
                        </a:lnTo>
                        <a:lnTo>
                          <a:pt x="1084" y="889"/>
                        </a:lnTo>
                        <a:lnTo>
                          <a:pt x="1089" y="880"/>
                        </a:lnTo>
                        <a:lnTo>
                          <a:pt x="1091" y="874"/>
                        </a:lnTo>
                        <a:lnTo>
                          <a:pt x="1096" y="868"/>
                        </a:lnTo>
                        <a:lnTo>
                          <a:pt x="1100" y="868"/>
                        </a:lnTo>
                        <a:lnTo>
                          <a:pt x="1097" y="880"/>
                        </a:lnTo>
                        <a:lnTo>
                          <a:pt x="1097" y="893"/>
                        </a:lnTo>
                        <a:lnTo>
                          <a:pt x="1099" y="894"/>
                        </a:lnTo>
                        <a:lnTo>
                          <a:pt x="1101" y="894"/>
                        </a:lnTo>
                        <a:lnTo>
                          <a:pt x="1104" y="895"/>
                        </a:lnTo>
                        <a:lnTo>
                          <a:pt x="1107" y="902"/>
                        </a:lnTo>
                        <a:lnTo>
                          <a:pt x="1116" y="901"/>
                        </a:lnTo>
                        <a:lnTo>
                          <a:pt x="1121" y="897"/>
                        </a:lnTo>
                        <a:lnTo>
                          <a:pt x="1124" y="899"/>
                        </a:lnTo>
                        <a:lnTo>
                          <a:pt x="1126" y="890"/>
                        </a:lnTo>
                        <a:lnTo>
                          <a:pt x="1128" y="886"/>
                        </a:lnTo>
                        <a:lnTo>
                          <a:pt x="1131" y="896"/>
                        </a:lnTo>
                        <a:lnTo>
                          <a:pt x="1134" y="900"/>
                        </a:lnTo>
                        <a:lnTo>
                          <a:pt x="1142" y="897"/>
                        </a:lnTo>
                        <a:lnTo>
                          <a:pt x="1135" y="884"/>
                        </a:lnTo>
                        <a:lnTo>
                          <a:pt x="1137" y="878"/>
                        </a:lnTo>
                        <a:lnTo>
                          <a:pt x="1135" y="874"/>
                        </a:lnTo>
                        <a:lnTo>
                          <a:pt x="1133" y="863"/>
                        </a:lnTo>
                        <a:lnTo>
                          <a:pt x="1134" y="854"/>
                        </a:lnTo>
                        <a:lnTo>
                          <a:pt x="1132" y="846"/>
                        </a:lnTo>
                        <a:lnTo>
                          <a:pt x="1127" y="841"/>
                        </a:lnTo>
                        <a:lnTo>
                          <a:pt x="1124" y="832"/>
                        </a:lnTo>
                        <a:lnTo>
                          <a:pt x="1124" y="823"/>
                        </a:lnTo>
                        <a:lnTo>
                          <a:pt x="1126" y="820"/>
                        </a:lnTo>
                        <a:lnTo>
                          <a:pt x="1127" y="804"/>
                        </a:lnTo>
                        <a:lnTo>
                          <a:pt x="1126" y="800"/>
                        </a:lnTo>
                        <a:lnTo>
                          <a:pt x="1122" y="799"/>
                        </a:lnTo>
                        <a:lnTo>
                          <a:pt x="1122" y="784"/>
                        </a:lnTo>
                        <a:lnTo>
                          <a:pt x="1116" y="778"/>
                        </a:lnTo>
                        <a:lnTo>
                          <a:pt x="1116" y="770"/>
                        </a:lnTo>
                        <a:lnTo>
                          <a:pt x="1118" y="759"/>
                        </a:lnTo>
                        <a:lnTo>
                          <a:pt x="1120" y="738"/>
                        </a:lnTo>
                        <a:lnTo>
                          <a:pt x="1111" y="728"/>
                        </a:lnTo>
                        <a:lnTo>
                          <a:pt x="1105" y="723"/>
                        </a:lnTo>
                        <a:lnTo>
                          <a:pt x="1094" y="718"/>
                        </a:lnTo>
                        <a:lnTo>
                          <a:pt x="1085" y="714"/>
                        </a:lnTo>
                        <a:lnTo>
                          <a:pt x="1084" y="708"/>
                        </a:lnTo>
                        <a:lnTo>
                          <a:pt x="1085" y="703"/>
                        </a:lnTo>
                        <a:lnTo>
                          <a:pt x="1090" y="695"/>
                        </a:lnTo>
                        <a:lnTo>
                          <a:pt x="1097" y="694"/>
                        </a:lnTo>
                        <a:lnTo>
                          <a:pt x="1104" y="690"/>
                        </a:lnTo>
                        <a:lnTo>
                          <a:pt x="1106" y="683"/>
                        </a:lnTo>
                        <a:lnTo>
                          <a:pt x="1126" y="681"/>
                        </a:lnTo>
                        <a:lnTo>
                          <a:pt x="1126" y="673"/>
                        </a:lnTo>
                        <a:lnTo>
                          <a:pt x="1122" y="669"/>
                        </a:lnTo>
                        <a:lnTo>
                          <a:pt x="1123" y="665"/>
                        </a:lnTo>
                        <a:lnTo>
                          <a:pt x="1108" y="667"/>
                        </a:lnTo>
                        <a:lnTo>
                          <a:pt x="1101" y="662"/>
                        </a:lnTo>
                        <a:lnTo>
                          <a:pt x="1099" y="648"/>
                        </a:lnTo>
                        <a:lnTo>
                          <a:pt x="1095" y="644"/>
                        </a:lnTo>
                        <a:lnTo>
                          <a:pt x="1110" y="620"/>
                        </a:lnTo>
                        <a:lnTo>
                          <a:pt x="1112" y="608"/>
                        </a:lnTo>
                        <a:lnTo>
                          <a:pt x="1117" y="605"/>
                        </a:lnTo>
                        <a:lnTo>
                          <a:pt x="1126" y="622"/>
                        </a:lnTo>
                        <a:lnTo>
                          <a:pt x="1132" y="630"/>
                        </a:lnTo>
                        <a:lnTo>
                          <a:pt x="1133" y="622"/>
                        </a:lnTo>
                        <a:lnTo>
                          <a:pt x="1137" y="610"/>
                        </a:lnTo>
                        <a:lnTo>
                          <a:pt x="1143" y="613"/>
                        </a:lnTo>
                        <a:lnTo>
                          <a:pt x="1145" y="627"/>
                        </a:lnTo>
                        <a:lnTo>
                          <a:pt x="1153" y="636"/>
                        </a:lnTo>
                        <a:lnTo>
                          <a:pt x="1159" y="632"/>
                        </a:lnTo>
                        <a:lnTo>
                          <a:pt x="1166" y="638"/>
                        </a:lnTo>
                        <a:lnTo>
                          <a:pt x="1175" y="624"/>
                        </a:lnTo>
                        <a:lnTo>
                          <a:pt x="1177" y="628"/>
                        </a:lnTo>
                        <a:lnTo>
                          <a:pt x="1180" y="648"/>
                        </a:lnTo>
                        <a:lnTo>
                          <a:pt x="1185" y="667"/>
                        </a:lnTo>
                        <a:lnTo>
                          <a:pt x="1192" y="675"/>
                        </a:lnTo>
                        <a:lnTo>
                          <a:pt x="1203" y="680"/>
                        </a:lnTo>
                        <a:lnTo>
                          <a:pt x="1246" y="684"/>
                        </a:lnTo>
                        <a:lnTo>
                          <a:pt x="1250" y="681"/>
                        </a:lnTo>
                        <a:lnTo>
                          <a:pt x="1264" y="679"/>
                        </a:lnTo>
                        <a:lnTo>
                          <a:pt x="1288" y="681"/>
                        </a:lnTo>
                        <a:lnTo>
                          <a:pt x="1311" y="685"/>
                        </a:lnTo>
                        <a:lnTo>
                          <a:pt x="1326" y="691"/>
                        </a:lnTo>
                        <a:lnTo>
                          <a:pt x="1325" y="696"/>
                        </a:lnTo>
                        <a:lnTo>
                          <a:pt x="1315" y="701"/>
                        </a:lnTo>
                        <a:lnTo>
                          <a:pt x="1310" y="714"/>
                        </a:lnTo>
                        <a:lnTo>
                          <a:pt x="1298" y="729"/>
                        </a:lnTo>
                        <a:lnTo>
                          <a:pt x="1288" y="739"/>
                        </a:lnTo>
                        <a:lnTo>
                          <a:pt x="1276" y="744"/>
                        </a:lnTo>
                        <a:lnTo>
                          <a:pt x="1262" y="754"/>
                        </a:lnTo>
                        <a:lnTo>
                          <a:pt x="1260" y="762"/>
                        </a:lnTo>
                        <a:lnTo>
                          <a:pt x="1261" y="778"/>
                        </a:lnTo>
                        <a:lnTo>
                          <a:pt x="1268" y="798"/>
                        </a:lnTo>
                        <a:lnTo>
                          <a:pt x="1278" y="799"/>
                        </a:lnTo>
                        <a:lnTo>
                          <a:pt x="1284" y="809"/>
                        </a:lnTo>
                        <a:lnTo>
                          <a:pt x="1292" y="814"/>
                        </a:lnTo>
                        <a:lnTo>
                          <a:pt x="1295" y="807"/>
                        </a:lnTo>
                        <a:lnTo>
                          <a:pt x="1301" y="786"/>
                        </a:lnTo>
                        <a:lnTo>
                          <a:pt x="1312" y="771"/>
                        </a:lnTo>
                        <a:lnTo>
                          <a:pt x="1319" y="772"/>
                        </a:lnTo>
                        <a:lnTo>
                          <a:pt x="1326" y="786"/>
                        </a:lnTo>
                        <a:lnTo>
                          <a:pt x="1331" y="803"/>
                        </a:lnTo>
                        <a:lnTo>
                          <a:pt x="1333" y="811"/>
                        </a:lnTo>
                        <a:lnTo>
                          <a:pt x="1336" y="819"/>
                        </a:lnTo>
                        <a:lnTo>
                          <a:pt x="1342" y="847"/>
                        </a:lnTo>
                        <a:lnTo>
                          <a:pt x="1346" y="881"/>
                        </a:lnTo>
                        <a:lnTo>
                          <a:pt x="1349" y="878"/>
                        </a:lnTo>
                        <a:lnTo>
                          <a:pt x="1354" y="873"/>
                        </a:lnTo>
                        <a:lnTo>
                          <a:pt x="1363" y="875"/>
                        </a:lnTo>
                        <a:lnTo>
                          <a:pt x="1368" y="874"/>
                        </a:lnTo>
                        <a:lnTo>
                          <a:pt x="1373" y="868"/>
                        </a:lnTo>
                        <a:lnTo>
                          <a:pt x="1374" y="862"/>
                        </a:lnTo>
                        <a:lnTo>
                          <a:pt x="1371" y="862"/>
                        </a:lnTo>
                        <a:lnTo>
                          <a:pt x="1368" y="852"/>
                        </a:lnTo>
                        <a:lnTo>
                          <a:pt x="1368" y="836"/>
                        </a:lnTo>
                        <a:lnTo>
                          <a:pt x="1369" y="823"/>
                        </a:lnTo>
                        <a:lnTo>
                          <a:pt x="1380" y="824"/>
                        </a:lnTo>
                        <a:lnTo>
                          <a:pt x="1384" y="819"/>
                        </a:lnTo>
                        <a:lnTo>
                          <a:pt x="1387" y="799"/>
                        </a:lnTo>
                        <a:lnTo>
                          <a:pt x="1386" y="773"/>
                        </a:lnTo>
                        <a:lnTo>
                          <a:pt x="1393" y="766"/>
                        </a:lnTo>
                        <a:lnTo>
                          <a:pt x="1407" y="762"/>
                        </a:lnTo>
                        <a:lnTo>
                          <a:pt x="1420" y="765"/>
                        </a:lnTo>
                        <a:lnTo>
                          <a:pt x="1428" y="765"/>
                        </a:lnTo>
                        <a:lnTo>
                          <a:pt x="1433" y="760"/>
                        </a:lnTo>
                        <a:lnTo>
                          <a:pt x="1439" y="740"/>
                        </a:lnTo>
                        <a:lnTo>
                          <a:pt x="1457" y="705"/>
                        </a:lnTo>
                        <a:lnTo>
                          <a:pt x="1461" y="694"/>
                        </a:lnTo>
                        <a:lnTo>
                          <a:pt x="1459" y="684"/>
                        </a:lnTo>
                        <a:lnTo>
                          <a:pt x="1465" y="675"/>
                        </a:lnTo>
                        <a:lnTo>
                          <a:pt x="1481" y="664"/>
                        </a:lnTo>
                        <a:lnTo>
                          <a:pt x="1487" y="652"/>
                        </a:lnTo>
                        <a:lnTo>
                          <a:pt x="1486" y="624"/>
                        </a:lnTo>
                        <a:lnTo>
                          <a:pt x="1493" y="608"/>
                        </a:lnTo>
                        <a:lnTo>
                          <a:pt x="1506" y="597"/>
                        </a:lnTo>
                        <a:lnTo>
                          <a:pt x="1521" y="589"/>
                        </a:lnTo>
                        <a:lnTo>
                          <a:pt x="1531" y="581"/>
                        </a:lnTo>
                        <a:lnTo>
                          <a:pt x="1538" y="567"/>
                        </a:lnTo>
                        <a:lnTo>
                          <a:pt x="1558" y="563"/>
                        </a:lnTo>
                        <a:lnTo>
                          <a:pt x="1569" y="560"/>
                        </a:lnTo>
                        <a:lnTo>
                          <a:pt x="1585" y="565"/>
                        </a:lnTo>
                        <a:lnTo>
                          <a:pt x="1590" y="560"/>
                        </a:lnTo>
                        <a:lnTo>
                          <a:pt x="1586" y="544"/>
                        </a:lnTo>
                        <a:lnTo>
                          <a:pt x="1591" y="530"/>
                        </a:lnTo>
                        <a:lnTo>
                          <a:pt x="1602" y="525"/>
                        </a:lnTo>
                        <a:lnTo>
                          <a:pt x="1608" y="518"/>
                        </a:lnTo>
                        <a:lnTo>
                          <a:pt x="1608" y="506"/>
                        </a:lnTo>
                        <a:lnTo>
                          <a:pt x="1604" y="493"/>
                        </a:lnTo>
                        <a:lnTo>
                          <a:pt x="1594" y="490"/>
                        </a:lnTo>
                        <a:lnTo>
                          <a:pt x="1580" y="490"/>
                        </a:lnTo>
                        <a:lnTo>
                          <a:pt x="1570" y="486"/>
                        </a:lnTo>
                        <a:lnTo>
                          <a:pt x="1552" y="486"/>
                        </a:lnTo>
                        <a:lnTo>
                          <a:pt x="1554" y="470"/>
                        </a:lnTo>
                        <a:lnTo>
                          <a:pt x="1556" y="455"/>
                        </a:lnTo>
                        <a:lnTo>
                          <a:pt x="1543" y="453"/>
                        </a:lnTo>
                        <a:lnTo>
                          <a:pt x="1541" y="442"/>
                        </a:lnTo>
                        <a:lnTo>
                          <a:pt x="1543" y="434"/>
                        </a:lnTo>
                        <a:lnTo>
                          <a:pt x="1532" y="422"/>
                        </a:lnTo>
                        <a:lnTo>
                          <a:pt x="1520" y="426"/>
                        </a:lnTo>
                        <a:lnTo>
                          <a:pt x="1505" y="436"/>
                        </a:lnTo>
                        <a:lnTo>
                          <a:pt x="1492" y="439"/>
                        </a:lnTo>
                        <a:lnTo>
                          <a:pt x="1472" y="441"/>
                        </a:lnTo>
                        <a:lnTo>
                          <a:pt x="1463" y="439"/>
                        </a:lnTo>
                        <a:lnTo>
                          <a:pt x="1457" y="434"/>
                        </a:lnTo>
                        <a:lnTo>
                          <a:pt x="1452" y="433"/>
                        </a:lnTo>
                        <a:lnTo>
                          <a:pt x="1443" y="438"/>
                        </a:lnTo>
                        <a:lnTo>
                          <a:pt x="1434" y="444"/>
                        </a:lnTo>
                        <a:lnTo>
                          <a:pt x="1428" y="455"/>
                        </a:lnTo>
                        <a:lnTo>
                          <a:pt x="1408" y="472"/>
                        </a:lnTo>
                        <a:lnTo>
                          <a:pt x="1393" y="476"/>
                        </a:lnTo>
                        <a:lnTo>
                          <a:pt x="1379" y="492"/>
                        </a:lnTo>
                        <a:lnTo>
                          <a:pt x="1369" y="499"/>
                        </a:lnTo>
                        <a:lnTo>
                          <a:pt x="1354" y="507"/>
                        </a:lnTo>
                        <a:lnTo>
                          <a:pt x="1342" y="515"/>
                        </a:lnTo>
                        <a:lnTo>
                          <a:pt x="1314" y="522"/>
                        </a:lnTo>
                        <a:lnTo>
                          <a:pt x="1296" y="527"/>
                        </a:lnTo>
                        <a:lnTo>
                          <a:pt x="1298" y="529"/>
                        </a:lnTo>
                        <a:lnTo>
                          <a:pt x="1298" y="531"/>
                        </a:lnTo>
                        <a:lnTo>
                          <a:pt x="1295" y="538"/>
                        </a:lnTo>
                        <a:lnTo>
                          <a:pt x="1295" y="540"/>
                        </a:lnTo>
                        <a:lnTo>
                          <a:pt x="1296" y="542"/>
                        </a:lnTo>
                        <a:lnTo>
                          <a:pt x="1315" y="550"/>
                        </a:lnTo>
                        <a:lnTo>
                          <a:pt x="1321" y="556"/>
                        </a:lnTo>
                        <a:lnTo>
                          <a:pt x="1319" y="570"/>
                        </a:lnTo>
                        <a:lnTo>
                          <a:pt x="1320" y="574"/>
                        </a:lnTo>
                        <a:lnTo>
                          <a:pt x="1320" y="577"/>
                        </a:lnTo>
                        <a:lnTo>
                          <a:pt x="1312" y="581"/>
                        </a:lnTo>
                        <a:lnTo>
                          <a:pt x="1292" y="584"/>
                        </a:lnTo>
                        <a:lnTo>
                          <a:pt x="1278" y="585"/>
                        </a:lnTo>
                        <a:lnTo>
                          <a:pt x="1257" y="589"/>
                        </a:lnTo>
                        <a:lnTo>
                          <a:pt x="1249" y="590"/>
                        </a:lnTo>
                        <a:lnTo>
                          <a:pt x="1240" y="590"/>
                        </a:lnTo>
                        <a:lnTo>
                          <a:pt x="1230" y="587"/>
                        </a:lnTo>
                        <a:lnTo>
                          <a:pt x="1225" y="587"/>
                        </a:lnTo>
                        <a:lnTo>
                          <a:pt x="1202" y="595"/>
                        </a:lnTo>
                        <a:lnTo>
                          <a:pt x="1183" y="595"/>
                        </a:lnTo>
                        <a:lnTo>
                          <a:pt x="1160" y="592"/>
                        </a:lnTo>
                        <a:lnTo>
                          <a:pt x="1149" y="588"/>
                        </a:lnTo>
                        <a:lnTo>
                          <a:pt x="1145" y="585"/>
                        </a:lnTo>
                        <a:lnTo>
                          <a:pt x="1142" y="585"/>
                        </a:lnTo>
                        <a:lnTo>
                          <a:pt x="1140" y="584"/>
                        </a:lnTo>
                        <a:lnTo>
                          <a:pt x="1140" y="577"/>
                        </a:lnTo>
                        <a:lnTo>
                          <a:pt x="1139" y="574"/>
                        </a:lnTo>
                        <a:lnTo>
                          <a:pt x="1134" y="573"/>
                        </a:lnTo>
                        <a:lnTo>
                          <a:pt x="1134" y="568"/>
                        </a:lnTo>
                        <a:lnTo>
                          <a:pt x="1143" y="560"/>
                        </a:lnTo>
                        <a:lnTo>
                          <a:pt x="1144" y="556"/>
                        </a:lnTo>
                        <a:lnTo>
                          <a:pt x="1139" y="556"/>
                        </a:lnTo>
                        <a:lnTo>
                          <a:pt x="1135" y="554"/>
                        </a:lnTo>
                        <a:lnTo>
                          <a:pt x="1133" y="551"/>
                        </a:lnTo>
                        <a:lnTo>
                          <a:pt x="1133" y="544"/>
                        </a:lnTo>
                        <a:lnTo>
                          <a:pt x="1137" y="531"/>
                        </a:lnTo>
                        <a:lnTo>
                          <a:pt x="1137" y="525"/>
                        </a:lnTo>
                        <a:lnTo>
                          <a:pt x="1134" y="515"/>
                        </a:lnTo>
                        <a:lnTo>
                          <a:pt x="1133" y="512"/>
                        </a:lnTo>
                        <a:lnTo>
                          <a:pt x="1128" y="509"/>
                        </a:lnTo>
                        <a:lnTo>
                          <a:pt x="1123" y="511"/>
                        </a:lnTo>
                        <a:lnTo>
                          <a:pt x="1115" y="517"/>
                        </a:lnTo>
                        <a:lnTo>
                          <a:pt x="1107" y="517"/>
                        </a:lnTo>
                        <a:lnTo>
                          <a:pt x="1099" y="520"/>
                        </a:lnTo>
                        <a:lnTo>
                          <a:pt x="1097" y="522"/>
                        </a:lnTo>
                        <a:lnTo>
                          <a:pt x="1094" y="529"/>
                        </a:lnTo>
                        <a:lnTo>
                          <a:pt x="1090" y="541"/>
                        </a:lnTo>
                        <a:lnTo>
                          <a:pt x="1091" y="556"/>
                        </a:lnTo>
                        <a:lnTo>
                          <a:pt x="1090" y="570"/>
                        </a:lnTo>
                        <a:lnTo>
                          <a:pt x="1086" y="574"/>
                        </a:lnTo>
                        <a:lnTo>
                          <a:pt x="1086" y="578"/>
                        </a:lnTo>
                        <a:lnTo>
                          <a:pt x="1094" y="582"/>
                        </a:lnTo>
                        <a:lnTo>
                          <a:pt x="1099" y="592"/>
                        </a:lnTo>
                        <a:lnTo>
                          <a:pt x="1099" y="599"/>
                        </a:lnTo>
                        <a:lnTo>
                          <a:pt x="1092" y="610"/>
                        </a:lnTo>
                        <a:lnTo>
                          <a:pt x="1092" y="613"/>
                        </a:lnTo>
                        <a:lnTo>
                          <a:pt x="1080" y="611"/>
                        </a:lnTo>
                        <a:lnTo>
                          <a:pt x="1069" y="614"/>
                        </a:lnTo>
                        <a:lnTo>
                          <a:pt x="1054" y="613"/>
                        </a:lnTo>
                        <a:lnTo>
                          <a:pt x="1046" y="615"/>
                        </a:lnTo>
                        <a:lnTo>
                          <a:pt x="1036" y="610"/>
                        </a:lnTo>
                        <a:lnTo>
                          <a:pt x="1026" y="609"/>
                        </a:lnTo>
                        <a:lnTo>
                          <a:pt x="1020" y="609"/>
                        </a:lnTo>
                        <a:lnTo>
                          <a:pt x="973" y="601"/>
                        </a:lnTo>
                        <a:lnTo>
                          <a:pt x="967" y="595"/>
                        </a:lnTo>
                        <a:lnTo>
                          <a:pt x="959" y="592"/>
                        </a:lnTo>
                        <a:lnTo>
                          <a:pt x="945" y="593"/>
                        </a:lnTo>
                        <a:lnTo>
                          <a:pt x="925" y="589"/>
                        </a:lnTo>
                        <a:lnTo>
                          <a:pt x="913" y="581"/>
                        </a:lnTo>
                        <a:lnTo>
                          <a:pt x="907" y="576"/>
                        </a:lnTo>
                        <a:lnTo>
                          <a:pt x="897" y="562"/>
                        </a:lnTo>
                        <a:lnTo>
                          <a:pt x="891" y="558"/>
                        </a:lnTo>
                        <a:lnTo>
                          <a:pt x="873" y="555"/>
                        </a:lnTo>
                        <a:lnTo>
                          <a:pt x="869" y="555"/>
                        </a:lnTo>
                        <a:lnTo>
                          <a:pt x="866" y="558"/>
                        </a:lnTo>
                        <a:lnTo>
                          <a:pt x="860" y="557"/>
                        </a:lnTo>
                        <a:lnTo>
                          <a:pt x="852" y="554"/>
                        </a:lnTo>
                        <a:lnTo>
                          <a:pt x="841" y="554"/>
                        </a:lnTo>
                        <a:lnTo>
                          <a:pt x="832" y="558"/>
                        </a:lnTo>
                        <a:lnTo>
                          <a:pt x="827" y="558"/>
                        </a:lnTo>
                        <a:lnTo>
                          <a:pt x="806" y="554"/>
                        </a:lnTo>
                        <a:lnTo>
                          <a:pt x="796" y="541"/>
                        </a:lnTo>
                        <a:lnTo>
                          <a:pt x="794" y="539"/>
                        </a:lnTo>
                        <a:lnTo>
                          <a:pt x="785" y="538"/>
                        </a:lnTo>
                        <a:lnTo>
                          <a:pt x="782" y="538"/>
                        </a:lnTo>
                        <a:lnTo>
                          <a:pt x="772" y="530"/>
                        </a:lnTo>
                        <a:lnTo>
                          <a:pt x="761" y="525"/>
                        </a:lnTo>
                        <a:lnTo>
                          <a:pt x="751" y="524"/>
                        </a:lnTo>
                        <a:lnTo>
                          <a:pt x="741" y="519"/>
                        </a:lnTo>
                        <a:lnTo>
                          <a:pt x="736" y="515"/>
                        </a:lnTo>
                        <a:lnTo>
                          <a:pt x="724" y="501"/>
                        </a:lnTo>
                        <a:lnTo>
                          <a:pt x="715" y="495"/>
                        </a:lnTo>
                        <a:lnTo>
                          <a:pt x="707" y="491"/>
                        </a:lnTo>
                        <a:lnTo>
                          <a:pt x="703" y="487"/>
                        </a:lnTo>
                        <a:lnTo>
                          <a:pt x="690" y="480"/>
                        </a:lnTo>
                        <a:lnTo>
                          <a:pt x="687" y="480"/>
                        </a:lnTo>
                        <a:lnTo>
                          <a:pt x="686" y="484"/>
                        </a:lnTo>
                        <a:lnTo>
                          <a:pt x="681" y="484"/>
                        </a:lnTo>
                        <a:lnTo>
                          <a:pt x="676" y="480"/>
                        </a:lnTo>
                        <a:lnTo>
                          <a:pt x="675" y="474"/>
                        </a:lnTo>
                        <a:lnTo>
                          <a:pt x="670" y="469"/>
                        </a:lnTo>
                        <a:lnTo>
                          <a:pt x="659" y="468"/>
                        </a:lnTo>
                        <a:lnTo>
                          <a:pt x="658" y="465"/>
                        </a:lnTo>
                        <a:lnTo>
                          <a:pt x="659" y="458"/>
                        </a:lnTo>
                        <a:lnTo>
                          <a:pt x="664" y="450"/>
                        </a:lnTo>
                        <a:lnTo>
                          <a:pt x="667" y="449"/>
                        </a:lnTo>
                        <a:lnTo>
                          <a:pt x="669" y="442"/>
                        </a:lnTo>
                        <a:lnTo>
                          <a:pt x="672" y="438"/>
                        </a:lnTo>
                        <a:lnTo>
                          <a:pt x="669" y="429"/>
                        </a:lnTo>
                        <a:lnTo>
                          <a:pt x="672" y="422"/>
                        </a:lnTo>
                        <a:lnTo>
                          <a:pt x="677" y="416"/>
                        </a:lnTo>
                        <a:lnTo>
                          <a:pt x="675" y="409"/>
                        </a:lnTo>
                        <a:lnTo>
                          <a:pt x="675" y="405"/>
                        </a:lnTo>
                        <a:lnTo>
                          <a:pt x="679" y="400"/>
                        </a:lnTo>
                        <a:lnTo>
                          <a:pt x="685" y="400"/>
                        </a:lnTo>
                        <a:lnTo>
                          <a:pt x="688" y="393"/>
                        </a:lnTo>
                        <a:lnTo>
                          <a:pt x="696" y="388"/>
                        </a:lnTo>
                        <a:lnTo>
                          <a:pt x="699" y="382"/>
                        </a:lnTo>
                        <a:lnTo>
                          <a:pt x="701" y="377"/>
                        </a:lnTo>
                        <a:lnTo>
                          <a:pt x="703" y="375"/>
                        </a:lnTo>
                        <a:lnTo>
                          <a:pt x="706" y="377"/>
                        </a:lnTo>
                        <a:lnTo>
                          <a:pt x="712" y="375"/>
                        </a:lnTo>
                        <a:lnTo>
                          <a:pt x="709" y="374"/>
                        </a:lnTo>
                        <a:lnTo>
                          <a:pt x="692" y="369"/>
                        </a:lnTo>
                        <a:lnTo>
                          <a:pt x="690" y="367"/>
                        </a:lnTo>
                        <a:lnTo>
                          <a:pt x="686" y="361"/>
                        </a:lnTo>
                        <a:lnTo>
                          <a:pt x="681" y="359"/>
                        </a:lnTo>
                        <a:lnTo>
                          <a:pt x="669" y="350"/>
                        </a:lnTo>
                        <a:lnTo>
                          <a:pt x="663" y="350"/>
                        </a:lnTo>
                        <a:lnTo>
                          <a:pt x="656" y="346"/>
                        </a:lnTo>
                        <a:lnTo>
                          <a:pt x="654" y="342"/>
                        </a:lnTo>
                        <a:lnTo>
                          <a:pt x="654" y="339"/>
                        </a:lnTo>
                        <a:lnTo>
                          <a:pt x="651" y="335"/>
                        </a:lnTo>
                        <a:lnTo>
                          <a:pt x="647" y="335"/>
                        </a:lnTo>
                        <a:lnTo>
                          <a:pt x="645" y="332"/>
                        </a:lnTo>
                        <a:lnTo>
                          <a:pt x="640" y="330"/>
                        </a:lnTo>
                        <a:lnTo>
                          <a:pt x="632" y="334"/>
                        </a:lnTo>
                        <a:lnTo>
                          <a:pt x="631" y="332"/>
                        </a:lnTo>
                        <a:lnTo>
                          <a:pt x="629" y="326"/>
                        </a:lnTo>
                        <a:lnTo>
                          <a:pt x="628" y="325"/>
                        </a:lnTo>
                        <a:lnTo>
                          <a:pt x="624" y="324"/>
                        </a:lnTo>
                        <a:lnTo>
                          <a:pt x="621" y="325"/>
                        </a:lnTo>
                        <a:lnTo>
                          <a:pt x="612" y="324"/>
                        </a:lnTo>
                        <a:lnTo>
                          <a:pt x="608" y="325"/>
                        </a:lnTo>
                        <a:lnTo>
                          <a:pt x="602" y="329"/>
                        </a:lnTo>
                        <a:lnTo>
                          <a:pt x="599" y="329"/>
                        </a:lnTo>
                        <a:lnTo>
                          <a:pt x="596" y="326"/>
                        </a:lnTo>
                        <a:lnTo>
                          <a:pt x="597" y="316"/>
                        </a:lnTo>
                        <a:lnTo>
                          <a:pt x="593" y="313"/>
                        </a:lnTo>
                        <a:lnTo>
                          <a:pt x="589" y="307"/>
                        </a:lnTo>
                        <a:lnTo>
                          <a:pt x="589" y="304"/>
                        </a:lnTo>
                        <a:lnTo>
                          <a:pt x="584" y="299"/>
                        </a:lnTo>
                        <a:lnTo>
                          <a:pt x="584" y="294"/>
                        </a:lnTo>
                        <a:lnTo>
                          <a:pt x="586" y="287"/>
                        </a:lnTo>
                        <a:lnTo>
                          <a:pt x="583" y="281"/>
                        </a:lnTo>
                        <a:lnTo>
                          <a:pt x="583" y="277"/>
                        </a:lnTo>
                        <a:lnTo>
                          <a:pt x="584" y="270"/>
                        </a:lnTo>
                        <a:lnTo>
                          <a:pt x="586" y="264"/>
                        </a:lnTo>
                        <a:lnTo>
                          <a:pt x="579" y="254"/>
                        </a:lnTo>
                        <a:lnTo>
                          <a:pt x="572" y="246"/>
                        </a:lnTo>
                        <a:lnTo>
                          <a:pt x="572" y="237"/>
                        </a:lnTo>
                        <a:lnTo>
                          <a:pt x="569" y="229"/>
                        </a:lnTo>
                        <a:lnTo>
                          <a:pt x="570" y="226"/>
                        </a:lnTo>
                        <a:lnTo>
                          <a:pt x="581" y="224"/>
                        </a:lnTo>
                        <a:lnTo>
                          <a:pt x="584" y="221"/>
                        </a:lnTo>
                        <a:lnTo>
                          <a:pt x="585" y="222"/>
                        </a:lnTo>
                        <a:lnTo>
                          <a:pt x="586" y="229"/>
                        </a:lnTo>
                        <a:lnTo>
                          <a:pt x="589" y="234"/>
                        </a:lnTo>
                        <a:lnTo>
                          <a:pt x="591" y="237"/>
                        </a:lnTo>
                        <a:lnTo>
                          <a:pt x="599" y="239"/>
                        </a:lnTo>
                        <a:lnTo>
                          <a:pt x="601" y="238"/>
                        </a:lnTo>
                        <a:lnTo>
                          <a:pt x="604" y="237"/>
                        </a:lnTo>
                        <a:lnTo>
                          <a:pt x="607" y="238"/>
                        </a:lnTo>
                        <a:lnTo>
                          <a:pt x="608" y="232"/>
                        </a:lnTo>
                        <a:lnTo>
                          <a:pt x="612" y="229"/>
                        </a:lnTo>
                        <a:lnTo>
                          <a:pt x="616" y="223"/>
                        </a:lnTo>
                        <a:lnTo>
                          <a:pt x="617" y="223"/>
                        </a:lnTo>
                        <a:lnTo>
                          <a:pt x="621" y="228"/>
                        </a:lnTo>
                        <a:lnTo>
                          <a:pt x="623" y="228"/>
                        </a:lnTo>
                        <a:lnTo>
                          <a:pt x="632" y="217"/>
                        </a:lnTo>
                        <a:lnTo>
                          <a:pt x="632" y="215"/>
                        </a:lnTo>
                        <a:lnTo>
                          <a:pt x="628" y="208"/>
                        </a:lnTo>
                        <a:lnTo>
                          <a:pt x="622" y="200"/>
                        </a:lnTo>
                        <a:lnTo>
                          <a:pt x="621" y="195"/>
                        </a:lnTo>
                        <a:lnTo>
                          <a:pt x="622" y="192"/>
                        </a:lnTo>
                        <a:lnTo>
                          <a:pt x="622" y="189"/>
                        </a:lnTo>
                        <a:lnTo>
                          <a:pt x="612" y="184"/>
                        </a:lnTo>
                        <a:lnTo>
                          <a:pt x="607" y="185"/>
                        </a:lnTo>
                        <a:lnTo>
                          <a:pt x="606" y="181"/>
                        </a:lnTo>
                        <a:lnTo>
                          <a:pt x="597" y="174"/>
                        </a:lnTo>
                        <a:lnTo>
                          <a:pt x="597" y="159"/>
                        </a:lnTo>
                        <a:lnTo>
                          <a:pt x="602" y="158"/>
                        </a:lnTo>
                        <a:lnTo>
                          <a:pt x="600" y="152"/>
                        </a:lnTo>
                        <a:lnTo>
                          <a:pt x="601" y="149"/>
                        </a:lnTo>
                        <a:lnTo>
                          <a:pt x="602" y="148"/>
                        </a:lnTo>
                        <a:lnTo>
                          <a:pt x="595" y="141"/>
                        </a:lnTo>
                        <a:lnTo>
                          <a:pt x="596" y="135"/>
                        </a:lnTo>
                        <a:lnTo>
                          <a:pt x="596" y="133"/>
                        </a:lnTo>
                        <a:lnTo>
                          <a:pt x="606" y="133"/>
                        </a:lnTo>
                        <a:lnTo>
                          <a:pt x="610" y="130"/>
                        </a:lnTo>
                        <a:lnTo>
                          <a:pt x="621" y="133"/>
                        </a:lnTo>
                        <a:lnTo>
                          <a:pt x="623" y="131"/>
                        </a:lnTo>
                        <a:lnTo>
                          <a:pt x="628" y="126"/>
                        </a:lnTo>
                        <a:lnTo>
                          <a:pt x="633" y="116"/>
                        </a:lnTo>
                        <a:lnTo>
                          <a:pt x="633" y="105"/>
                        </a:lnTo>
                        <a:lnTo>
                          <a:pt x="643" y="104"/>
                        </a:lnTo>
                        <a:lnTo>
                          <a:pt x="644" y="103"/>
                        </a:lnTo>
                        <a:lnTo>
                          <a:pt x="642" y="100"/>
                        </a:lnTo>
                        <a:lnTo>
                          <a:pt x="643" y="97"/>
                        </a:lnTo>
                        <a:lnTo>
                          <a:pt x="647" y="94"/>
                        </a:lnTo>
                        <a:lnTo>
                          <a:pt x="648" y="92"/>
                        </a:lnTo>
                        <a:lnTo>
                          <a:pt x="651" y="88"/>
                        </a:lnTo>
                        <a:lnTo>
                          <a:pt x="658" y="83"/>
                        </a:lnTo>
                        <a:lnTo>
                          <a:pt x="658" y="77"/>
                        </a:lnTo>
                        <a:lnTo>
                          <a:pt x="664" y="71"/>
                        </a:lnTo>
                        <a:lnTo>
                          <a:pt x="666" y="52"/>
                        </a:lnTo>
                        <a:lnTo>
                          <a:pt x="669" y="50"/>
                        </a:lnTo>
                        <a:lnTo>
                          <a:pt x="669" y="43"/>
                        </a:lnTo>
                        <a:lnTo>
                          <a:pt x="675" y="35"/>
                        </a:lnTo>
                        <a:lnTo>
                          <a:pt x="675" y="32"/>
                        </a:lnTo>
                        <a:lnTo>
                          <a:pt x="671" y="29"/>
                        </a:lnTo>
                        <a:lnTo>
                          <a:pt x="667" y="29"/>
                        </a:lnTo>
                        <a:lnTo>
                          <a:pt x="660" y="38"/>
                        </a:lnTo>
                        <a:lnTo>
                          <a:pt x="658" y="38"/>
                        </a:lnTo>
                        <a:lnTo>
                          <a:pt x="655" y="34"/>
                        </a:lnTo>
                        <a:lnTo>
                          <a:pt x="653" y="23"/>
                        </a:lnTo>
                        <a:lnTo>
                          <a:pt x="648" y="27"/>
                        </a:lnTo>
                        <a:lnTo>
                          <a:pt x="644" y="27"/>
                        </a:lnTo>
                        <a:lnTo>
                          <a:pt x="642" y="22"/>
                        </a:lnTo>
                        <a:lnTo>
                          <a:pt x="639" y="22"/>
                        </a:lnTo>
                        <a:lnTo>
                          <a:pt x="637" y="20"/>
                        </a:lnTo>
                        <a:lnTo>
                          <a:pt x="636" y="11"/>
                        </a:lnTo>
                        <a:lnTo>
                          <a:pt x="632" y="9"/>
                        </a:lnTo>
                        <a:lnTo>
                          <a:pt x="631" y="7"/>
                        </a:lnTo>
                        <a:lnTo>
                          <a:pt x="628" y="6"/>
                        </a:lnTo>
                        <a:lnTo>
                          <a:pt x="624" y="6"/>
                        </a:lnTo>
                        <a:lnTo>
                          <a:pt x="621" y="1"/>
                        </a:lnTo>
                        <a:lnTo>
                          <a:pt x="618" y="0"/>
                        </a:lnTo>
                        <a:lnTo>
                          <a:pt x="615" y="0"/>
                        </a:lnTo>
                        <a:lnTo>
                          <a:pt x="610" y="2"/>
                        </a:lnTo>
                        <a:lnTo>
                          <a:pt x="604" y="2"/>
                        </a:lnTo>
                        <a:lnTo>
                          <a:pt x="599" y="6"/>
                        </a:lnTo>
                        <a:lnTo>
                          <a:pt x="585" y="6"/>
                        </a:lnTo>
                        <a:lnTo>
                          <a:pt x="575" y="13"/>
                        </a:lnTo>
                        <a:lnTo>
                          <a:pt x="564" y="19"/>
                        </a:lnTo>
                        <a:lnTo>
                          <a:pt x="557" y="24"/>
                        </a:lnTo>
                        <a:lnTo>
                          <a:pt x="552" y="29"/>
                        </a:lnTo>
                        <a:lnTo>
                          <a:pt x="547" y="30"/>
                        </a:lnTo>
                        <a:lnTo>
                          <a:pt x="543" y="35"/>
                        </a:lnTo>
                        <a:lnTo>
                          <a:pt x="536" y="32"/>
                        </a:lnTo>
                        <a:lnTo>
                          <a:pt x="531" y="35"/>
                        </a:lnTo>
                        <a:lnTo>
                          <a:pt x="526" y="35"/>
                        </a:lnTo>
                        <a:lnTo>
                          <a:pt x="492" y="60"/>
                        </a:lnTo>
                        <a:lnTo>
                          <a:pt x="488" y="66"/>
                        </a:lnTo>
                        <a:lnTo>
                          <a:pt x="489" y="68"/>
                        </a:lnTo>
                        <a:lnTo>
                          <a:pt x="489" y="71"/>
                        </a:lnTo>
                        <a:lnTo>
                          <a:pt x="486" y="79"/>
                        </a:lnTo>
                        <a:lnTo>
                          <a:pt x="482" y="83"/>
                        </a:lnTo>
                        <a:lnTo>
                          <a:pt x="478" y="82"/>
                        </a:lnTo>
                        <a:lnTo>
                          <a:pt x="475" y="78"/>
                        </a:lnTo>
                        <a:lnTo>
                          <a:pt x="456" y="79"/>
                        </a:lnTo>
                        <a:lnTo>
                          <a:pt x="454" y="81"/>
                        </a:lnTo>
                        <a:lnTo>
                          <a:pt x="449" y="87"/>
                        </a:lnTo>
                        <a:lnTo>
                          <a:pt x="446" y="88"/>
                        </a:lnTo>
                        <a:lnTo>
                          <a:pt x="440" y="88"/>
                        </a:lnTo>
                        <a:lnTo>
                          <a:pt x="433" y="86"/>
                        </a:lnTo>
                        <a:lnTo>
                          <a:pt x="429" y="88"/>
                        </a:lnTo>
                        <a:lnTo>
                          <a:pt x="427" y="92"/>
                        </a:lnTo>
                        <a:lnTo>
                          <a:pt x="423" y="94"/>
                        </a:lnTo>
                        <a:lnTo>
                          <a:pt x="421" y="95"/>
                        </a:lnTo>
                        <a:lnTo>
                          <a:pt x="414" y="94"/>
                        </a:lnTo>
                        <a:lnTo>
                          <a:pt x="411" y="95"/>
                        </a:lnTo>
                        <a:lnTo>
                          <a:pt x="407" y="93"/>
                        </a:lnTo>
                        <a:lnTo>
                          <a:pt x="395" y="93"/>
                        </a:lnTo>
                        <a:lnTo>
                          <a:pt x="390" y="92"/>
                        </a:lnTo>
                        <a:lnTo>
                          <a:pt x="385" y="92"/>
                        </a:lnTo>
                        <a:lnTo>
                          <a:pt x="370" y="83"/>
                        </a:lnTo>
                        <a:lnTo>
                          <a:pt x="360" y="81"/>
                        </a:lnTo>
                        <a:lnTo>
                          <a:pt x="342" y="73"/>
                        </a:lnTo>
                        <a:lnTo>
                          <a:pt x="337" y="76"/>
                        </a:lnTo>
                        <a:lnTo>
                          <a:pt x="333" y="79"/>
                        </a:lnTo>
                        <a:lnTo>
                          <a:pt x="326" y="78"/>
                        </a:lnTo>
                        <a:lnTo>
                          <a:pt x="322" y="79"/>
                        </a:lnTo>
                        <a:lnTo>
                          <a:pt x="321" y="82"/>
                        </a:lnTo>
                        <a:lnTo>
                          <a:pt x="320" y="90"/>
                        </a:lnTo>
                        <a:lnTo>
                          <a:pt x="312" y="104"/>
                        </a:lnTo>
                        <a:lnTo>
                          <a:pt x="312" y="106"/>
                        </a:lnTo>
                        <a:lnTo>
                          <a:pt x="321" y="106"/>
                        </a:lnTo>
                        <a:lnTo>
                          <a:pt x="323" y="111"/>
                        </a:lnTo>
                        <a:lnTo>
                          <a:pt x="323" y="115"/>
                        </a:lnTo>
                        <a:lnTo>
                          <a:pt x="319" y="117"/>
                        </a:lnTo>
                        <a:lnTo>
                          <a:pt x="317" y="119"/>
                        </a:lnTo>
                        <a:lnTo>
                          <a:pt x="317" y="122"/>
                        </a:lnTo>
                        <a:lnTo>
                          <a:pt x="320" y="126"/>
                        </a:lnTo>
                        <a:lnTo>
                          <a:pt x="322" y="127"/>
                        </a:lnTo>
                        <a:lnTo>
                          <a:pt x="333" y="126"/>
                        </a:lnTo>
                        <a:lnTo>
                          <a:pt x="336" y="129"/>
                        </a:lnTo>
                        <a:lnTo>
                          <a:pt x="337" y="132"/>
                        </a:lnTo>
                        <a:lnTo>
                          <a:pt x="337" y="133"/>
                        </a:lnTo>
                        <a:lnTo>
                          <a:pt x="332" y="138"/>
                        </a:lnTo>
                        <a:lnTo>
                          <a:pt x="326" y="141"/>
                        </a:lnTo>
                        <a:lnTo>
                          <a:pt x="325" y="147"/>
                        </a:lnTo>
                        <a:lnTo>
                          <a:pt x="337" y="158"/>
                        </a:lnTo>
                        <a:lnTo>
                          <a:pt x="337" y="164"/>
                        </a:lnTo>
                        <a:lnTo>
                          <a:pt x="336" y="169"/>
                        </a:lnTo>
                        <a:lnTo>
                          <a:pt x="322" y="178"/>
                        </a:lnTo>
                        <a:lnTo>
                          <a:pt x="321" y="181"/>
                        </a:lnTo>
                        <a:lnTo>
                          <a:pt x="330" y="185"/>
                        </a:lnTo>
                        <a:lnTo>
                          <a:pt x="333" y="194"/>
                        </a:lnTo>
                        <a:lnTo>
                          <a:pt x="343" y="200"/>
                        </a:lnTo>
                        <a:lnTo>
                          <a:pt x="342" y="207"/>
                        </a:lnTo>
                        <a:lnTo>
                          <a:pt x="349" y="208"/>
                        </a:lnTo>
                        <a:lnTo>
                          <a:pt x="352" y="212"/>
                        </a:lnTo>
                        <a:lnTo>
                          <a:pt x="358" y="210"/>
                        </a:lnTo>
                        <a:lnTo>
                          <a:pt x="363" y="211"/>
                        </a:lnTo>
                        <a:lnTo>
                          <a:pt x="363" y="216"/>
                        </a:lnTo>
                        <a:lnTo>
                          <a:pt x="362" y="222"/>
                        </a:lnTo>
                        <a:lnTo>
                          <a:pt x="365" y="229"/>
                        </a:lnTo>
                        <a:lnTo>
                          <a:pt x="366" y="230"/>
                        </a:lnTo>
                        <a:lnTo>
                          <a:pt x="384" y="232"/>
                        </a:lnTo>
                        <a:lnTo>
                          <a:pt x="389" y="235"/>
                        </a:lnTo>
                        <a:lnTo>
                          <a:pt x="394" y="234"/>
                        </a:lnTo>
                        <a:lnTo>
                          <a:pt x="400" y="242"/>
                        </a:lnTo>
                        <a:lnTo>
                          <a:pt x="398" y="246"/>
                        </a:lnTo>
                        <a:lnTo>
                          <a:pt x="401" y="250"/>
                        </a:lnTo>
                        <a:lnTo>
                          <a:pt x="396" y="255"/>
                        </a:lnTo>
                        <a:lnTo>
                          <a:pt x="394" y="259"/>
                        </a:lnTo>
                        <a:lnTo>
                          <a:pt x="386" y="260"/>
                        </a:lnTo>
                        <a:lnTo>
                          <a:pt x="382" y="260"/>
                        </a:lnTo>
                        <a:lnTo>
                          <a:pt x="380" y="259"/>
                        </a:lnTo>
                        <a:lnTo>
                          <a:pt x="375" y="260"/>
                        </a:lnTo>
                        <a:lnTo>
                          <a:pt x="373" y="262"/>
                        </a:lnTo>
                        <a:lnTo>
                          <a:pt x="362" y="267"/>
                        </a:lnTo>
                        <a:lnTo>
                          <a:pt x="358" y="275"/>
                        </a:lnTo>
                        <a:lnTo>
                          <a:pt x="357" y="286"/>
                        </a:lnTo>
                        <a:lnTo>
                          <a:pt x="362" y="292"/>
                        </a:lnTo>
                        <a:lnTo>
                          <a:pt x="360" y="297"/>
                        </a:lnTo>
                        <a:lnTo>
                          <a:pt x="363" y="298"/>
                        </a:lnTo>
                        <a:lnTo>
                          <a:pt x="364" y="301"/>
                        </a:lnTo>
                        <a:lnTo>
                          <a:pt x="363" y="304"/>
                        </a:lnTo>
                        <a:lnTo>
                          <a:pt x="358" y="308"/>
                        </a:lnTo>
                        <a:lnTo>
                          <a:pt x="357" y="314"/>
                        </a:lnTo>
                        <a:lnTo>
                          <a:pt x="357" y="316"/>
                        </a:lnTo>
                        <a:lnTo>
                          <a:pt x="359" y="318"/>
                        </a:lnTo>
                        <a:lnTo>
                          <a:pt x="369" y="318"/>
                        </a:lnTo>
                        <a:lnTo>
                          <a:pt x="371" y="324"/>
                        </a:lnTo>
                        <a:lnTo>
                          <a:pt x="369" y="326"/>
                        </a:lnTo>
                        <a:lnTo>
                          <a:pt x="365" y="328"/>
                        </a:lnTo>
                        <a:lnTo>
                          <a:pt x="362" y="326"/>
                        </a:lnTo>
                        <a:lnTo>
                          <a:pt x="359" y="324"/>
                        </a:lnTo>
                        <a:lnTo>
                          <a:pt x="357" y="331"/>
                        </a:lnTo>
                        <a:lnTo>
                          <a:pt x="343" y="336"/>
                        </a:lnTo>
                        <a:lnTo>
                          <a:pt x="331" y="352"/>
                        </a:lnTo>
                        <a:lnTo>
                          <a:pt x="326" y="355"/>
                        </a:lnTo>
                        <a:lnTo>
                          <a:pt x="321" y="361"/>
                        </a:lnTo>
                        <a:lnTo>
                          <a:pt x="317" y="366"/>
                        </a:lnTo>
                        <a:lnTo>
                          <a:pt x="316" y="372"/>
                        </a:lnTo>
                        <a:lnTo>
                          <a:pt x="317" y="380"/>
                        </a:lnTo>
                        <a:lnTo>
                          <a:pt x="314" y="388"/>
                        </a:lnTo>
                        <a:lnTo>
                          <a:pt x="305" y="393"/>
                        </a:lnTo>
                        <a:lnTo>
                          <a:pt x="298" y="393"/>
                        </a:lnTo>
                        <a:lnTo>
                          <a:pt x="292" y="398"/>
                        </a:lnTo>
                        <a:lnTo>
                          <a:pt x="287" y="406"/>
                        </a:lnTo>
                        <a:lnTo>
                          <a:pt x="283" y="417"/>
                        </a:lnTo>
                        <a:lnTo>
                          <a:pt x="277" y="428"/>
                        </a:lnTo>
                        <a:lnTo>
                          <a:pt x="262" y="450"/>
                        </a:lnTo>
                        <a:lnTo>
                          <a:pt x="256" y="457"/>
                        </a:lnTo>
                        <a:lnTo>
                          <a:pt x="244" y="464"/>
                        </a:lnTo>
                        <a:lnTo>
                          <a:pt x="233" y="474"/>
                        </a:lnTo>
                        <a:lnTo>
                          <a:pt x="229" y="479"/>
                        </a:lnTo>
                        <a:lnTo>
                          <a:pt x="219" y="495"/>
                        </a:lnTo>
                        <a:lnTo>
                          <a:pt x="212" y="504"/>
                        </a:lnTo>
                        <a:lnTo>
                          <a:pt x="204" y="519"/>
                        </a:lnTo>
                        <a:lnTo>
                          <a:pt x="199" y="522"/>
                        </a:lnTo>
                        <a:lnTo>
                          <a:pt x="195" y="523"/>
                        </a:lnTo>
                        <a:lnTo>
                          <a:pt x="172" y="523"/>
                        </a:lnTo>
                        <a:lnTo>
                          <a:pt x="169" y="524"/>
                        </a:lnTo>
                        <a:lnTo>
                          <a:pt x="161" y="527"/>
                        </a:lnTo>
                        <a:lnTo>
                          <a:pt x="156" y="533"/>
                        </a:lnTo>
                        <a:lnTo>
                          <a:pt x="152" y="534"/>
                        </a:lnTo>
                        <a:lnTo>
                          <a:pt x="149" y="533"/>
                        </a:lnTo>
                        <a:lnTo>
                          <a:pt x="147" y="528"/>
                        </a:lnTo>
                        <a:lnTo>
                          <a:pt x="139" y="514"/>
                        </a:lnTo>
                        <a:lnTo>
                          <a:pt x="136" y="512"/>
                        </a:lnTo>
                        <a:lnTo>
                          <a:pt x="132" y="513"/>
                        </a:lnTo>
                        <a:lnTo>
                          <a:pt x="122" y="522"/>
                        </a:lnTo>
                        <a:lnTo>
                          <a:pt x="118" y="528"/>
                        </a:lnTo>
                        <a:lnTo>
                          <a:pt x="107" y="538"/>
                        </a:lnTo>
                        <a:lnTo>
                          <a:pt x="93" y="556"/>
                        </a:lnTo>
                        <a:lnTo>
                          <a:pt x="85" y="563"/>
                        </a:lnTo>
                        <a:lnTo>
                          <a:pt x="83" y="570"/>
                        </a:lnTo>
                        <a:lnTo>
                          <a:pt x="79" y="588"/>
                        </a:lnTo>
                        <a:lnTo>
                          <a:pt x="79" y="593"/>
                        </a:lnTo>
                        <a:lnTo>
                          <a:pt x="81" y="598"/>
                        </a:lnTo>
                        <a:lnTo>
                          <a:pt x="88" y="601"/>
                        </a:lnTo>
                        <a:lnTo>
                          <a:pt x="94" y="600"/>
                        </a:lnTo>
                        <a:lnTo>
                          <a:pt x="101" y="603"/>
                        </a:lnTo>
                        <a:lnTo>
                          <a:pt x="111" y="603"/>
                        </a:lnTo>
                        <a:lnTo>
                          <a:pt x="113" y="604"/>
                        </a:lnTo>
                        <a:lnTo>
                          <a:pt x="117" y="608"/>
                        </a:lnTo>
                        <a:lnTo>
                          <a:pt x="118" y="611"/>
                        </a:lnTo>
                        <a:lnTo>
                          <a:pt x="118" y="616"/>
                        </a:lnTo>
                        <a:lnTo>
                          <a:pt x="112" y="636"/>
                        </a:lnTo>
                        <a:lnTo>
                          <a:pt x="112" y="641"/>
                        </a:lnTo>
                        <a:lnTo>
                          <a:pt x="113" y="646"/>
                        </a:lnTo>
                        <a:lnTo>
                          <a:pt x="123" y="657"/>
                        </a:lnTo>
                        <a:lnTo>
                          <a:pt x="127" y="658"/>
                        </a:lnTo>
                        <a:lnTo>
                          <a:pt x="137" y="654"/>
                        </a:lnTo>
                        <a:lnTo>
                          <a:pt x="139" y="655"/>
                        </a:lnTo>
                        <a:lnTo>
                          <a:pt x="142" y="658"/>
                        </a:lnTo>
                        <a:lnTo>
                          <a:pt x="142" y="669"/>
                        </a:lnTo>
                        <a:lnTo>
                          <a:pt x="143" y="678"/>
                        </a:lnTo>
                        <a:lnTo>
                          <a:pt x="148" y="685"/>
                        </a:lnTo>
                        <a:lnTo>
                          <a:pt x="150" y="692"/>
                        </a:lnTo>
                        <a:lnTo>
                          <a:pt x="155" y="698"/>
                        </a:lnTo>
                        <a:lnTo>
                          <a:pt x="160" y="703"/>
                        </a:lnTo>
                        <a:lnTo>
                          <a:pt x="160" y="706"/>
                        </a:lnTo>
                        <a:lnTo>
                          <a:pt x="164" y="711"/>
                        </a:lnTo>
                        <a:lnTo>
                          <a:pt x="165" y="714"/>
                        </a:lnTo>
                        <a:lnTo>
                          <a:pt x="160" y="716"/>
                        </a:lnTo>
                        <a:lnTo>
                          <a:pt x="160" y="718"/>
                        </a:lnTo>
                        <a:lnTo>
                          <a:pt x="160" y="728"/>
                        </a:lnTo>
                        <a:lnTo>
                          <a:pt x="159" y="732"/>
                        </a:lnTo>
                        <a:lnTo>
                          <a:pt x="166" y="733"/>
                        </a:lnTo>
                        <a:lnTo>
                          <a:pt x="166" y="735"/>
                        </a:lnTo>
                        <a:lnTo>
                          <a:pt x="159" y="735"/>
                        </a:lnTo>
                        <a:lnTo>
                          <a:pt x="154" y="739"/>
                        </a:lnTo>
                        <a:lnTo>
                          <a:pt x="154" y="741"/>
                        </a:lnTo>
                        <a:lnTo>
                          <a:pt x="150" y="743"/>
                        </a:lnTo>
                        <a:lnTo>
                          <a:pt x="147" y="743"/>
                        </a:lnTo>
                        <a:lnTo>
                          <a:pt x="140" y="743"/>
                        </a:lnTo>
                        <a:lnTo>
                          <a:pt x="139" y="740"/>
                        </a:lnTo>
                        <a:lnTo>
                          <a:pt x="138" y="739"/>
                        </a:lnTo>
                        <a:lnTo>
                          <a:pt x="139" y="733"/>
                        </a:lnTo>
                        <a:lnTo>
                          <a:pt x="139" y="732"/>
                        </a:lnTo>
                        <a:lnTo>
                          <a:pt x="132" y="730"/>
                        </a:lnTo>
                        <a:lnTo>
                          <a:pt x="127" y="734"/>
                        </a:lnTo>
                        <a:lnTo>
                          <a:pt x="115" y="738"/>
                        </a:lnTo>
                        <a:lnTo>
                          <a:pt x="111" y="745"/>
                        </a:lnTo>
                        <a:lnTo>
                          <a:pt x="110" y="746"/>
                        </a:lnTo>
                        <a:lnTo>
                          <a:pt x="107" y="746"/>
                        </a:lnTo>
                        <a:lnTo>
                          <a:pt x="93" y="746"/>
                        </a:lnTo>
                        <a:lnTo>
                          <a:pt x="84" y="739"/>
                        </a:lnTo>
                        <a:lnTo>
                          <a:pt x="78" y="741"/>
                        </a:lnTo>
                        <a:lnTo>
                          <a:pt x="74" y="739"/>
                        </a:lnTo>
                        <a:lnTo>
                          <a:pt x="62" y="740"/>
                        </a:lnTo>
                        <a:lnTo>
                          <a:pt x="58" y="739"/>
                        </a:lnTo>
                        <a:lnTo>
                          <a:pt x="52" y="740"/>
                        </a:lnTo>
                        <a:lnTo>
                          <a:pt x="48" y="739"/>
                        </a:lnTo>
                        <a:lnTo>
                          <a:pt x="47" y="740"/>
                        </a:lnTo>
                        <a:lnTo>
                          <a:pt x="46" y="740"/>
                        </a:lnTo>
                        <a:lnTo>
                          <a:pt x="43" y="735"/>
                        </a:lnTo>
                        <a:lnTo>
                          <a:pt x="41" y="735"/>
                        </a:lnTo>
                        <a:lnTo>
                          <a:pt x="40" y="740"/>
                        </a:lnTo>
                        <a:lnTo>
                          <a:pt x="40" y="757"/>
                        </a:lnTo>
                        <a:lnTo>
                          <a:pt x="20" y="757"/>
                        </a:lnTo>
                        <a:lnTo>
                          <a:pt x="16" y="759"/>
                        </a:lnTo>
                        <a:lnTo>
                          <a:pt x="11" y="757"/>
                        </a:lnTo>
                        <a:lnTo>
                          <a:pt x="9" y="762"/>
                        </a:lnTo>
                        <a:lnTo>
                          <a:pt x="7" y="764"/>
                        </a:lnTo>
                        <a:lnTo>
                          <a:pt x="5" y="767"/>
                        </a:lnTo>
                        <a:lnTo>
                          <a:pt x="0" y="771"/>
                        </a:lnTo>
                        <a:lnTo>
                          <a:pt x="0" y="773"/>
                        </a:lnTo>
                        <a:lnTo>
                          <a:pt x="2" y="782"/>
                        </a:lnTo>
                        <a:lnTo>
                          <a:pt x="9" y="782"/>
                        </a:lnTo>
                        <a:lnTo>
                          <a:pt x="13" y="791"/>
                        </a:lnTo>
                        <a:lnTo>
                          <a:pt x="27" y="809"/>
                        </a:lnTo>
                        <a:lnTo>
                          <a:pt x="37" y="820"/>
                        </a:lnTo>
                        <a:lnTo>
                          <a:pt x="47" y="825"/>
                        </a:lnTo>
                        <a:lnTo>
                          <a:pt x="67" y="827"/>
                        </a:lnTo>
                        <a:lnTo>
                          <a:pt x="89" y="825"/>
                        </a:lnTo>
                        <a:lnTo>
                          <a:pt x="105" y="821"/>
                        </a:lnTo>
                        <a:lnTo>
                          <a:pt x="113" y="818"/>
                        </a:lnTo>
                        <a:lnTo>
                          <a:pt x="117" y="810"/>
                        </a:lnTo>
                        <a:lnTo>
                          <a:pt x="122" y="808"/>
                        </a:lnTo>
                        <a:lnTo>
                          <a:pt x="124" y="814"/>
                        </a:lnTo>
                        <a:lnTo>
                          <a:pt x="117" y="834"/>
                        </a:lnTo>
                        <a:lnTo>
                          <a:pt x="106" y="843"/>
                        </a:lnTo>
                        <a:lnTo>
                          <a:pt x="96" y="850"/>
                        </a:lnTo>
                        <a:lnTo>
                          <a:pt x="84" y="852"/>
                        </a:lnTo>
                        <a:lnTo>
                          <a:pt x="70" y="854"/>
                        </a:lnTo>
                        <a:lnTo>
                          <a:pt x="59" y="857"/>
                        </a:lnTo>
                        <a:lnTo>
                          <a:pt x="51" y="850"/>
                        </a:lnTo>
                        <a:lnTo>
                          <a:pt x="47" y="854"/>
                        </a:lnTo>
                        <a:lnTo>
                          <a:pt x="50" y="870"/>
                        </a:lnTo>
                        <a:lnTo>
                          <a:pt x="90" y="911"/>
                        </a:lnTo>
                        <a:lnTo>
                          <a:pt x="104" y="926"/>
                        </a:lnTo>
                        <a:lnTo>
                          <a:pt x="124" y="944"/>
                        </a:lnTo>
                        <a:lnTo>
                          <a:pt x="131" y="945"/>
                        </a:lnTo>
                        <a:lnTo>
                          <a:pt x="156" y="947"/>
                        </a:lnTo>
                        <a:lnTo>
                          <a:pt x="167" y="944"/>
                        </a:lnTo>
                        <a:lnTo>
                          <a:pt x="174" y="943"/>
                        </a:lnTo>
                        <a:lnTo>
                          <a:pt x="183" y="936"/>
                        </a:lnTo>
                        <a:lnTo>
                          <a:pt x="190" y="936"/>
                        </a:lnTo>
                        <a:lnTo>
                          <a:pt x="207" y="924"/>
                        </a:lnTo>
                        <a:lnTo>
                          <a:pt x="213" y="916"/>
                        </a:lnTo>
                        <a:lnTo>
                          <a:pt x="218" y="906"/>
                        </a:lnTo>
                        <a:lnTo>
                          <a:pt x="219" y="879"/>
                        </a:lnTo>
                        <a:lnTo>
                          <a:pt x="222" y="867"/>
                        </a:lnTo>
                        <a:lnTo>
                          <a:pt x="224" y="852"/>
                        </a:lnTo>
                        <a:lnTo>
                          <a:pt x="226" y="856"/>
                        </a:lnTo>
                        <a:lnTo>
                          <a:pt x="229" y="857"/>
                        </a:lnTo>
                        <a:lnTo>
                          <a:pt x="258" y="858"/>
                        </a:lnTo>
                        <a:lnTo>
                          <a:pt x="260" y="859"/>
                        </a:lnTo>
                        <a:lnTo>
                          <a:pt x="253" y="866"/>
                        </a:lnTo>
                        <a:lnTo>
                          <a:pt x="242" y="866"/>
                        </a:lnTo>
                        <a:lnTo>
                          <a:pt x="239" y="879"/>
                        </a:lnTo>
                        <a:lnTo>
                          <a:pt x="241" y="880"/>
                        </a:lnTo>
                        <a:lnTo>
                          <a:pt x="240" y="891"/>
                        </a:lnTo>
                        <a:lnTo>
                          <a:pt x="242" y="894"/>
                        </a:lnTo>
                        <a:lnTo>
                          <a:pt x="249" y="897"/>
                        </a:lnTo>
                        <a:lnTo>
                          <a:pt x="242" y="911"/>
                        </a:lnTo>
                        <a:lnTo>
                          <a:pt x="242" y="922"/>
                        </a:lnTo>
                        <a:lnTo>
                          <a:pt x="242" y="924"/>
                        </a:lnTo>
                        <a:lnTo>
                          <a:pt x="246" y="924"/>
                        </a:lnTo>
                        <a:lnTo>
                          <a:pt x="249" y="928"/>
                        </a:lnTo>
                        <a:lnTo>
                          <a:pt x="249" y="934"/>
                        </a:lnTo>
                        <a:lnTo>
                          <a:pt x="255" y="952"/>
                        </a:lnTo>
                        <a:lnTo>
                          <a:pt x="256" y="963"/>
                        </a:lnTo>
                        <a:lnTo>
                          <a:pt x="256" y="971"/>
                        </a:lnTo>
                        <a:lnTo>
                          <a:pt x="250" y="987"/>
                        </a:lnTo>
                        <a:lnTo>
                          <a:pt x="247" y="998"/>
                        </a:lnTo>
                        <a:lnTo>
                          <a:pt x="247" y="1009"/>
                        </a:lnTo>
                        <a:lnTo>
                          <a:pt x="251" y="1028"/>
                        </a:lnTo>
                        <a:lnTo>
                          <a:pt x="253" y="1031"/>
                        </a:lnTo>
                        <a:lnTo>
                          <a:pt x="253" y="1047"/>
                        </a:lnTo>
                        <a:lnTo>
                          <a:pt x="257" y="1044"/>
                        </a:lnTo>
                        <a:lnTo>
                          <a:pt x="261" y="1041"/>
                        </a:lnTo>
                        <a:lnTo>
                          <a:pt x="262" y="1045"/>
                        </a:lnTo>
                        <a:lnTo>
                          <a:pt x="263" y="1052"/>
                        </a:lnTo>
                        <a:lnTo>
                          <a:pt x="261" y="1056"/>
                        </a:lnTo>
                        <a:lnTo>
                          <a:pt x="261" y="1060"/>
                        </a:lnTo>
                        <a:lnTo>
                          <a:pt x="260" y="1065"/>
                        </a:lnTo>
                        <a:lnTo>
                          <a:pt x="257" y="1084"/>
                        </a:lnTo>
                        <a:lnTo>
                          <a:pt x="263" y="1093"/>
                        </a:lnTo>
                        <a:lnTo>
                          <a:pt x="262" y="1096"/>
                        </a:lnTo>
                        <a:lnTo>
                          <a:pt x="265" y="1114"/>
                        </a:lnTo>
                        <a:lnTo>
                          <a:pt x="266" y="1114"/>
                        </a:lnTo>
                        <a:lnTo>
                          <a:pt x="273" y="1139"/>
                        </a:lnTo>
                        <a:lnTo>
                          <a:pt x="276" y="1147"/>
                        </a:lnTo>
                        <a:lnTo>
                          <a:pt x="276" y="1157"/>
                        </a:lnTo>
                        <a:lnTo>
                          <a:pt x="278" y="1163"/>
                        </a:lnTo>
                        <a:lnTo>
                          <a:pt x="282" y="1192"/>
                        </a:lnTo>
                        <a:lnTo>
                          <a:pt x="284" y="1201"/>
                        </a:lnTo>
                        <a:lnTo>
                          <a:pt x="289" y="1212"/>
                        </a:lnTo>
                        <a:lnTo>
                          <a:pt x="293" y="1214"/>
                        </a:lnTo>
                        <a:lnTo>
                          <a:pt x="295" y="1225"/>
                        </a:lnTo>
                        <a:lnTo>
                          <a:pt x="304" y="1236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60000"/>
                      <a:lumOff val="40000"/>
                    </a:schemeClr>
                  </a:solidFill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21" name="Freeform 149"/>
                  <p:cNvSpPr>
                    <a:spLocks/>
                  </p:cNvSpPr>
                  <p:nvPr/>
                </p:nvSpPr>
                <p:spPr bwMode="gray">
                  <a:xfrm>
                    <a:off x="3183" y="2052"/>
                    <a:ext cx="184" cy="168"/>
                  </a:xfrm>
                  <a:custGeom>
                    <a:avLst/>
                    <a:gdLst>
                      <a:gd name="T0" fmla="*/ 4 w 921"/>
                      <a:gd name="T1" fmla="*/ 27 h 842"/>
                      <a:gd name="T2" fmla="*/ 4 w 921"/>
                      <a:gd name="T3" fmla="*/ 24 h 842"/>
                      <a:gd name="T4" fmla="*/ 0 w 921"/>
                      <a:gd name="T5" fmla="*/ 19 h 842"/>
                      <a:gd name="T6" fmla="*/ 4 w 921"/>
                      <a:gd name="T7" fmla="*/ 20 h 842"/>
                      <a:gd name="T8" fmla="*/ 7 w 921"/>
                      <a:gd name="T9" fmla="*/ 19 h 842"/>
                      <a:gd name="T10" fmla="*/ 12 w 921"/>
                      <a:gd name="T11" fmla="*/ 18 h 842"/>
                      <a:gd name="T12" fmla="*/ 13 w 921"/>
                      <a:gd name="T13" fmla="*/ 15 h 842"/>
                      <a:gd name="T14" fmla="*/ 15 w 921"/>
                      <a:gd name="T15" fmla="*/ 15 h 842"/>
                      <a:gd name="T16" fmla="*/ 16 w 921"/>
                      <a:gd name="T17" fmla="*/ 14 h 842"/>
                      <a:gd name="T18" fmla="*/ 17 w 921"/>
                      <a:gd name="T19" fmla="*/ 14 h 842"/>
                      <a:gd name="T20" fmla="*/ 19 w 921"/>
                      <a:gd name="T21" fmla="*/ 12 h 842"/>
                      <a:gd name="T22" fmla="*/ 20 w 921"/>
                      <a:gd name="T23" fmla="*/ 10 h 842"/>
                      <a:gd name="T24" fmla="*/ 20 w 921"/>
                      <a:gd name="T25" fmla="*/ 9 h 842"/>
                      <a:gd name="T26" fmla="*/ 22 w 921"/>
                      <a:gd name="T27" fmla="*/ 8 h 842"/>
                      <a:gd name="T28" fmla="*/ 22 w 921"/>
                      <a:gd name="T29" fmla="*/ 7 h 842"/>
                      <a:gd name="T30" fmla="*/ 23 w 921"/>
                      <a:gd name="T31" fmla="*/ 5 h 842"/>
                      <a:gd name="T32" fmla="*/ 23 w 921"/>
                      <a:gd name="T33" fmla="*/ 2 h 842"/>
                      <a:gd name="T34" fmla="*/ 24 w 921"/>
                      <a:gd name="T35" fmla="*/ 1 h 842"/>
                      <a:gd name="T36" fmla="*/ 26 w 921"/>
                      <a:gd name="T37" fmla="*/ 0 h 842"/>
                      <a:gd name="T38" fmla="*/ 29 w 921"/>
                      <a:gd name="T39" fmla="*/ 0 h 842"/>
                      <a:gd name="T40" fmla="*/ 31 w 921"/>
                      <a:gd name="T41" fmla="*/ 0 h 842"/>
                      <a:gd name="T42" fmla="*/ 32 w 921"/>
                      <a:gd name="T43" fmla="*/ 1 h 842"/>
                      <a:gd name="T44" fmla="*/ 33 w 921"/>
                      <a:gd name="T45" fmla="*/ 2 h 842"/>
                      <a:gd name="T46" fmla="*/ 34 w 921"/>
                      <a:gd name="T47" fmla="*/ 3 h 842"/>
                      <a:gd name="T48" fmla="*/ 36 w 921"/>
                      <a:gd name="T49" fmla="*/ 4 h 842"/>
                      <a:gd name="T50" fmla="*/ 35 w 921"/>
                      <a:gd name="T51" fmla="*/ 6 h 842"/>
                      <a:gd name="T52" fmla="*/ 33 w 921"/>
                      <a:gd name="T53" fmla="*/ 6 h 842"/>
                      <a:gd name="T54" fmla="*/ 32 w 921"/>
                      <a:gd name="T55" fmla="*/ 7 h 842"/>
                      <a:gd name="T56" fmla="*/ 29 w 921"/>
                      <a:gd name="T57" fmla="*/ 6 h 842"/>
                      <a:gd name="T58" fmla="*/ 29 w 921"/>
                      <a:gd name="T59" fmla="*/ 7 h 842"/>
                      <a:gd name="T60" fmla="*/ 29 w 921"/>
                      <a:gd name="T61" fmla="*/ 8 h 842"/>
                      <a:gd name="T62" fmla="*/ 29 w 921"/>
                      <a:gd name="T63" fmla="*/ 10 h 842"/>
                      <a:gd name="T64" fmla="*/ 30 w 921"/>
                      <a:gd name="T65" fmla="*/ 11 h 842"/>
                      <a:gd name="T66" fmla="*/ 32 w 921"/>
                      <a:gd name="T67" fmla="*/ 12 h 842"/>
                      <a:gd name="T68" fmla="*/ 31 w 921"/>
                      <a:gd name="T69" fmla="*/ 13 h 842"/>
                      <a:gd name="T70" fmla="*/ 30 w 921"/>
                      <a:gd name="T71" fmla="*/ 15 h 842"/>
                      <a:gd name="T72" fmla="*/ 31 w 921"/>
                      <a:gd name="T73" fmla="*/ 16 h 842"/>
                      <a:gd name="T74" fmla="*/ 29 w 921"/>
                      <a:gd name="T75" fmla="*/ 17 h 842"/>
                      <a:gd name="T76" fmla="*/ 27 w 921"/>
                      <a:gd name="T77" fmla="*/ 19 h 842"/>
                      <a:gd name="T78" fmla="*/ 25 w 921"/>
                      <a:gd name="T79" fmla="*/ 22 h 842"/>
                      <a:gd name="T80" fmla="*/ 22 w 921"/>
                      <a:gd name="T81" fmla="*/ 24 h 842"/>
                      <a:gd name="T82" fmla="*/ 21 w 921"/>
                      <a:gd name="T83" fmla="*/ 24 h 842"/>
                      <a:gd name="T84" fmla="*/ 19 w 921"/>
                      <a:gd name="T85" fmla="*/ 27 h 842"/>
                      <a:gd name="T86" fmla="*/ 20 w 921"/>
                      <a:gd name="T87" fmla="*/ 27 h 842"/>
                      <a:gd name="T88" fmla="*/ 21 w 921"/>
                      <a:gd name="T89" fmla="*/ 29 h 842"/>
                      <a:gd name="T90" fmla="*/ 22 w 921"/>
                      <a:gd name="T91" fmla="*/ 31 h 842"/>
                      <a:gd name="T92" fmla="*/ 22 w 921"/>
                      <a:gd name="T93" fmla="*/ 32 h 842"/>
                      <a:gd name="T94" fmla="*/ 21 w 921"/>
                      <a:gd name="T95" fmla="*/ 32 h 842"/>
                      <a:gd name="T96" fmla="*/ 19 w 921"/>
                      <a:gd name="T97" fmla="*/ 33 h 842"/>
                      <a:gd name="T98" fmla="*/ 18 w 921"/>
                      <a:gd name="T99" fmla="*/ 32 h 842"/>
                      <a:gd name="T100" fmla="*/ 16 w 921"/>
                      <a:gd name="T101" fmla="*/ 33 h 842"/>
                      <a:gd name="T102" fmla="*/ 15 w 921"/>
                      <a:gd name="T103" fmla="*/ 33 h 842"/>
                      <a:gd name="T104" fmla="*/ 13 w 921"/>
                      <a:gd name="T105" fmla="*/ 31 h 842"/>
                      <a:gd name="T106" fmla="*/ 10 w 921"/>
                      <a:gd name="T107" fmla="*/ 30 h 842"/>
                      <a:gd name="T108" fmla="*/ 7 w 921"/>
                      <a:gd name="T109" fmla="*/ 30 h 842"/>
                      <a:gd name="T110" fmla="*/ 2 w 921"/>
                      <a:gd name="T111" fmla="*/ 30 h 842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w 921"/>
                      <a:gd name="T169" fmla="*/ 0 h 842"/>
                      <a:gd name="T170" fmla="*/ 921 w 921"/>
                      <a:gd name="T171" fmla="*/ 842 h 842"/>
                    </a:gdLst>
                    <a:ahLst/>
                    <a:cxnLst>
                      <a:cxn ang="T112">
                        <a:pos x="T0" y="T1"/>
                      </a:cxn>
                      <a:cxn ang="T113">
                        <a:pos x="T2" y="T3"/>
                      </a:cxn>
                      <a:cxn ang="T114">
                        <a:pos x="T4" y="T5"/>
                      </a:cxn>
                      <a:cxn ang="T115">
                        <a:pos x="T6" y="T7"/>
                      </a:cxn>
                      <a:cxn ang="T116">
                        <a:pos x="T8" y="T9"/>
                      </a:cxn>
                      <a:cxn ang="T117">
                        <a:pos x="T10" y="T11"/>
                      </a:cxn>
                      <a:cxn ang="T118">
                        <a:pos x="T12" y="T13"/>
                      </a:cxn>
                      <a:cxn ang="T119">
                        <a:pos x="T14" y="T15"/>
                      </a:cxn>
                      <a:cxn ang="T120">
                        <a:pos x="T16" y="T17"/>
                      </a:cxn>
                      <a:cxn ang="T121">
                        <a:pos x="T18" y="T19"/>
                      </a:cxn>
                      <a:cxn ang="T122">
                        <a:pos x="T20" y="T21"/>
                      </a:cxn>
                      <a:cxn ang="T123">
                        <a:pos x="T22" y="T23"/>
                      </a:cxn>
                      <a:cxn ang="T124">
                        <a:pos x="T24" y="T25"/>
                      </a:cxn>
                      <a:cxn ang="T125">
                        <a:pos x="T26" y="T27"/>
                      </a:cxn>
                      <a:cxn ang="T126">
                        <a:pos x="T28" y="T29"/>
                      </a:cxn>
                      <a:cxn ang="T127">
                        <a:pos x="T30" y="T31"/>
                      </a:cxn>
                      <a:cxn ang="T128">
                        <a:pos x="T32" y="T33"/>
                      </a:cxn>
                      <a:cxn ang="T129">
                        <a:pos x="T34" y="T35"/>
                      </a:cxn>
                      <a:cxn ang="T130">
                        <a:pos x="T36" y="T37"/>
                      </a:cxn>
                      <a:cxn ang="T131">
                        <a:pos x="T38" y="T39"/>
                      </a:cxn>
                      <a:cxn ang="T132">
                        <a:pos x="T40" y="T41"/>
                      </a:cxn>
                      <a:cxn ang="T133">
                        <a:pos x="T42" y="T43"/>
                      </a:cxn>
                      <a:cxn ang="T134">
                        <a:pos x="T44" y="T45"/>
                      </a:cxn>
                      <a:cxn ang="T135">
                        <a:pos x="T46" y="T47"/>
                      </a:cxn>
                      <a:cxn ang="T136">
                        <a:pos x="T48" y="T49"/>
                      </a:cxn>
                      <a:cxn ang="T137">
                        <a:pos x="T50" y="T51"/>
                      </a:cxn>
                      <a:cxn ang="T138">
                        <a:pos x="T52" y="T53"/>
                      </a:cxn>
                      <a:cxn ang="T139">
                        <a:pos x="T54" y="T55"/>
                      </a:cxn>
                      <a:cxn ang="T140">
                        <a:pos x="T56" y="T57"/>
                      </a:cxn>
                      <a:cxn ang="T141">
                        <a:pos x="T58" y="T59"/>
                      </a:cxn>
                      <a:cxn ang="T142">
                        <a:pos x="T60" y="T61"/>
                      </a:cxn>
                      <a:cxn ang="T143">
                        <a:pos x="T62" y="T63"/>
                      </a:cxn>
                      <a:cxn ang="T144">
                        <a:pos x="T64" y="T65"/>
                      </a:cxn>
                      <a:cxn ang="T145">
                        <a:pos x="T66" y="T67"/>
                      </a:cxn>
                      <a:cxn ang="T146">
                        <a:pos x="T68" y="T69"/>
                      </a:cxn>
                      <a:cxn ang="T147">
                        <a:pos x="T70" y="T71"/>
                      </a:cxn>
                      <a:cxn ang="T148">
                        <a:pos x="T72" y="T73"/>
                      </a:cxn>
                      <a:cxn ang="T149">
                        <a:pos x="T74" y="T75"/>
                      </a:cxn>
                      <a:cxn ang="T150">
                        <a:pos x="T76" y="T77"/>
                      </a:cxn>
                      <a:cxn ang="T151">
                        <a:pos x="T78" y="T79"/>
                      </a:cxn>
                      <a:cxn ang="T152">
                        <a:pos x="T80" y="T81"/>
                      </a:cxn>
                      <a:cxn ang="T153">
                        <a:pos x="T82" y="T83"/>
                      </a:cxn>
                      <a:cxn ang="T154">
                        <a:pos x="T84" y="T85"/>
                      </a:cxn>
                      <a:cxn ang="T155">
                        <a:pos x="T86" y="T87"/>
                      </a:cxn>
                      <a:cxn ang="T156">
                        <a:pos x="T88" y="T89"/>
                      </a:cxn>
                      <a:cxn ang="T157">
                        <a:pos x="T90" y="T91"/>
                      </a:cxn>
                      <a:cxn ang="T158">
                        <a:pos x="T92" y="T93"/>
                      </a:cxn>
                      <a:cxn ang="T159">
                        <a:pos x="T94" y="T95"/>
                      </a:cxn>
                      <a:cxn ang="T160">
                        <a:pos x="T96" y="T97"/>
                      </a:cxn>
                      <a:cxn ang="T161">
                        <a:pos x="T98" y="T99"/>
                      </a:cxn>
                      <a:cxn ang="T162">
                        <a:pos x="T100" y="T101"/>
                      </a:cxn>
                      <a:cxn ang="T163">
                        <a:pos x="T102" y="T103"/>
                      </a:cxn>
                      <a:cxn ang="T164">
                        <a:pos x="T104" y="T105"/>
                      </a:cxn>
                      <a:cxn ang="T165">
                        <a:pos x="T106" y="T107"/>
                      </a:cxn>
                      <a:cxn ang="T166">
                        <a:pos x="T108" y="T109"/>
                      </a:cxn>
                      <a:cxn ang="T167">
                        <a:pos x="T110" y="T111"/>
                      </a:cxn>
                    </a:cxnLst>
                    <a:rect l="T168" t="T169" r="T170" b="T171"/>
                    <a:pathLst>
                      <a:path w="921" h="842">
                        <a:moveTo>
                          <a:pt x="42" y="757"/>
                        </a:moveTo>
                        <a:lnTo>
                          <a:pt x="42" y="743"/>
                        </a:lnTo>
                        <a:lnTo>
                          <a:pt x="44" y="730"/>
                        </a:lnTo>
                        <a:lnTo>
                          <a:pt x="55" y="701"/>
                        </a:lnTo>
                        <a:lnTo>
                          <a:pt x="64" y="689"/>
                        </a:lnTo>
                        <a:lnTo>
                          <a:pt x="77" y="679"/>
                        </a:lnTo>
                        <a:lnTo>
                          <a:pt x="91" y="674"/>
                        </a:lnTo>
                        <a:lnTo>
                          <a:pt x="106" y="668"/>
                        </a:lnTo>
                        <a:lnTo>
                          <a:pt x="118" y="665"/>
                        </a:lnTo>
                        <a:lnTo>
                          <a:pt x="131" y="653"/>
                        </a:lnTo>
                        <a:lnTo>
                          <a:pt x="134" y="647"/>
                        </a:lnTo>
                        <a:lnTo>
                          <a:pt x="133" y="637"/>
                        </a:lnTo>
                        <a:lnTo>
                          <a:pt x="128" y="632"/>
                        </a:lnTo>
                        <a:lnTo>
                          <a:pt x="108" y="628"/>
                        </a:lnTo>
                        <a:lnTo>
                          <a:pt x="109" y="614"/>
                        </a:lnTo>
                        <a:lnTo>
                          <a:pt x="108" y="599"/>
                        </a:lnTo>
                        <a:lnTo>
                          <a:pt x="103" y="573"/>
                        </a:lnTo>
                        <a:lnTo>
                          <a:pt x="98" y="567"/>
                        </a:lnTo>
                        <a:lnTo>
                          <a:pt x="71" y="558"/>
                        </a:lnTo>
                        <a:lnTo>
                          <a:pt x="55" y="550"/>
                        </a:lnTo>
                        <a:lnTo>
                          <a:pt x="43" y="540"/>
                        </a:lnTo>
                        <a:lnTo>
                          <a:pt x="22" y="497"/>
                        </a:lnTo>
                        <a:lnTo>
                          <a:pt x="8" y="485"/>
                        </a:lnTo>
                        <a:lnTo>
                          <a:pt x="0" y="475"/>
                        </a:lnTo>
                        <a:lnTo>
                          <a:pt x="4" y="470"/>
                        </a:lnTo>
                        <a:lnTo>
                          <a:pt x="63" y="486"/>
                        </a:lnTo>
                        <a:lnTo>
                          <a:pt x="81" y="496"/>
                        </a:lnTo>
                        <a:lnTo>
                          <a:pt x="88" y="497"/>
                        </a:lnTo>
                        <a:lnTo>
                          <a:pt x="92" y="496"/>
                        </a:lnTo>
                        <a:lnTo>
                          <a:pt x="96" y="493"/>
                        </a:lnTo>
                        <a:lnTo>
                          <a:pt x="99" y="492"/>
                        </a:lnTo>
                        <a:lnTo>
                          <a:pt x="109" y="492"/>
                        </a:lnTo>
                        <a:lnTo>
                          <a:pt x="118" y="491"/>
                        </a:lnTo>
                        <a:lnTo>
                          <a:pt x="130" y="491"/>
                        </a:lnTo>
                        <a:lnTo>
                          <a:pt x="144" y="490"/>
                        </a:lnTo>
                        <a:lnTo>
                          <a:pt x="161" y="490"/>
                        </a:lnTo>
                        <a:lnTo>
                          <a:pt x="177" y="497"/>
                        </a:lnTo>
                        <a:lnTo>
                          <a:pt x="180" y="495"/>
                        </a:lnTo>
                        <a:lnTo>
                          <a:pt x="184" y="490"/>
                        </a:lnTo>
                        <a:lnTo>
                          <a:pt x="187" y="487"/>
                        </a:lnTo>
                        <a:lnTo>
                          <a:pt x="194" y="485"/>
                        </a:lnTo>
                        <a:lnTo>
                          <a:pt x="206" y="485"/>
                        </a:lnTo>
                        <a:lnTo>
                          <a:pt x="232" y="486"/>
                        </a:lnTo>
                        <a:lnTo>
                          <a:pt x="248" y="482"/>
                        </a:lnTo>
                        <a:lnTo>
                          <a:pt x="268" y="475"/>
                        </a:lnTo>
                        <a:lnTo>
                          <a:pt x="293" y="470"/>
                        </a:lnTo>
                        <a:lnTo>
                          <a:pt x="302" y="464"/>
                        </a:lnTo>
                        <a:lnTo>
                          <a:pt x="302" y="458"/>
                        </a:lnTo>
                        <a:lnTo>
                          <a:pt x="298" y="454"/>
                        </a:lnTo>
                        <a:lnTo>
                          <a:pt x="298" y="450"/>
                        </a:lnTo>
                        <a:lnTo>
                          <a:pt x="302" y="431"/>
                        </a:lnTo>
                        <a:lnTo>
                          <a:pt x="301" y="418"/>
                        </a:lnTo>
                        <a:lnTo>
                          <a:pt x="305" y="404"/>
                        </a:lnTo>
                        <a:lnTo>
                          <a:pt x="308" y="398"/>
                        </a:lnTo>
                        <a:lnTo>
                          <a:pt x="319" y="389"/>
                        </a:lnTo>
                        <a:lnTo>
                          <a:pt x="325" y="378"/>
                        </a:lnTo>
                        <a:lnTo>
                          <a:pt x="333" y="374"/>
                        </a:lnTo>
                        <a:lnTo>
                          <a:pt x="336" y="377"/>
                        </a:lnTo>
                        <a:lnTo>
                          <a:pt x="336" y="380"/>
                        </a:lnTo>
                        <a:lnTo>
                          <a:pt x="348" y="382"/>
                        </a:lnTo>
                        <a:lnTo>
                          <a:pt x="359" y="379"/>
                        </a:lnTo>
                        <a:lnTo>
                          <a:pt x="370" y="377"/>
                        </a:lnTo>
                        <a:lnTo>
                          <a:pt x="377" y="375"/>
                        </a:lnTo>
                        <a:lnTo>
                          <a:pt x="379" y="373"/>
                        </a:lnTo>
                        <a:lnTo>
                          <a:pt x="379" y="371"/>
                        </a:lnTo>
                        <a:lnTo>
                          <a:pt x="372" y="368"/>
                        </a:lnTo>
                        <a:lnTo>
                          <a:pt x="371" y="366"/>
                        </a:lnTo>
                        <a:lnTo>
                          <a:pt x="375" y="362"/>
                        </a:lnTo>
                        <a:lnTo>
                          <a:pt x="392" y="353"/>
                        </a:lnTo>
                        <a:lnTo>
                          <a:pt x="394" y="348"/>
                        </a:lnTo>
                        <a:lnTo>
                          <a:pt x="399" y="346"/>
                        </a:lnTo>
                        <a:lnTo>
                          <a:pt x="405" y="346"/>
                        </a:lnTo>
                        <a:lnTo>
                          <a:pt x="421" y="351"/>
                        </a:lnTo>
                        <a:lnTo>
                          <a:pt x="421" y="348"/>
                        </a:lnTo>
                        <a:lnTo>
                          <a:pt x="418" y="347"/>
                        </a:lnTo>
                        <a:lnTo>
                          <a:pt x="420" y="343"/>
                        </a:lnTo>
                        <a:lnTo>
                          <a:pt x="424" y="343"/>
                        </a:lnTo>
                        <a:lnTo>
                          <a:pt x="431" y="348"/>
                        </a:lnTo>
                        <a:lnTo>
                          <a:pt x="432" y="352"/>
                        </a:lnTo>
                        <a:lnTo>
                          <a:pt x="435" y="356"/>
                        </a:lnTo>
                        <a:lnTo>
                          <a:pt x="441" y="358"/>
                        </a:lnTo>
                        <a:lnTo>
                          <a:pt x="443" y="358"/>
                        </a:lnTo>
                        <a:lnTo>
                          <a:pt x="463" y="337"/>
                        </a:lnTo>
                        <a:lnTo>
                          <a:pt x="463" y="334"/>
                        </a:lnTo>
                        <a:lnTo>
                          <a:pt x="461" y="323"/>
                        </a:lnTo>
                        <a:lnTo>
                          <a:pt x="459" y="305"/>
                        </a:lnTo>
                        <a:lnTo>
                          <a:pt x="461" y="302"/>
                        </a:lnTo>
                        <a:lnTo>
                          <a:pt x="464" y="297"/>
                        </a:lnTo>
                        <a:lnTo>
                          <a:pt x="467" y="292"/>
                        </a:lnTo>
                        <a:lnTo>
                          <a:pt x="469" y="292"/>
                        </a:lnTo>
                        <a:lnTo>
                          <a:pt x="470" y="288"/>
                        </a:lnTo>
                        <a:lnTo>
                          <a:pt x="469" y="282"/>
                        </a:lnTo>
                        <a:lnTo>
                          <a:pt x="470" y="277"/>
                        </a:lnTo>
                        <a:lnTo>
                          <a:pt x="476" y="275"/>
                        </a:lnTo>
                        <a:lnTo>
                          <a:pt x="478" y="261"/>
                        </a:lnTo>
                        <a:lnTo>
                          <a:pt x="490" y="258"/>
                        </a:lnTo>
                        <a:lnTo>
                          <a:pt x="497" y="259"/>
                        </a:lnTo>
                        <a:lnTo>
                          <a:pt x="507" y="251"/>
                        </a:lnTo>
                        <a:lnTo>
                          <a:pt x="515" y="249"/>
                        </a:lnTo>
                        <a:lnTo>
                          <a:pt x="519" y="243"/>
                        </a:lnTo>
                        <a:lnTo>
                          <a:pt x="519" y="239"/>
                        </a:lnTo>
                        <a:lnTo>
                          <a:pt x="515" y="234"/>
                        </a:lnTo>
                        <a:lnTo>
                          <a:pt x="510" y="218"/>
                        </a:lnTo>
                        <a:lnTo>
                          <a:pt x="506" y="218"/>
                        </a:lnTo>
                        <a:lnTo>
                          <a:pt x="500" y="208"/>
                        </a:lnTo>
                        <a:lnTo>
                          <a:pt x="499" y="205"/>
                        </a:lnTo>
                        <a:lnTo>
                          <a:pt x="500" y="200"/>
                        </a:lnTo>
                        <a:lnTo>
                          <a:pt x="504" y="197"/>
                        </a:lnTo>
                        <a:lnTo>
                          <a:pt x="508" y="199"/>
                        </a:lnTo>
                        <a:lnTo>
                          <a:pt x="527" y="203"/>
                        </a:lnTo>
                        <a:lnTo>
                          <a:pt x="538" y="205"/>
                        </a:lnTo>
                        <a:lnTo>
                          <a:pt x="549" y="202"/>
                        </a:lnTo>
                        <a:lnTo>
                          <a:pt x="555" y="199"/>
                        </a:lnTo>
                        <a:lnTo>
                          <a:pt x="562" y="189"/>
                        </a:lnTo>
                        <a:lnTo>
                          <a:pt x="562" y="181"/>
                        </a:lnTo>
                        <a:lnTo>
                          <a:pt x="566" y="178"/>
                        </a:lnTo>
                        <a:lnTo>
                          <a:pt x="562" y="175"/>
                        </a:lnTo>
                        <a:lnTo>
                          <a:pt x="558" y="173"/>
                        </a:lnTo>
                        <a:lnTo>
                          <a:pt x="558" y="167"/>
                        </a:lnTo>
                        <a:lnTo>
                          <a:pt x="561" y="163"/>
                        </a:lnTo>
                        <a:lnTo>
                          <a:pt x="565" y="156"/>
                        </a:lnTo>
                        <a:lnTo>
                          <a:pt x="572" y="147"/>
                        </a:lnTo>
                        <a:lnTo>
                          <a:pt x="581" y="141"/>
                        </a:lnTo>
                        <a:lnTo>
                          <a:pt x="587" y="133"/>
                        </a:lnTo>
                        <a:lnTo>
                          <a:pt x="591" y="126"/>
                        </a:lnTo>
                        <a:lnTo>
                          <a:pt x="591" y="120"/>
                        </a:lnTo>
                        <a:lnTo>
                          <a:pt x="588" y="116"/>
                        </a:lnTo>
                        <a:lnTo>
                          <a:pt x="588" y="114"/>
                        </a:lnTo>
                        <a:lnTo>
                          <a:pt x="593" y="105"/>
                        </a:lnTo>
                        <a:lnTo>
                          <a:pt x="593" y="104"/>
                        </a:lnTo>
                        <a:lnTo>
                          <a:pt x="588" y="94"/>
                        </a:lnTo>
                        <a:lnTo>
                          <a:pt x="585" y="81"/>
                        </a:lnTo>
                        <a:lnTo>
                          <a:pt x="578" y="73"/>
                        </a:lnTo>
                        <a:lnTo>
                          <a:pt x="570" y="67"/>
                        </a:lnTo>
                        <a:lnTo>
                          <a:pt x="569" y="66"/>
                        </a:lnTo>
                        <a:lnTo>
                          <a:pt x="570" y="60"/>
                        </a:lnTo>
                        <a:lnTo>
                          <a:pt x="574" y="56"/>
                        </a:lnTo>
                        <a:lnTo>
                          <a:pt x="591" y="43"/>
                        </a:lnTo>
                        <a:lnTo>
                          <a:pt x="591" y="38"/>
                        </a:lnTo>
                        <a:lnTo>
                          <a:pt x="592" y="36"/>
                        </a:lnTo>
                        <a:lnTo>
                          <a:pt x="597" y="36"/>
                        </a:lnTo>
                        <a:lnTo>
                          <a:pt x="602" y="39"/>
                        </a:lnTo>
                        <a:lnTo>
                          <a:pt x="605" y="38"/>
                        </a:lnTo>
                        <a:lnTo>
                          <a:pt x="604" y="34"/>
                        </a:lnTo>
                        <a:lnTo>
                          <a:pt x="605" y="32"/>
                        </a:lnTo>
                        <a:lnTo>
                          <a:pt x="615" y="29"/>
                        </a:lnTo>
                        <a:lnTo>
                          <a:pt x="619" y="25"/>
                        </a:lnTo>
                        <a:lnTo>
                          <a:pt x="619" y="23"/>
                        </a:lnTo>
                        <a:lnTo>
                          <a:pt x="624" y="22"/>
                        </a:lnTo>
                        <a:lnTo>
                          <a:pt x="628" y="19"/>
                        </a:lnTo>
                        <a:lnTo>
                          <a:pt x="636" y="18"/>
                        </a:lnTo>
                        <a:lnTo>
                          <a:pt x="645" y="12"/>
                        </a:lnTo>
                        <a:lnTo>
                          <a:pt x="652" y="12"/>
                        </a:lnTo>
                        <a:lnTo>
                          <a:pt x="662" y="7"/>
                        </a:lnTo>
                        <a:lnTo>
                          <a:pt x="666" y="8"/>
                        </a:lnTo>
                        <a:lnTo>
                          <a:pt x="701" y="6"/>
                        </a:lnTo>
                        <a:lnTo>
                          <a:pt x="705" y="7"/>
                        </a:lnTo>
                        <a:lnTo>
                          <a:pt x="712" y="6"/>
                        </a:lnTo>
                        <a:lnTo>
                          <a:pt x="726" y="11"/>
                        </a:lnTo>
                        <a:lnTo>
                          <a:pt x="731" y="11"/>
                        </a:lnTo>
                        <a:lnTo>
                          <a:pt x="737" y="6"/>
                        </a:lnTo>
                        <a:lnTo>
                          <a:pt x="741" y="6"/>
                        </a:lnTo>
                        <a:lnTo>
                          <a:pt x="746" y="2"/>
                        </a:lnTo>
                        <a:lnTo>
                          <a:pt x="755" y="4"/>
                        </a:lnTo>
                        <a:lnTo>
                          <a:pt x="757" y="0"/>
                        </a:lnTo>
                        <a:lnTo>
                          <a:pt x="755" y="1"/>
                        </a:lnTo>
                        <a:lnTo>
                          <a:pt x="766" y="4"/>
                        </a:lnTo>
                        <a:lnTo>
                          <a:pt x="780" y="2"/>
                        </a:lnTo>
                        <a:lnTo>
                          <a:pt x="784" y="3"/>
                        </a:lnTo>
                        <a:lnTo>
                          <a:pt x="789" y="6"/>
                        </a:lnTo>
                        <a:lnTo>
                          <a:pt x="796" y="4"/>
                        </a:lnTo>
                        <a:lnTo>
                          <a:pt x="798" y="7"/>
                        </a:lnTo>
                        <a:lnTo>
                          <a:pt x="798" y="19"/>
                        </a:lnTo>
                        <a:lnTo>
                          <a:pt x="800" y="20"/>
                        </a:lnTo>
                        <a:lnTo>
                          <a:pt x="806" y="16"/>
                        </a:lnTo>
                        <a:lnTo>
                          <a:pt x="811" y="16"/>
                        </a:lnTo>
                        <a:lnTo>
                          <a:pt x="822" y="23"/>
                        </a:lnTo>
                        <a:lnTo>
                          <a:pt x="828" y="29"/>
                        </a:lnTo>
                        <a:lnTo>
                          <a:pt x="830" y="35"/>
                        </a:lnTo>
                        <a:lnTo>
                          <a:pt x="830" y="41"/>
                        </a:lnTo>
                        <a:lnTo>
                          <a:pt x="828" y="47"/>
                        </a:lnTo>
                        <a:lnTo>
                          <a:pt x="830" y="50"/>
                        </a:lnTo>
                        <a:lnTo>
                          <a:pt x="832" y="55"/>
                        </a:lnTo>
                        <a:lnTo>
                          <a:pt x="830" y="59"/>
                        </a:lnTo>
                        <a:lnTo>
                          <a:pt x="825" y="60"/>
                        </a:lnTo>
                        <a:lnTo>
                          <a:pt x="825" y="62"/>
                        </a:lnTo>
                        <a:lnTo>
                          <a:pt x="827" y="66"/>
                        </a:lnTo>
                        <a:lnTo>
                          <a:pt x="834" y="67"/>
                        </a:lnTo>
                        <a:lnTo>
                          <a:pt x="840" y="78"/>
                        </a:lnTo>
                        <a:lnTo>
                          <a:pt x="844" y="79"/>
                        </a:lnTo>
                        <a:lnTo>
                          <a:pt x="849" y="78"/>
                        </a:lnTo>
                        <a:lnTo>
                          <a:pt x="852" y="78"/>
                        </a:lnTo>
                        <a:lnTo>
                          <a:pt x="857" y="74"/>
                        </a:lnTo>
                        <a:lnTo>
                          <a:pt x="861" y="73"/>
                        </a:lnTo>
                        <a:lnTo>
                          <a:pt x="862" y="77"/>
                        </a:lnTo>
                        <a:lnTo>
                          <a:pt x="862" y="83"/>
                        </a:lnTo>
                        <a:lnTo>
                          <a:pt x="872" y="89"/>
                        </a:lnTo>
                        <a:lnTo>
                          <a:pt x="889" y="95"/>
                        </a:lnTo>
                        <a:lnTo>
                          <a:pt x="897" y="100"/>
                        </a:lnTo>
                        <a:lnTo>
                          <a:pt x="903" y="99"/>
                        </a:lnTo>
                        <a:lnTo>
                          <a:pt x="910" y="104"/>
                        </a:lnTo>
                        <a:lnTo>
                          <a:pt x="921" y="105"/>
                        </a:lnTo>
                        <a:lnTo>
                          <a:pt x="887" y="130"/>
                        </a:lnTo>
                        <a:lnTo>
                          <a:pt x="883" y="136"/>
                        </a:lnTo>
                        <a:lnTo>
                          <a:pt x="884" y="138"/>
                        </a:lnTo>
                        <a:lnTo>
                          <a:pt x="884" y="141"/>
                        </a:lnTo>
                        <a:lnTo>
                          <a:pt x="881" y="149"/>
                        </a:lnTo>
                        <a:lnTo>
                          <a:pt x="877" y="153"/>
                        </a:lnTo>
                        <a:lnTo>
                          <a:pt x="873" y="152"/>
                        </a:lnTo>
                        <a:lnTo>
                          <a:pt x="870" y="148"/>
                        </a:lnTo>
                        <a:lnTo>
                          <a:pt x="851" y="149"/>
                        </a:lnTo>
                        <a:lnTo>
                          <a:pt x="849" y="151"/>
                        </a:lnTo>
                        <a:lnTo>
                          <a:pt x="844" y="157"/>
                        </a:lnTo>
                        <a:lnTo>
                          <a:pt x="841" y="158"/>
                        </a:lnTo>
                        <a:lnTo>
                          <a:pt x="835" y="158"/>
                        </a:lnTo>
                        <a:lnTo>
                          <a:pt x="828" y="156"/>
                        </a:lnTo>
                        <a:lnTo>
                          <a:pt x="824" y="158"/>
                        </a:lnTo>
                        <a:lnTo>
                          <a:pt x="822" y="162"/>
                        </a:lnTo>
                        <a:lnTo>
                          <a:pt x="818" y="164"/>
                        </a:lnTo>
                        <a:lnTo>
                          <a:pt x="816" y="165"/>
                        </a:lnTo>
                        <a:lnTo>
                          <a:pt x="809" y="164"/>
                        </a:lnTo>
                        <a:lnTo>
                          <a:pt x="806" y="165"/>
                        </a:lnTo>
                        <a:lnTo>
                          <a:pt x="802" y="163"/>
                        </a:lnTo>
                        <a:lnTo>
                          <a:pt x="790" y="163"/>
                        </a:lnTo>
                        <a:lnTo>
                          <a:pt x="785" y="162"/>
                        </a:lnTo>
                        <a:lnTo>
                          <a:pt x="780" y="162"/>
                        </a:lnTo>
                        <a:lnTo>
                          <a:pt x="765" y="153"/>
                        </a:lnTo>
                        <a:lnTo>
                          <a:pt x="755" y="151"/>
                        </a:lnTo>
                        <a:lnTo>
                          <a:pt x="737" y="143"/>
                        </a:lnTo>
                        <a:lnTo>
                          <a:pt x="732" y="146"/>
                        </a:lnTo>
                        <a:lnTo>
                          <a:pt x="728" y="149"/>
                        </a:lnTo>
                        <a:lnTo>
                          <a:pt x="721" y="148"/>
                        </a:lnTo>
                        <a:lnTo>
                          <a:pt x="717" y="149"/>
                        </a:lnTo>
                        <a:lnTo>
                          <a:pt x="716" y="152"/>
                        </a:lnTo>
                        <a:lnTo>
                          <a:pt x="715" y="160"/>
                        </a:lnTo>
                        <a:lnTo>
                          <a:pt x="707" y="174"/>
                        </a:lnTo>
                        <a:lnTo>
                          <a:pt x="707" y="176"/>
                        </a:lnTo>
                        <a:lnTo>
                          <a:pt x="716" y="176"/>
                        </a:lnTo>
                        <a:lnTo>
                          <a:pt x="718" y="181"/>
                        </a:lnTo>
                        <a:lnTo>
                          <a:pt x="718" y="185"/>
                        </a:lnTo>
                        <a:lnTo>
                          <a:pt x="714" y="187"/>
                        </a:lnTo>
                        <a:lnTo>
                          <a:pt x="712" y="189"/>
                        </a:lnTo>
                        <a:lnTo>
                          <a:pt x="712" y="192"/>
                        </a:lnTo>
                        <a:lnTo>
                          <a:pt x="715" y="196"/>
                        </a:lnTo>
                        <a:lnTo>
                          <a:pt x="717" y="197"/>
                        </a:lnTo>
                        <a:lnTo>
                          <a:pt x="728" y="196"/>
                        </a:lnTo>
                        <a:lnTo>
                          <a:pt x="731" y="199"/>
                        </a:lnTo>
                        <a:lnTo>
                          <a:pt x="732" y="202"/>
                        </a:lnTo>
                        <a:lnTo>
                          <a:pt x="732" y="203"/>
                        </a:lnTo>
                        <a:lnTo>
                          <a:pt x="727" y="208"/>
                        </a:lnTo>
                        <a:lnTo>
                          <a:pt x="721" y="211"/>
                        </a:lnTo>
                        <a:lnTo>
                          <a:pt x="720" y="217"/>
                        </a:lnTo>
                        <a:lnTo>
                          <a:pt x="732" y="228"/>
                        </a:lnTo>
                        <a:lnTo>
                          <a:pt x="732" y="234"/>
                        </a:lnTo>
                        <a:lnTo>
                          <a:pt x="731" y="239"/>
                        </a:lnTo>
                        <a:lnTo>
                          <a:pt x="717" y="248"/>
                        </a:lnTo>
                        <a:lnTo>
                          <a:pt x="716" y="251"/>
                        </a:lnTo>
                        <a:lnTo>
                          <a:pt x="725" y="255"/>
                        </a:lnTo>
                        <a:lnTo>
                          <a:pt x="728" y="264"/>
                        </a:lnTo>
                        <a:lnTo>
                          <a:pt x="738" y="270"/>
                        </a:lnTo>
                        <a:lnTo>
                          <a:pt x="737" y="277"/>
                        </a:lnTo>
                        <a:lnTo>
                          <a:pt x="744" y="278"/>
                        </a:lnTo>
                        <a:lnTo>
                          <a:pt x="747" y="282"/>
                        </a:lnTo>
                        <a:lnTo>
                          <a:pt x="753" y="280"/>
                        </a:lnTo>
                        <a:lnTo>
                          <a:pt x="758" y="281"/>
                        </a:lnTo>
                        <a:lnTo>
                          <a:pt x="758" y="286"/>
                        </a:lnTo>
                        <a:lnTo>
                          <a:pt x="757" y="292"/>
                        </a:lnTo>
                        <a:lnTo>
                          <a:pt x="760" y="299"/>
                        </a:lnTo>
                        <a:lnTo>
                          <a:pt x="761" y="300"/>
                        </a:lnTo>
                        <a:lnTo>
                          <a:pt x="779" y="302"/>
                        </a:lnTo>
                        <a:lnTo>
                          <a:pt x="784" y="305"/>
                        </a:lnTo>
                        <a:lnTo>
                          <a:pt x="789" y="304"/>
                        </a:lnTo>
                        <a:lnTo>
                          <a:pt x="795" y="312"/>
                        </a:lnTo>
                        <a:lnTo>
                          <a:pt x="793" y="316"/>
                        </a:lnTo>
                        <a:lnTo>
                          <a:pt x="796" y="320"/>
                        </a:lnTo>
                        <a:lnTo>
                          <a:pt x="791" y="325"/>
                        </a:lnTo>
                        <a:lnTo>
                          <a:pt x="789" y="329"/>
                        </a:lnTo>
                        <a:lnTo>
                          <a:pt x="781" y="330"/>
                        </a:lnTo>
                        <a:lnTo>
                          <a:pt x="777" y="330"/>
                        </a:lnTo>
                        <a:lnTo>
                          <a:pt x="775" y="329"/>
                        </a:lnTo>
                        <a:lnTo>
                          <a:pt x="770" y="330"/>
                        </a:lnTo>
                        <a:lnTo>
                          <a:pt x="768" y="332"/>
                        </a:lnTo>
                        <a:lnTo>
                          <a:pt x="757" y="337"/>
                        </a:lnTo>
                        <a:lnTo>
                          <a:pt x="753" y="345"/>
                        </a:lnTo>
                        <a:lnTo>
                          <a:pt x="752" y="356"/>
                        </a:lnTo>
                        <a:lnTo>
                          <a:pt x="757" y="362"/>
                        </a:lnTo>
                        <a:lnTo>
                          <a:pt x="755" y="367"/>
                        </a:lnTo>
                        <a:lnTo>
                          <a:pt x="758" y="368"/>
                        </a:lnTo>
                        <a:lnTo>
                          <a:pt x="759" y="371"/>
                        </a:lnTo>
                        <a:lnTo>
                          <a:pt x="758" y="374"/>
                        </a:lnTo>
                        <a:lnTo>
                          <a:pt x="753" y="378"/>
                        </a:lnTo>
                        <a:lnTo>
                          <a:pt x="752" y="384"/>
                        </a:lnTo>
                        <a:lnTo>
                          <a:pt x="752" y="386"/>
                        </a:lnTo>
                        <a:lnTo>
                          <a:pt x="754" y="388"/>
                        </a:lnTo>
                        <a:lnTo>
                          <a:pt x="764" y="388"/>
                        </a:lnTo>
                        <a:lnTo>
                          <a:pt x="766" y="394"/>
                        </a:lnTo>
                        <a:lnTo>
                          <a:pt x="764" y="396"/>
                        </a:lnTo>
                        <a:lnTo>
                          <a:pt x="760" y="398"/>
                        </a:lnTo>
                        <a:lnTo>
                          <a:pt x="757" y="396"/>
                        </a:lnTo>
                        <a:lnTo>
                          <a:pt x="754" y="394"/>
                        </a:lnTo>
                        <a:lnTo>
                          <a:pt x="752" y="401"/>
                        </a:lnTo>
                        <a:lnTo>
                          <a:pt x="738" y="406"/>
                        </a:lnTo>
                        <a:lnTo>
                          <a:pt x="726" y="422"/>
                        </a:lnTo>
                        <a:lnTo>
                          <a:pt x="721" y="425"/>
                        </a:lnTo>
                        <a:lnTo>
                          <a:pt x="716" y="431"/>
                        </a:lnTo>
                        <a:lnTo>
                          <a:pt x="712" y="436"/>
                        </a:lnTo>
                        <a:lnTo>
                          <a:pt x="711" y="442"/>
                        </a:lnTo>
                        <a:lnTo>
                          <a:pt x="712" y="450"/>
                        </a:lnTo>
                        <a:lnTo>
                          <a:pt x="709" y="458"/>
                        </a:lnTo>
                        <a:lnTo>
                          <a:pt x="700" y="463"/>
                        </a:lnTo>
                        <a:lnTo>
                          <a:pt x="693" y="463"/>
                        </a:lnTo>
                        <a:lnTo>
                          <a:pt x="687" y="468"/>
                        </a:lnTo>
                        <a:lnTo>
                          <a:pt x="682" y="476"/>
                        </a:lnTo>
                        <a:lnTo>
                          <a:pt x="678" y="487"/>
                        </a:lnTo>
                        <a:lnTo>
                          <a:pt x="672" y="498"/>
                        </a:lnTo>
                        <a:lnTo>
                          <a:pt x="657" y="520"/>
                        </a:lnTo>
                        <a:lnTo>
                          <a:pt x="651" y="527"/>
                        </a:lnTo>
                        <a:lnTo>
                          <a:pt x="639" y="534"/>
                        </a:lnTo>
                        <a:lnTo>
                          <a:pt x="628" y="544"/>
                        </a:lnTo>
                        <a:lnTo>
                          <a:pt x="624" y="549"/>
                        </a:lnTo>
                        <a:lnTo>
                          <a:pt x="614" y="565"/>
                        </a:lnTo>
                        <a:lnTo>
                          <a:pt x="607" y="574"/>
                        </a:lnTo>
                        <a:lnTo>
                          <a:pt x="599" y="589"/>
                        </a:lnTo>
                        <a:lnTo>
                          <a:pt x="594" y="592"/>
                        </a:lnTo>
                        <a:lnTo>
                          <a:pt x="590" y="593"/>
                        </a:lnTo>
                        <a:lnTo>
                          <a:pt x="567" y="593"/>
                        </a:lnTo>
                        <a:lnTo>
                          <a:pt x="564" y="594"/>
                        </a:lnTo>
                        <a:lnTo>
                          <a:pt x="556" y="597"/>
                        </a:lnTo>
                        <a:lnTo>
                          <a:pt x="551" y="603"/>
                        </a:lnTo>
                        <a:lnTo>
                          <a:pt x="547" y="604"/>
                        </a:lnTo>
                        <a:lnTo>
                          <a:pt x="544" y="603"/>
                        </a:lnTo>
                        <a:lnTo>
                          <a:pt x="542" y="598"/>
                        </a:lnTo>
                        <a:lnTo>
                          <a:pt x="534" y="584"/>
                        </a:lnTo>
                        <a:lnTo>
                          <a:pt x="531" y="582"/>
                        </a:lnTo>
                        <a:lnTo>
                          <a:pt x="527" y="583"/>
                        </a:lnTo>
                        <a:lnTo>
                          <a:pt x="517" y="592"/>
                        </a:lnTo>
                        <a:lnTo>
                          <a:pt x="513" y="598"/>
                        </a:lnTo>
                        <a:lnTo>
                          <a:pt x="502" y="608"/>
                        </a:lnTo>
                        <a:lnTo>
                          <a:pt x="488" y="626"/>
                        </a:lnTo>
                        <a:lnTo>
                          <a:pt x="480" y="633"/>
                        </a:lnTo>
                        <a:lnTo>
                          <a:pt x="478" y="640"/>
                        </a:lnTo>
                        <a:lnTo>
                          <a:pt x="474" y="658"/>
                        </a:lnTo>
                        <a:lnTo>
                          <a:pt x="474" y="663"/>
                        </a:lnTo>
                        <a:lnTo>
                          <a:pt x="476" y="668"/>
                        </a:lnTo>
                        <a:lnTo>
                          <a:pt x="483" y="671"/>
                        </a:lnTo>
                        <a:lnTo>
                          <a:pt x="489" y="670"/>
                        </a:lnTo>
                        <a:lnTo>
                          <a:pt x="496" y="673"/>
                        </a:lnTo>
                        <a:lnTo>
                          <a:pt x="506" y="673"/>
                        </a:lnTo>
                        <a:lnTo>
                          <a:pt x="508" y="674"/>
                        </a:lnTo>
                        <a:lnTo>
                          <a:pt x="512" y="678"/>
                        </a:lnTo>
                        <a:lnTo>
                          <a:pt x="513" y="681"/>
                        </a:lnTo>
                        <a:lnTo>
                          <a:pt x="513" y="686"/>
                        </a:lnTo>
                        <a:lnTo>
                          <a:pt x="507" y="706"/>
                        </a:lnTo>
                        <a:lnTo>
                          <a:pt x="507" y="711"/>
                        </a:lnTo>
                        <a:lnTo>
                          <a:pt x="508" y="716"/>
                        </a:lnTo>
                        <a:lnTo>
                          <a:pt x="518" y="727"/>
                        </a:lnTo>
                        <a:lnTo>
                          <a:pt x="522" y="728"/>
                        </a:lnTo>
                        <a:lnTo>
                          <a:pt x="532" y="724"/>
                        </a:lnTo>
                        <a:lnTo>
                          <a:pt x="534" y="725"/>
                        </a:lnTo>
                        <a:lnTo>
                          <a:pt x="537" y="728"/>
                        </a:lnTo>
                        <a:lnTo>
                          <a:pt x="537" y="739"/>
                        </a:lnTo>
                        <a:lnTo>
                          <a:pt x="538" y="748"/>
                        </a:lnTo>
                        <a:lnTo>
                          <a:pt x="543" y="755"/>
                        </a:lnTo>
                        <a:lnTo>
                          <a:pt x="545" y="762"/>
                        </a:lnTo>
                        <a:lnTo>
                          <a:pt x="550" y="768"/>
                        </a:lnTo>
                        <a:lnTo>
                          <a:pt x="555" y="773"/>
                        </a:lnTo>
                        <a:lnTo>
                          <a:pt x="555" y="776"/>
                        </a:lnTo>
                        <a:lnTo>
                          <a:pt x="559" y="781"/>
                        </a:lnTo>
                        <a:lnTo>
                          <a:pt x="560" y="784"/>
                        </a:lnTo>
                        <a:lnTo>
                          <a:pt x="555" y="786"/>
                        </a:lnTo>
                        <a:lnTo>
                          <a:pt x="555" y="788"/>
                        </a:lnTo>
                        <a:lnTo>
                          <a:pt x="555" y="798"/>
                        </a:lnTo>
                        <a:lnTo>
                          <a:pt x="554" y="802"/>
                        </a:lnTo>
                        <a:lnTo>
                          <a:pt x="561" y="803"/>
                        </a:lnTo>
                        <a:lnTo>
                          <a:pt x="561" y="805"/>
                        </a:lnTo>
                        <a:lnTo>
                          <a:pt x="554" y="805"/>
                        </a:lnTo>
                        <a:lnTo>
                          <a:pt x="549" y="809"/>
                        </a:lnTo>
                        <a:lnTo>
                          <a:pt x="549" y="811"/>
                        </a:lnTo>
                        <a:lnTo>
                          <a:pt x="545" y="813"/>
                        </a:lnTo>
                        <a:lnTo>
                          <a:pt x="542" y="813"/>
                        </a:lnTo>
                        <a:lnTo>
                          <a:pt x="535" y="813"/>
                        </a:lnTo>
                        <a:lnTo>
                          <a:pt x="534" y="810"/>
                        </a:lnTo>
                        <a:lnTo>
                          <a:pt x="533" y="809"/>
                        </a:lnTo>
                        <a:lnTo>
                          <a:pt x="534" y="803"/>
                        </a:lnTo>
                        <a:lnTo>
                          <a:pt x="534" y="802"/>
                        </a:lnTo>
                        <a:lnTo>
                          <a:pt x="527" y="800"/>
                        </a:lnTo>
                        <a:lnTo>
                          <a:pt x="522" y="804"/>
                        </a:lnTo>
                        <a:lnTo>
                          <a:pt x="510" y="808"/>
                        </a:lnTo>
                        <a:lnTo>
                          <a:pt x="506" y="815"/>
                        </a:lnTo>
                        <a:lnTo>
                          <a:pt x="505" y="816"/>
                        </a:lnTo>
                        <a:lnTo>
                          <a:pt x="502" y="816"/>
                        </a:lnTo>
                        <a:lnTo>
                          <a:pt x="488" y="816"/>
                        </a:lnTo>
                        <a:lnTo>
                          <a:pt x="479" y="809"/>
                        </a:lnTo>
                        <a:lnTo>
                          <a:pt x="473" y="811"/>
                        </a:lnTo>
                        <a:lnTo>
                          <a:pt x="469" y="809"/>
                        </a:lnTo>
                        <a:lnTo>
                          <a:pt x="457" y="810"/>
                        </a:lnTo>
                        <a:lnTo>
                          <a:pt x="453" y="809"/>
                        </a:lnTo>
                        <a:lnTo>
                          <a:pt x="447" y="810"/>
                        </a:lnTo>
                        <a:lnTo>
                          <a:pt x="443" y="809"/>
                        </a:lnTo>
                        <a:lnTo>
                          <a:pt x="442" y="810"/>
                        </a:lnTo>
                        <a:lnTo>
                          <a:pt x="441" y="810"/>
                        </a:lnTo>
                        <a:lnTo>
                          <a:pt x="438" y="805"/>
                        </a:lnTo>
                        <a:lnTo>
                          <a:pt x="436" y="805"/>
                        </a:lnTo>
                        <a:lnTo>
                          <a:pt x="435" y="810"/>
                        </a:lnTo>
                        <a:lnTo>
                          <a:pt x="435" y="827"/>
                        </a:lnTo>
                        <a:lnTo>
                          <a:pt x="415" y="827"/>
                        </a:lnTo>
                        <a:lnTo>
                          <a:pt x="411" y="829"/>
                        </a:lnTo>
                        <a:lnTo>
                          <a:pt x="406" y="827"/>
                        </a:lnTo>
                        <a:lnTo>
                          <a:pt x="404" y="832"/>
                        </a:lnTo>
                        <a:lnTo>
                          <a:pt x="402" y="834"/>
                        </a:lnTo>
                        <a:lnTo>
                          <a:pt x="400" y="837"/>
                        </a:lnTo>
                        <a:lnTo>
                          <a:pt x="395" y="841"/>
                        </a:lnTo>
                        <a:lnTo>
                          <a:pt x="391" y="842"/>
                        </a:lnTo>
                        <a:lnTo>
                          <a:pt x="378" y="837"/>
                        </a:lnTo>
                        <a:lnTo>
                          <a:pt x="367" y="836"/>
                        </a:lnTo>
                        <a:lnTo>
                          <a:pt x="363" y="834"/>
                        </a:lnTo>
                        <a:lnTo>
                          <a:pt x="362" y="827"/>
                        </a:lnTo>
                        <a:lnTo>
                          <a:pt x="360" y="824"/>
                        </a:lnTo>
                        <a:lnTo>
                          <a:pt x="355" y="820"/>
                        </a:lnTo>
                        <a:lnTo>
                          <a:pt x="350" y="808"/>
                        </a:lnTo>
                        <a:lnTo>
                          <a:pt x="344" y="791"/>
                        </a:lnTo>
                        <a:lnTo>
                          <a:pt x="344" y="784"/>
                        </a:lnTo>
                        <a:lnTo>
                          <a:pt x="340" y="784"/>
                        </a:lnTo>
                        <a:lnTo>
                          <a:pt x="329" y="781"/>
                        </a:lnTo>
                        <a:lnTo>
                          <a:pt x="322" y="776"/>
                        </a:lnTo>
                        <a:lnTo>
                          <a:pt x="318" y="756"/>
                        </a:lnTo>
                        <a:lnTo>
                          <a:pt x="316" y="751"/>
                        </a:lnTo>
                        <a:lnTo>
                          <a:pt x="308" y="745"/>
                        </a:lnTo>
                        <a:lnTo>
                          <a:pt x="302" y="741"/>
                        </a:lnTo>
                        <a:lnTo>
                          <a:pt x="292" y="740"/>
                        </a:lnTo>
                        <a:lnTo>
                          <a:pt x="271" y="744"/>
                        </a:lnTo>
                        <a:lnTo>
                          <a:pt x="250" y="744"/>
                        </a:lnTo>
                        <a:lnTo>
                          <a:pt x="236" y="750"/>
                        </a:lnTo>
                        <a:lnTo>
                          <a:pt x="227" y="748"/>
                        </a:lnTo>
                        <a:lnTo>
                          <a:pt x="212" y="746"/>
                        </a:lnTo>
                        <a:lnTo>
                          <a:pt x="205" y="759"/>
                        </a:lnTo>
                        <a:lnTo>
                          <a:pt x="200" y="753"/>
                        </a:lnTo>
                        <a:lnTo>
                          <a:pt x="188" y="753"/>
                        </a:lnTo>
                        <a:lnTo>
                          <a:pt x="178" y="745"/>
                        </a:lnTo>
                        <a:lnTo>
                          <a:pt x="164" y="746"/>
                        </a:lnTo>
                        <a:lnTo>
                          <a:pt x="151" y="745"/>
                        </a:lnTo>
                        <a:lnTo>
                          <a:pt x="144" y="753"/>
                        </a:lnTo>
                        <a:lnTo>
                          <a:pt x="130" y="755"/>
                        </a:lnTo>
                        <a:lnTo>
                          <a:pt x="102" y="751"/>
                        </a:lnTo>
                        <a:lnTo>
                          <a:pt x="91" y="751"/>
                        </a:lnTo>
                        <a:lnTo>
                          <a:pt x="76" y="759"/>
                        </a:lnTo>
                        <a:lnTo>
                          <a:pt x="69" y="755"/>
                        </a:lnTo>
                        <a:lnTo>
                          <a:pt x="61" y="761"/>
                        </a:lnTo>
                        <a:lnTo>
                          <a:pt x="53" y="761"/>
                        </a:lnTo>
                        <a:lnTo>
                          <a:pt x="48" y="765"/>
                        </a:lnTo>
                        <a:lnTo>
                          <a:pt x="45" y="759"/>
                        </a:lnTo>
                        <a:lnTo>
                          <a:pt x="42" y="757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22" name="Freeform 150"/>
                  <p:cNvSpPr>
                    <a:spLocks/>
                  </p:cNvSpPr>
                  <p:nvPr/>
                </p:nvSpPr>
                <p:spPr bwMode="gray">
                  <a:xfrm>
                    <a:off x="3489" y="2165"/>
                    <a:ext cx="37" cy="20"/>
                  </a:xfrm>
                  <a:custGeom>
                    <a:avLst/>
                    <a:gdLst>
                      <a:gd name="T0" fmla="*/ 6 w 187"/>
                      <a:gd name="T1" fmla="*/ 1 h 98"/>
                      <a:gd name="T2" fmla="*/ 6 w 187"/>
                      <a:gd name="T3" fmla="*/ 1 h 98"/>
                      <a:gd name="T4" fmla="*/ 6 w 187"/>
                      <a:gd name="T5" fmla="*/ 1 h 98"/>
                      <a:gd name="T6" fmla="*/ 6 w 187"/>
                      <a:gd name="T7" fmla="*/ 1 h 98"/>
                      <a:gd name="T8" fmla="*/ 6 w 187"/>
                      <a:gd name="T9" fmla="*/ 1 h 98"/>
                      <a:gd name="T10" fmla="*/ 5 w 187"/>
                      <a:gd name="T11" fmla="*/ 1 h 98"/>
                      <a:gd name="T12" fmla="*/ 5 w 187"/>
                      <a:gd name="T13" fmla="*/ 1 h 98"/>
                      <a:gd name="T14" fmla="*/ 4 w 187"/>
                      <a:gd name="T15" fmla="*/ 1 h 98"/>
                      <a:gd name="T16" fmla="*/ 4 w 187"/>
                      <a:gd name="T17" fmla="*/ 1 h 98"/>
                      <a:gd name="T18" fmla="*/ 4 w 187"/>
                      <a:gd name="T19" fmla="*/ 0 h 98"/>
                      <a:gd name="T20" fmla="*/ 4 w 187"/>
                      <a:gd name="T21" fmla="*/ 0 h 98"/>
                      <a:gd name="T22" fmla="*/ 3 w 187"/>
                      <a:gd name="T23" fmla="*/ 0 h 98"/>
                      <a:gd name="T24" fmla="*/ 3 w 187"/>
                      <a:gd name="T25" fmla="*/ 0 h 98"/>
                      <a:gd name="T26" fmla="*/ 3 w 187"/>
                      <a:gd name="T27" fmla="*/ 0 h 98"/>
                      <a:gd name="T28" fmla="*/ 2 w 187"/>
                      <a:gd name="T29" fmla="*/ 0 h 98"/>
                      <a:gd name="T30" fmla="*/ 2 w 187"/>
                      <a:gd name="T31" fmla="*/ 1 h 98"/>
                      <a:gd name="T32" fmla="*/ 1 w 187"/>
                      <a:gd name="T33" fmla="*/ 1 h 98"/>
                      <a:gd name="T34" fmla="*/ 0 w 187"/>
                      <a:gd name="T35" fmla="*/ 2 h 98"/>
                      <a:gd name="T36" fmla="*/ 0 w 187"/>
                      <a:gd name="T37" fmla="*/ 2 h 98"/>
                      <a:gd name="T38" fmla="*/ 0 w 187"/>
                      <a:gd name="T39" fmla="*/ 3 h 98"/>
                      <a:gd name="T40" fmla="*/ 0 w 187"/>
                      <a:gd name="T41" fmla="*/ 3 h 98"/>
                      <a:gd name="T42" fmla="*/ 0 w 187"/>
                      <a:gd name="T43" fmla="*/ 3 h 98"/>
                      <a:gd name="T44" fmla="*/ 0 w 187"/>
                      <a:gd name="T45" fmla="*/ 3 h 98"/>
                      <a:gd name="T46" fmla="*/ 0 w 187"/>
                      <a:gd name="T47" fmla="*/ 3 h 98"/>
                      <a:gd name="T48" fmla="*/ 0 w 187"/>
                      <a:gd name="T49" fmla="*/ 4 h 98"/>
                      <a:gd name="T50" fmla="*/ 0 w 187"/>
                      <a:gd name="T51" fmla="*/ 4 h 98"/>
                      <a:gd name="T52" fmla="*/ 0 w 187"/>
                      <a:gd name="T53" fmla="*/ 4 h 98"/>
                      <a:gd name="T54" fmla="*/ 1 w 187"/>
                      <a:gd name="T55" fmla="*/ 4 h 98"/>
                      <a:gd name="T56" fmla="*/ 1 w 187"/>
                      <a:gd name="T57" fmla="*/ 4 h 98"/>
                      <a:gd name="T58" fmla="*/ 2 w 187"/>
                      <a:gd name="T59" fmla="*/ 4 h 98"/>
                      <a:gd name="T60" fmla="*/ 3 w 187"/>
                      <a:gd name="T61" fmla="*/ 4 h 98"/>
                      <a:gd name="T62" fmla="*/ 4 w 187"/>
                      <a:gd name="T63" fmla="*/ 4 h 98"/>
                      <a:gd name="T64" fmla="*/ 4 w 187"/>
                      <a:gd name="T65" fmla="*/ 4 h 98"/>
                      <a:gd name="T66" fmla="*/ 4 w 187"/>
                      <a:gd name="T67" fmla="*/ 4 h 98"/>
                      <a:gd name="T68" fmla="*/ 5 w 187"/>
                      <a:gd name="T69" fmla="*/ 4 h 98"/>
                      <a:gd name="T70" fmla="*/ 5 w 187"/>
                      <a:gd name="T71" fmla="*/ 4 h 98"/>
                      <a:gd name="T72" fmla="*/ 6 w 187"/>
                      <a:gd name="T73" fmla="*/ 4 h 98"/>
                      <a:gd name="T74" fmla="*/ 6 w 187"/>
                      <a:gd name="T75" fmla="*/ 4 h 98"/>
                      <a:gd name="T76" fmla="*/ 7 w 187"/>
                      <a:gd name="T77" fmla="*/ 3 h 98"/>
                      <a:gd name="T78" fmla="*/ 7 w 187"/>
                      <a:gd name="T79" fmla="*/ 3 h 98"/>
                      <a:gd name="T80" fmla="*/ 7 w 187"/>
                      <a:gd name="T81" fmla="*/ 3 h 98"/>
                      <a:gd name="T82" fmla="*/ 7 w 187"/>
                      <a:gd name="T83" fmla="*/ 3 h 98"/>
                      <a:gd name="T84" fmla="*/ 7 w 187"/>
                      <a:gd name="T85" fmla="*/ 2 h 98"/>
                      <a:gd name="T86" fmla="*/ 7 w 187"/>
                      <a:gd name="T87" fmla="*/ 2 h 98"/>
                      <a:gd name="T88" fmla="*/ 6 w 187"/>
                      <a:gd name="T89" fmla="*/ 2 h 98"/>
                      <a:gd name="T90" fmla="*/ 6 w 187"/>
                      <a:gd name="T91" fmla="*/ 2 h 98"/>
                      <a:gd name="T92" fmla="*/ 6 w 187"/>
                      <a:gd name="T93" fmla="*/ 2 h 98"/>
                      <a:gd name="T94" fmla="*/ 6 w 187"/>
                      <a:gd name="T95" fmla="*/ 1 h 98"/>
                      <a:gd name="T96" fmla="*/ 6 w 187"/>
                      <a:gd name="T97" fmla="*/ 1 h 98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w 187"/>
                      <a:gd name="T148" fmla="*/ 0 h 98"/>
                      <a:gd name="T149" fmla="*/ 187 w 187"/>
                      <a:gd name="T150" fmla="*/ 98 h 98"/>
                    </a:gdLst>
                    <a:ahLst/>
                    <a:cxnLst>
                      <a:cxn ang="T98">
                        <a:pos x="T0" y="T1"/>
                      </a:cxn>
                      <a:cxn ang="T99">
                        <a:pos x="T2" y="T3"/>
                      </a:cxn>
                      <a:cxn ang="T100">
                        <a:pos x="T4" y="T5"/>
                      </a:cxn>
                      <a:cxn ang="T101">
                        <a:pos x="T6" y="T7"/>
                      </a:cxn>
                      <a:cxn ang="T102">
                        <a:pos x="T8" y="T9"/>
                      </a:cxn>
                      <a:cxn ang="T103">
                        <a:pos x="T10" y="T11"/>
                      </a:cxn>
                      <a:cxn ang="T104">
                        <a:pos x="T12" y="T13"/>
                      </a:cxn>
                      <a:cxn ang="T105">
                        <a:pos x="T14" y="T15"/>
                      </a:cxn>
                      <a:cxn ang="T106">
                        <a:pos x="T16" y="T17"/>
                      </a:cxn>
                      <a:cxn ang="T107">
                        <a:pos x="T18" y="T19"/>
                      </a:cxn>
                      <a:cxn ang="T108">
                        <a:pos x="T20" y="T21"/>
                      </a:cxn>
                      <a:cxn ang="T109">
                        <a:pos x="T22" y="T23"/>
                      </a:cxn>
                      <a:cxn ang="T110">
                        <a:pos x="T24" y="T25"/>
                      </a:cxn>
                      <a:cxn ang="T111">
                        <a:pos x="T26" y="T27"/>
                      </a:cxn>
                      <a:cxn ang="T112">
                        <a:pos x="T28" y="T29"/>
                      </a:cxn>
                      <a:cxn ang="T113">
                        <a:pos x="T30" y="T31"/>
                      </a:cxn>
                      <a:cxn ang="T114">
                        <a:pos x="T32" y="T33"/>
                      </a:cxn>
                      <a:cxn ang="T115">
                        <a:pos x="T34" y="T35"/>
                      </a:cxn>
                      <a:cxn ang="T116">
                        <a:pos x="T36" y="T37"/>
                      </a:cxn>
                      <a:cxn ang="T117">
                        <a:pos x="T38" y="T39"/>
                      </a:cxn>
                      <a:cxn ang="T118">
                        <a:pos x="T40" y="T41"/>
                      </a:cxn>
                      <a:cxn ang="T119">
                        <a:pos x="T42" y="T43"/>
                      </a:cxn>
                      <a:cxn ang="T120">
                        <a:pos x="T44" y="T45"/>
                      </a:cxn>
                      <a:cxn ang="T121">
                        <a:pos x="T46" y="T47"/>
                      </a:cxn>
                      <a:cxn ang="T122">
                        <a:pos x="T48" y="T49"/>
                      </a:cxn>
                      <a:cxn ang="T123">
                        <a:pos x="T50" y="T51"/>
                      </a:cxn>
                      <a:cxn ang="T124">
                        <a:pos x="T52" y="T53"/>
                      </a:cxn>
                      <a:cxn ang="T125">
                        <a:pos x="T54" y="T55"/>
                      </a:cxn>
                      <a:cxn ang="T126">
                        <a:pos x="T56" y="T57"/>
                      </a:cxn>
                      <a:cxn ang="T127">
                        <a:pos x="T58" y="T59"/>
                      </a:cxn>
                      <a:cxn ang="T128">
                        <a:pos x="T60" y="T61"/>
                      </a:cxn>
                      <a:cxn ang="T129">
                        <a:pos x="T62" y="T63"/>
                      </a:cxn>
                      <a:cxn ang="T130">
                        <a:pos x="T64" y="T65"/>
                      </a:cxn>
                      <a:cxn ang="T131">
                        <a:pos x="T66" y="T67"/>
                      </a:cxn>
                      <a:cxn ang="T132">
                        <a:pos x="T68" y="T69"/>
                      </a:cxn>
                      <a:cxn ang="T133">
                        <a:pos x="T70" y="T71"/>
                      </a:cxn>
                      <a:cxn ang="T134">
                        <a:pos x="T72" y="T73"/>
                      </a:cxn>
                      <a:cxn ang="T135">
                        <a:pos x="T74" y="T75"/>
                      </a:cxn>
                      <a:cxn ang="T136">
                        <a:pos x="T76" y="T77"/>
                      </a:cxn>
                      <a:cxn ang="T137">
                        <a:pos x="T78" y="T79"/>
                      </a:cxn>
                      <a:cxn ang="T138">
                        <a:pos x="T80" y="T81"/>
                      </a:cxn>
                      <a:cxn ang="T139">
                        <a:pos x="T82" y="T83"/>
                      </a:cxn>
                      <a:cxn ang="T140">
                        <a:pos x="T84" y="T85"/>
                      </a:cxn>
                      <a:cxn ang="T141">
                        <a:pos x="T86" y="T87"/>
                      </a:cxn>
                      <a:cxn ang="T142">
                        <a:pos x="T88" y="T89"/>
                      </a:cxn>
                      <a:cxn ang="T143">
                        <a:pos x="T90" y="T91"/>
                      </a:cxn>
                      <a:cxn ang="T144">
                        <a:pos x="T92" y="T93"/>
                      </a:cxn>
                      <a:cxn ang="T145">
                        <a:pos x="T94" y="T95"/>
                      </a:cxn>
                      <a:cxn ang="T146">
                        <a:pos x="T96" y="T97"/>
                      </a:cxn>
                    </a:cxnLst>
                    <a:rect l="T147" t="T148" r="T149" b="T150"/>
                    <a:pathLst>
                      <a:path w="187" h="98">
                        <a:moveTo>
                          <a:pt x="164" y="32"/>
                        </a:moveTo>
                        <a:lnTo>
                          <a:pt x="164" y="30"/>
                        </a:lnTo>
                        <a:lnTo>
                          <a:pt x="150" y="22"/>
                        </a:lnTo>
                        <a:lnTo>
                          <a:pt x="148" y="18"/>
                        </a:lnTo>
                        <a:lnTo>
                          <a:pt x="145" y="17"/>
                        </a:lnTo>
                        <a:lnTo>
                          <a:pt x="130" y="21"/>
                        </a:lnTo>
                        <a:lnTo>
                          <a:pt x="126" y="21"/>
                        </a:lnTo>
                        <a:lnTo>
                          <a:pt x="112" y="16"/>
                        </a:lnTo>
                        <a:lnTo>
                          <a:pt x="96" y="15"/>
                        </a:lnTo>
                        <a:lnTo>
                          <a:pt x="89" y="10"/>
                        </a:lnTo>
                        <a:lnTo>
                          <a:pt x="89" y="7"/>
                        </a:lnTo>
                        <a:lnTo>
                          <a:pt x="85" y="1"/>
                        </a:lnTo>
                        <a:lnTo>
                          <a:pt x="79" y="0"/>
                        </a:lnTo>
                        <a:lnTo>
                          <a:pt x="65" y="1"/>
                        </a:lnTo>
                        <a:lnTo>
                          <a:pt x="53" y="6"/>
                        </a:lnTo>
                        <a:lnTo>
                          <a:pt x="42" y="17"/>
                        </a:lnTo>
                        <a:lnTo>
                          <a:pt x="32" y="33"/>
                        </a:lnTo>
                        <a:lnTo>
                          <a:pt x="11" y="53"/>
                        </a:lnTo>
                        <a:lnTo>
                          <a:pt x="10" y="59"/>
                        </a:lnTo>
                        <a:lnTo>
                          <a:pt x="9" y="63"/>
                        </a:lnTo>
                        <a:lnTo>
                          <a:pt x="0" y="71"/>
                        </a:lnTo>
                        <a:lnTo>
                          <a:pt x="0" y="76"/>
                        </a:lnTo>
                        <a:lnTo>
                          <a:pt x="5" y="77"/>
                        </a:lnTo>
                        <a:lnTo>
                          <a:pt x="6" y="80"/>
                        </a:lnTo>
                        <a:lnTo>
                          <a:pt x="6" y="87"/>
                        </a:lnTo>
                        <a:lnTo>
                          <a:pt x="8" y="88"/>
                        </a:lnTo>
                        <a:lnTo>
                          <a:pt x="11" y="88"/>
                        </a:lnTo>
                        <a:lnTo>
                          <a:pt x="15" y="91"/>
                        </a:lnTo>
                        <a:lnTo>
                          <a:pt x="26" y="95"/>
                        </a:lnTo>
                        <a:lnTo>
                          <a:pt x="49" y="98"/>
                        </a:lnTo>
                        <a:lnTo>
                          <a:pt x="68" y="98"/>
                        </a:lnTo>
                        <a:lnTo>
                          <a:pt x="91" y="90"/>
                        </a:lnTo>
                        <a:lnTo>
                          <a:pt x="96" y="90"/>
                        </a:lnTo>
                        <a:lnTo>
                          <a:pt x="106" y="93"/>
                        </a:lnTo>
                        <a:lnTo>
                          <a:pt x="115" y="93"/>
                        </a:lnTo>
                        <a:lnTo>
                          <a:pt x="123" y="92"/>
                        </a:lnTo>
                        <a:lnTo>
                          <a:pt x="144" y="88"/>
                        </a:lnTo>
                        <a:lnTo>
                          <a:pt x="158" y="87"/>
                        </a:lnTo>
                        <a:lnTo>
                          <a:pt x="178" y="84"/>
                        </a:lnTo>
                        <a:lnTo>
                          <a:pt x="186" y="80"/>
                        </a:lnTo>
                        <a:lnTo>
                          <a:pt x="186" y="77"/>
                        </a:lnTo>
                        <a:lnTo>
                          <a:pt x="185" y="73"/>
                        </a:lnTo>
                        <a:lnTo>
                          <a:pt x="187" y="59"/>
                        </a:lnTo>
                        <a:lnTo>
                          <a:pt x="181" y="53"/>
                        </a:lnTo>
                        <a:lnTo>
                          <a:pt x="162" y="45"/>
                        </a:lnTo>
                        <a:lnTo>
                          <a:pt x="161" y="43"/>
                        </a:lnTo>
                        <a:lnTo>
                          <a:pt x="161" y="41"/>
                        </a:lnTo>
                        <a:lnTo>
                          <a:pt x="164" y="34"/>
                        </a:lnTo>
                        <a:lnTo>
                          <a:pt x="164" y="32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23" name="Freeform 151"/>
                  <p:cNvSpPr>
                    <a:spLocks/>
                  </p:cNvSpPr>
                  <p:nvPr/>
                </p:nvSpPr>
                <p:spPr bwMode="gray">
                  <a:xfrm>
                    <a:off x="3394" y="2140"/>
                    <a:ext cx="88" cy="49"/>
                  </a:xfrm>
                  <a:custGeom>
                    <a:avLst/>
                    <a:gdLst>
                      <a:gd name="T0" fmla="*/ 17 w 441"/>
                      <a:gd name="T1" fmla="*/ 7 h 244"/>
                      <a:gd name="T2" fmla="*/ 17 w 441"/>
                      <a:gd name="T3" fmla="*/ 8 h 244"/>
                      <a:gd name="T4" fmla="*/ 18 w 441"/>
                      <a:gd name="T5" fmla="*/ 9 h 244"/>
                      <a:gd name="T6" fmla="*/ 17 w 441"/>
                      <a:gd name="T7" fmla="*/ 10 h 244"/>
                      <a:gd name="T8" fmla="*/ 16 w 441"/>
                      <a:gd name="T9" fmla="*/ 10 h 244"/>
                      <a:gd name="T10" fmla="*/ 15 w 441"/>
                      <a:gd name="T11" fmla="*/ 10 h 244"/>
                      <a:gd name="T12" fmla="*/ 12 w 441"/>
                      <a:gd name="T13" fmla="*/ 9 h 244"/>
                      <a:gd name="T14" fmla="*/ 11 w 441"/>
                      <a:gd name="T15" fmla="*/ 9 h 244"/>
                      <a:gd name="T16" fmla="*/ 10 w 441"/>
                      <a:gd name="T17" fmla="*/ 8 h 244"/>
                      <a:gd name="T18" fmla="*/ 8 w 441"/>
                      <a:gd name="T19" fmla="*/ 7 h 244"/>
                      <a:gd name="T20" fmla="*/ 8 w 441"/>
                      <a:gd name="T21" fmla="*/ 7 h 244"/>
                      <a:gd name="T22" fmla="*/ 7 w 441"/>
                      <a:gd name="T23" fmla="*/ 8 h 244"/>
                      <a:gd name="T24" fmla="*/ 5 w 441"/>
                      <a:gd name="T25" fmla="*/ 7 h 244"/>
                      <a:gd name="T26" fmla="*/ 5 w 441"/>
                      <a:gd name="T27" fmla="*/ 6 h 244"/>
                      <a:gd name="T28" fmla="*/ 3 w 441"/>
                      <a:gd name="T29" fmla="*/ 6 h 244"/>
                      <a:gd name="T30" fmla="*/ 2 w 441"/>
                      <a:gd name="T31" fmla="*/ 5 h 244"/>
                      <a:gd name="T32" fmla="*/ 1 w 441"/>
                      <a:gd name="T33" fmla="*/ 4 h 244"/>
                      <a:gd name="T34" fmla="*/ 1 w 441"/>
                      <a:gd name="T35" fmla="*/ 5 h 244"/>
                      <a:gd name="T36" fmla="*/ 0 w 441"/>
                      <a:gd name="T37" fmla="*/ 4 h 244"/>
                      <a:gd name="T38" fmla="*/ 0 w 441"/>
                      <a:gd name="T39" fmla="*/ 3 h 244"/>
                      <a:gd name="T40" fmla="*/ 0 w 441"/>
                      <a:gd name="T41" fmla="*/ 3 h 244"/>
                      <a:gd name="T42" fmla="*/ 1 w 441"/>
                      <a:gd name="T43" fmla="*/ 2 h 244"/>
                      <a:gd name="T44" fmla="*/ 1 w 441"/>
                      <a:gd name="T45" fmla="*/ 1 h 244"/>
                      <a:gd name="T46" fmla="*/ 1 w 441"/>
                      <a:gd name="T47" fmla="*/ 1 h 244"/>
                      <a:gd name="T48" fmla="*/ 2 w 441"/>
                      <a:gd name="T49" fmla="*/ 0 h 244"/>
                      <a:gd name="T50" fmla="*/ 2 w 441"/>
                      <a:gd name="T51" fmla="*/ 0 h 244"/>
                      <a:gd name="T52" fmla="*/ 3 w 441"/>
                      <a:gd name="T53" fmla="*/ 1 h 244"/>
                      <a:gd name="T54" fmla="*/ 3 w 441"/>
                      <a:gd name="T55" fmla="*/ 0 h 244"/>
                      <a:gd name="T56" fmla="*/ 3 w 441"/>
                      <a:gd name="T57" fmla="*/ 0 h 244"/>
                      <a:gd name="T58" fmla="*/ 4 w 441"/>
                      <a:gd name="T59" fmla="*/ 0 h 244"/>
                      <a:gd name="T60" fmla="*/ 6 w 441"/>
                      <a:gd name="T61" fmla="*/ 1 h 244"/>
                      <a:gd name="T62" fmla="*/ 7 w 441"/>
                      <a:gd name="T63" fmla="*/ 2 h 244"/>
                      <a:gd name="T64" fmla="*/ 7 w 441"/>
                      <a:gd name="T65" fmla="*/ 3 h 244"/>
                      <a:gd name="T66" fmla="*/ 8 w 441"/>
                      <a:gd name="T67" fmla="*/ 3 h 244"/>
                      <a:gd name="T68" fmla="*/ 8 w 441"/>
                      <a:gd name="T69" fmla="*/ 3 h 244"/>
                      <a:gd name="T70" fmla="*/ 9 w 441"/>
                      <a:gd name="T71" fmla="*/ 3 h 244"/>
                      <a:gd name="T72" fmla="*/ 9 w 441"/>
                      <a:gd name="T73" fmla="*/ 3 h 244"/>
                      <a:gd name="T74" fmla="*/ 9 w 441"/>
                      <a:gd name="T75" fmla="*/ 4 h 244"/>
                      <a:gd name="T76" fmla="*/ 9 w 441"/>
                      <a:gd name="T77" fmla="*/ 4 h 244"/>
                      <a:gd name="T78" fmla="*/ 10 w 441"/>
                      <a:gd name="T79" fmla="*/ 4 h 244"/>
                      <a:gd name="T80" fmla="*/ 11 w 441"/>
                      <a:gd name="T81" fmla="*/ 4 h 244"/>
                      <a:gd name="T82" fmla="*/ 11 w 441"/>
                      <a:gd name="T83" fmla="*/ 5 h 244"/>
                      <a:gd name="T84" fmla="*/ 12 w 441"/>
                      <a:gd name="T85" fmla="*/ 5 h 244"/>
                      <a:gd name="T86" fmla="*/ 13 w 441"/>
                      <a:gd name="T87" fmla="*/ 6 h 244"/>
                      <a:gd name="T88" fmla="*/ 13 w 441"/>
                      <a:gd name="T89" fmla="*/ 6 h 244"/>
                      <a:gd name="T90" fmla="*/ 14 w 441"/>
                      <a:gd name="T91" fmla="*/ 6 h 244"/>
                      <a:gd name="T92" fmla="*/ 14 w 441"/>
                      <a:gd name="T93" fmla="*/ 6 h 244"/>
                      <a:gd name="T94" fmla="*/ 15 w 441"/>
                      <a:gd name="T95" fmla="*/ 6 h 244"/>
                      <a:gd name="T96" fmla="*/ 16 w 441"/>
                      <a:gd name="T97" fmla="*/ 6 h 244"/>
                      <a:gd name="T98" fmla="*/ 17 w 441"/>
                      <a:gd name="T99" fmla="*/ 6 h 244"/>
                      <a:gd name="T100" fmla="*/ 18 w 441"/>
                      <a:gd name="T101" fmla="*/ 6 h 244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w 441"/>
                      <a:gd name="T154" fmla="*/ 0 h 244"/>
                      <a:gd name="T155" fmla="*/ 441 w 441"/>
                      <a:gd name="T156" fmla="*/ 244 h 244"/>
                    </a:gdLst>
                    <a:ahLst/>
                    <a:cxnLst>
                      <a:cxn ang="T102">
                        <a:pos x="T0" y="T1"/>
                      </a:cxn>
                      <a:cxn ang="T103">
                        <a:pos x="T2" y="T3"/>
                      </a:cxn>
                      <a:cxn ang="T104">
                        <a:pos x="T4" y="T5"/>
                      </a:cxn>
                      <a:cxn ang="T105">
                        <a:pos x="T6" y="T7"/>
                      </a:cxn>
                      <a:cxn ang="T106">
                        <a:pos x="T8" y="T9"/>
                      </a:cxn>
                      <a:cxn ang="T107">
                        <a:pos x="T10" y="T11"/>
                      </a:cxn>
                      <a:cxn ang="T108">
                        <a:pos x="T12" y="T13"/>
                      </a:cxn>
                      <a:cxn ang="T109">
                        <a:pos x="T14" y="T15"/>
                      </a:cxn>
                      <a:cxn ang="T110">
                        <a:pos x="T16" y="T17"/>
                      </a:cxn>
                      <a:cxn ang="T111">
                        <a:pos x="T18" y="T19"/>
                      </a:cxn>
                      <a:cxn ang="T112">
                        <a:pos x="T20" y="T21"/>
                      </a:cxn>
                      <a:cxn ang="T113">
                        <a:pos x="T22" y="T23"/>
                      </a:cxn>
                      <a:cxn ang="T114">
                        <a:pos x="T24" y="T25"/>
                      </a:cxn>
                      <a:cxn ang="T115">
                        <a:pos x="T26" y="T27"/>
                      </a:cxn>
                      <a:cxn ang="T116">
                        <a:pos x="T28" y="T29"/>
                      </a:cxn>
                      <a:cxn ang="T117">
                        <a:pos x="T30" y="T31"/>
                      </a:cxn>
                      <a:cxn ang="T118">
                        <a:pos x="T32" y="T33"/>
                      </a:cxn>
                      <a:cxn ang="T119">
                        <a:pos x="T34" y="T35"/>
                      </a:cxn>
                      <a:cxn ang="T120">
                        <a:pos x="T36" y="T37"/>
                      </a:cxn>
                      <a:cxn ang="T121">
                        <a:pos x="T38" y="T39"/>
                      </a:cxn>
                      <a:cxn ang="T122">
                        <a:pos x="T40" y="T41"/>
                      </a:cxn>
                      <a:cxn ang="T123">
                        <a:pos x="T42" y="T43"/>
                      </a:cxn>
                      <a:cxn ang="T124">
                        <a:pos x="T44" y="T45"/>
                      </a:cxn>
                      <a:cxn ang="T125">
                        <a:pos x="T46" y="T47"/>
                      </a:cxn>
                      <a:cxn ang="T126">
                        <a:pos x="T48" y="T49"/>
                      </a:cxn>
                      <a:cxn ang="T127">
                        <a:pos x="T50" y="T51"/>
                      </a:cxn>
                      <a:cxn ang="T128">
                        <a:pos x="T52" y="T53"/>
                      </a:cxn>
                      <a:cxn ang="T129">
                        <a:pos x="T54" y="T55"/>
                      </a:cxn>
                      <a:cxn ang="T130">
                        <a:pos x="T56" y="T57"/>
                      </a:cxn>
                      <a:cxn ang="T131">
                        <a:pos x="T58" y="T59"/>
                      </a:cxn>
                      <a:cxn ang="T132">
                        <a:pos x="T60" y="T61"/>
                      </a:cxn>
                      <a:cxn ang="T133">
                        <a:pos x="T62" y="T63"/>
                      </a:cxn>
                      <a:cxn ang="T134">
                        <a:pos x="T64" y="T65"/>
                      </a:cxn>
                      <a:cxn ang="T135">
                        <a:pos x="T66" y="T67"/>
                      </a:cxn>
                      <a:cxn ang="T136">
                        <a:pos x="T68" y="T69"/>
                      </a:cxn>
                      <a:cxn ang="T137">
                        <a:pos x="T70" y="T71"/>
                      </a:cxn>
                      <a:cxn ang="T138">
                        <a:pos x="T72" y="T73"/>
                      </a:cxn>
                      <a:cxn ang="T139">
                        <a:pos x="T74" y="T75"/>
                      </a:cxn>
                      <a:cxn ang="T140">
                        <a:pos x="T76" y="T77"/>
                      </a:cxn>
                      <a:cxn ang="T141">
                        <a:pos x="T78" y="T79"/>
                      </a:cxn>
                      <a:cxn ang="T142">
                        <a:pos x="T80" y="T81"/>
                      </a:cxn>
                      <a:cxn ang="T143">
                        <a:pos x="T82" y="T83"/>
                      </a:cxn>
                      <a:cxn ang="T144">
                        <a:pos x="T84" y="T85"/>
                      </a:cxn>
                      <a:cxn ang="T145">
                        <a:pos x="T86" y="T87"/>
                      </a:cxn>
                      <a:cxn ang="T146">
                        <a:pos x="T88" y="T89"/>
                      </a:cxn>
                      <a:cxn ang="T147">
                        <a:pos x="T90" y="T91"/>
                      </a:cxn>
                      <a:cxn ang="T148">
                        <a:pos x="T92" y="T93"/>
                      </a:cxn>
                      <a:cxn ang="T149">
                        <a:pos x="T94" y="T95"/>
                      </a:cxn>
                      <a:cxn ang="T150">
                        <a:pos x="T96" y="T97"/>
                      </a:cxn>
                      <a:cxn ang="T151">
                        <a:pos x="T98" y="T99"/>
                      </a:cxn>
                      <a:cxn ang="T152">
                        <a:pos x="T100" y="T101"/>
                      </a:cxn>
                    </a:cxnLst>
                    <a:rect l="T153" t="T154" r="T155" b="T156"/>
                    <a:pathLst>
                      <a:path w="441" h="244">
                        <a:moveTo>
                          <a:pt x="439" y="151"/>
                        </a:moveTo>
                        <a:lnTo>
                          <a:pt x="436" y="158"/>
                        </a:lnTo>
                        <a:lnTo>
                          <a:pt x="432" y="170"/>
                        </a:lnTo>
                        <a:lnTo>
                          <a:pt x="433" y="185"/>
                        </a:lnTo>
                        <a:lnTo>
                          <a:pt x="432" y="199"/>
                        </a:lnTo>
                        <a:lnTo>
                          <a:pt x="428" y="203"/>
                        </a:lnTo>
                        <a:lnTo>
                          <a:pt x="428" y="207"/>
                        </a:lnTo>
                        <a:lnTo>
                          <a:pt x="436" y="211"/>
                        </a:lnTo>
                        <a:lnTo>
                          <a:pt x="441" y="221"/>
                        </a:lnTo>
                        <a:lnTo>
                          <a:pt x="441" y="228"/>
                        </a:lnTo>
                        <a:lnTo>
                          <a:pt x="434" y="239"/>
                        </a:lnTo>
                        <a:lnTo>
                          <a:pt x="434" y="242"/>
                        </a:lnTo>
                        <a:lnTo>
                          <a:pt x="422" y="240"/>
                        </a:lnTo>
                        <a:lnTo>
                          <a:pt x="411" y="243"/>
                        </a:lnTo>
                        <a:lnTo>
                          <a:pt x="396" y="242"/>
                        </a:lnTo>
                        <a:lnTo>
                          <a:pt x="388" y="244"/>
                        </a:lnTo>
                        <a:lnTo>
                          <a:pt x="378" y="239"/>
                        </a:lnTo>
                        <a:lnTo>
                          <a:pt x="368" y="238"/>
                        </a:lnTo>
                        <a:lnTo>
                          <a:pt x="362" y="238"/>
                        </a:lnTo>
                        <a:lnTo>
                          <a:pt x="315" y="230"/>
                        </a:lnTo>
                        <a:lnTo>
                          <a:pt x="308" y="224"/>
                        </a:lnTo>
                        <a:lnTo>
                          <a:pt x="299" y="221"/>
                        </a:lnTo>
                        <a:lnTo>
                          <a:pt x="287" y="222"/>
                        </a:lnTo>
                        <a:lnTo>
                          <a:pt x="267" y="218"/>
                        </a:lnTo>
                        <a:lnTo>
                          <a:pt x="255" y="210"/>
                        </a:lnTo>
                        <a:lnTo>
                          <a:pt x="249" y="205"/>
                        </a:lnTo>
                        <a:lnTo>
                          <a:pt x="239" y="191"/>
                        </a:lnTo>
                        <a:lnTo>
                          <a:pt x="232" y="187"/>
                        </a:lnTo>
                        <a:lnTo>
                          <a:pt x="213" y="184"/>
                        </a:lnTo>
                        <a:lnTo>
                          <a:pt x="211" y="184"/>
                        </a:lnTo>
                        <a:lnTo>
                          <a:pt x="208" y="187"/>
                        </a:lnTo>
                        <a:lnTo>
                          <a:pt x="202" y="186"/>
                        </a:lnTo>
                        <a:lnTo>
                          <a:pt x="192" y="184"/>
                        </a:lnTo>
                        <a:lnTo>
                          <a:pt x="183" y="183"/>
                        </a:lnTo>
                        <a:lnTo>
                          <a:pt x="173" y="187"/>
                        </a:lnTo>
                        <a:lnTo>
                          <a:pt x="168" y="187"/>
                        </a:lnTo>
                        <a:lnTo>
                          <a:pt x="148" y="183"/>
                        </a:lnTo>
                        <a:lnTo>
                          <a:pt x="138" y="170"/>
                        </a:lnTo>
                        <a:lnTo>
                          <a:pt x="136" y="168"/>
                        </a:lnTo>
                        <a:lnTo>
                          <a:pt x="127" y="167"/>
                        </a:lnTo>
                        <a:lnTo>
                          <a:pt x="124" y="167"/>
                        </a:lnTo>
                        <a:lnTo>
                          <a:pt x="114" y="159"/>
                        </a:lnTo>
                        <a:lnTo>
                          <a:pt x="103" y="154"/>
                        </a:lnTo>
                        <a:lnTo>
                          <a:pt x="93" y="153"/>
                        </a:lnTo>
                        <a:lnTo>
                          <a:pt x="83" y="148"/>
                        </a:lnTo>
                        <a:lnTo>
                          <a:pt x="78" y="144"/>
                        </a:lnTo>
                        <a:lnTo>
                          <a:pt x="66" y="130"/>
                        </a:lnTo>
                        <a:lnTo>
                          <a:pt x="57" y="124"/>
                        </a:lnTo>
                        <a:lnTo>
                          <a:pt x="49" y="120"/>
                        </a:lnTo>
                        <a:lnTo>
                          <a:pt x="45" y="116"/>
                        </a:lnTo>
                        <a:lnTo>
                          <a:pt x="32" y="109"/>
                        </a:lnTo>
                        <a:lnTo>
                          <a:pt x="28" y="109"/>
                        </a:lnTo>
                        <a:lnTo>
                          <a:pt x="28" y="113"/>
                        </a:lnTo>
                        <a:lnTo>
                          <a:pt x="23" y="113"/>
                        </a:lnTo>
                        <a:lnTo>
                          <a:pt x="18" y="109"/>
                        </a:lnTo>
                        <a:lnTo>
                          <a:pt x="17" y="103"/>
                        </a:lnTo>
                        <a:lnTo>
                          <a:pt x="12" y="98"/>
                        </a:lnTo>
                        <a:lnTo>
                          <a:pt x="1" y="97"/>
                        </a:lnTo>
                        <a:lnTo>
                          <a:pt x="0" y="94"/>
                        </a:lnTo>
                        <a:lnTo>
                          <a:pt x="1" y="87"/>
                        </a:lnTo>
                        <a:lnTo>
                          <a:pt x="6" y="79"/>
                        </a:lnTo>
                        <a:lnTo>
                          <a:pt x="9" y="78"/>
                        </a:lnTo>
                        <a:lnTo>
                          <a:pt x="11" y="71"/>
                        </a:lnTo>
                        <a:lnTo>
                          <a:pt x="14" y="67"/>
                        </a:lnTo>
                        <a:lnTo>
                          <a:pt x="11" y="58"/>
                        </a:lnTo>
                        <a:lnTo>
                          <a:pt x="14" y="51"/>
                        </a:lnTo>
                        <a:lnTo>
                          <a:pt x="19" y="45"/>
                        </a:lnTo>
                        <a:lnTo>
                          <a:pt x="17" y="38"/>
                        </a:lnTo>
                        <a:lnTo>
                          <a:pt x="17" y="34"/>
                        </a:lnTo>
                        <a:lnTo>
                          <a:pt x="21" y="29"/>
                        </a:lnTo>
                        <a:lnTo>
                          <a:pt x="27" y="29"/>
                        </a:lnTo>
                        <a:lnTo>
                          <a:pt x="30" y="22"/>
                        </a:lnTo>
                        <a:lnTo>
                          <a:pt x="38" y="17"/>
                        </a:lnTo>
                        <a:lnTo>
                          <a:pt x="41" y="11"/>
                        </a:lnTo>
                        <a:lnTo>
                          <a:pt x="43" y="6"/>
                        </a:lnTo>
                        <a:lnTo>
                          <a:pt x="45" y="4"/>
                        </a:lnTo>
                        <a:lnTo>
                          <a:pt x="48" y="7"/>
                        </a:lnTo>
                        <a:lnTo>
                          <a:pt x="54" y="4"/>
                        </a:lnTo>
                        <a:lnTo>
                          <a:pt x="56" y="6"/>
                        </a:lnTo>
                        <a:lnTo>
                          <a:pt x="59" y="11"/>
                        </a:lnTo>
                        <a:lnTo>
                          <a:pt x="67" y="18"/>
                        </a:lnTo>
                        <a:lnTo>
                          <a:pt x="68" y="14"/>
                        </a:lnTo>
                        <a:lnTo>
                          <a:pt x="67" y="12"/>
                        </a:lnTo>
                        <a:lnTo>
                          <a:pt x="71" y="8"/>
                        </a:lnTo>
                        <a:lnTo>
                          <a:pt x="71" y="2"/>
                        </a:lnTo>
                        <a:lnTo>
                          <a:pt x="71" y="1"/>
                        </a:lnTo>
                        <a:lnTo>
                          <a:pt x="73" y="0"/>
                        </a:lnTo>
                        <a:lnTo>
                          <a:pt x="89" y="2"/>
                        </a:lnTo>
                        <a:lnTo>
                          <a:pt x="92" y="3"/>
                        </a:lnTo>
                        <a:lnTo>
                          <a:pt x="110" y="7"/>
                        </a:lnTo>
                        <a:lnTo>
                          <a:pt x="130" y="13"/>
                        </a:lnTo>
                        <a:lnTo>
                          <a:pt x="135" y="15"/>
                        </a:lnTo>
                        <a:lnTo>
                          <a:pt x="141" y="24"/>
                        </a:lnTo>
                        <a:lnTo>
                          <a:pt x="151" y="33"/>
                        </a:lnTo>
                        <a:lnTo>
                          <a:pt x="163" y="36"/>
                        </a:lnTo>
                        <a:lnTo>
                          <a:pt x="174" y="46"/>
                        </a:lnTo>
                        <a:lnTo>
                          <a:pt x="181" y="55"/>
                        </a:lnTo>
                        <a:lnTo>
                          <a:pt x="184" y="72"/>
                        </a:lnTo>
                        <a:lnTo>
                          <a:pt x="186" y="77"/>
                        </a:lnTo>
                        <a:lnTo>
                          <a:pt x="192" y="79"/>
                        </a:lnTo>
                        <a:lnTo>
                          <a:pt x="196" y="79"/>
                        </a:lnTo>
                        <a:lnTo>
                          <a:pt x="200" y="74"/>
                        </a:lnTo>
                        <a:lnTo>
                          <a:pt x="204" y="73"/>
                        </a:lnTo>
                        <a:lnTo>
                          <a:pt x="207" y="70"/>
                        </a:lnTo>
                        <a:lnTo>
                          <a:pt x="207" y="67"/>
                        </a:lnTo>
                        <a:lnTo>
                          <a:pt x="211" y="63"/>
                        </a:lnTo>
                        <a:lnTo>
                          <a:pt x="215" y="65"/>
                        </a:lnTo>
                        <a:lnTo>
                          <a:pt x="221" y="63"/>
                        </a:lnTo>
                        <a:lnTo>
                          <a:pt x="227" y="65"/>
                        </a:lnTo>
                        <a:lnTo>
                          <a:pt x="229" y="67"/>
                        </a:lnTo>
                        <a:lnTo>
                          <a:pt x="226" y="73"/>
                        </a:lnTo>
                        <a:lnTo>
                          <a:pt x="227" y="79"/>
                        </a:lnTo>
                        <a:lnTo>
                          <a:pt x="224" y="92"/>
                        </a:lnTo>
                        <a:lnTo>
                          <a:pt x="226" y="95"/>
                        </a:lnTo>
                        <a:lnTo>
                          <a:pt x="231" y="93"/>
                        </a:lnTo>
                        <a:lnTo>
                          <a:pt x="233" y="98"/>
                        </a:lnTo>
                        <a:lnTo>
                          <a:pt x="235" y="101"/>
                        </a:lnTo>
                        <a:lnTo>
                          <a:pt x="240" y="101"/>
                        </a:lnTo>
                        <a:lnTo>
                          <a:pt x="245" y="105"/>
                        </a:lnTo>
                        <a:lnTo>
                          <a:pt x="251" y="104"/>
                        </a:lnTo>
                        <a:lnTo>
                          <a:pt x="259" y="106"/>
                        </a:lnTo>
                        <a:lnTo>
                          <a:pt x="267" y="108"/>
                        </a:lnTo>
                        <a:lnTo>
                          <a:pt x="272" y="106"/>
                        </a:lnTo>
                        <a:lnTo>
                          <a:pt x="277" y="103"/>
                        </a:lnTo>
                        <a:lnTo>
                          <a:pt x="280" y="104"/>
                        </a:lnTo>
                        <a:lnTo>
                          <a:pt x="277" y="117"/>
                        </a:lnTo>
                        <a:lnTo>
                          <a:pt x="278" y="124"/>
                        </a:lnTo>
                        <a:lnTo>
                          <a:pt x="293" y="133"/>
                        </a:lnTo>
                        <a:lnTo>
                          <a:pt x="301" y="131"/>
                        </a:lnTo>
                        <a:lnTo>
                          <a:pt x="308" y="132"/>
                        </a:lnTo>
                        <a:lnTo>
                          <a:pt x="314" y="138"/>
                        </a:lnTo>
                        <a:lnTo>
                          <a:pt x="315" y="142"/>
                        </a:lnTo>
                        <a:lnTo>
                          <a:pt x="319" y="148"/>
                        </a:lnTo>
                        <a:lnTo>
                          <a:pt x="323" y="151"/>
                        </a:lnTo>
                        <a:lnTo>
                          <a:pt x="329" y="149"/>
                        </a:lnTo>
                        <a:lnTo>
                          <a:pt x="333" y="147"/>
                        </a:lnTo>
                        <a:lnTo>
                          <a:pt x="339" y="151"/>
                        </a:lnTo>
                        <a:lnTo>
                          <a:pt x="344" y="149"/>
                        </a:lnTo>
                        <a:lnTo>
                          <a:pt x="350" y="152"/>
                        </a:lnTo>
                        <a:lnTo>
                          <a:pt x="352" y="151"/>
                        </a:lnTo>
                        <a:lnTo>
                          <a:pt x="356" y="144"/>
                        </a:lnTo>
                        <a:lnTo>
                          <a:pt x="361" y="143"/>
                        </a:lnTo>
                        <a:lnTo>
                          <a:pt x="369" y="144"/>
                        </a:lnTo>
                        <a:lnTo>
                          <a:pt x="377" y="151"/>
                        </a:lnTo>
                        <a:lnTo>
                          <a:pt x="387" y="153"/>
                        </a:lnTo>
                        <a:lnTo>
                          <a:pt x="394" y="157"/>
                        </a:lnTo>
                        <a:lnTo>
                          <a:pt x="398" y="158"/>
                        </a:lnTo>
                        <a:lnTo>
                          <a:pt x="405" y="156"/>
                        </a:lnTo>
                        <a:lnTo>
                          <a:pt x="419" y="159"/>
                        </a:lnTo>
                        <a:lnTo>
                          <a:pt x="422" y="159"/>
                        </a:lnTo>
                        <a:lnTo>
                          <a:pt x="428" y="151"/>
                        </a:lnTo>
                        <a:lnTo>
                          <a:pt x="436" y="149"/>
                        </a:lnTo>
                        <a:lnTo>
                          <a:pt x="439" y="151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24" name="Freeform 152"/>
                  <p:cNvSpPr>
                    <a:spLocks/>
                  </p:cNvSpPr>
                  <p:nvPr/>
                </p:nvSpPr>
                <p:spPr bwMode="gray">
                  <a:xfrm>
                    <a:off x="3479" y="2187"/>
                    <a:ext cx="52" cy="67"/>
                  </a:xfrm>
                  <a:custGeom>
                    <a:avLst/>
                    <a:gdLst>
                      <a:gd name="T0" fmla="*/ 10 w 262"/>
                      <a:gd name="T1" fmla="*/ 13 h 337"/>
                      <a:gd name="T2" fmla="*/ 9 w 262"/>
                      <a:gd name="T3" fmla="*/ 12 h 337"/>
                      <a:gd name="T4" fmla="*/ 9 w 262"/>
                      <a:gd name="T5" fmla="*/ 10 h 337"/>
                      <a:gd name="T6" fmla="*/ 8 w 262"/>
                      <a:gd name="T7" fmla="*/ 9 h 337"/>
                      <a:gd name="T8" fmla="*/ 7 w 262"/>
                      <a:gd name="T9" fmla="*/ 9 h 337"/>
                      <a:gd name="T10" fmla="*/ 6 w 262"/>
                      <a:gd name="T11" fmla="*/ 9 h 337"/>
                      <a:gd name="T12" fmla="*/ 6 w 262"/>
                      <a:gd name="T13" fmla="*/ 9 h 337"/>
                      <a:gd name="T14" fmla="*/ 6 w 262"/>
                      <a:gd name="T15" fmla="*/ 10 h 337"/>
                      <a:gd name="T16" fmla="*/ 5 w 262"/>
                      <a:gd name="T17" fmla="*/ 11 h 337"/>
                      <a:gd name="T18" fmla="*/ 5 w 262"/>
                      <a:gd name="T19" fmla="*/ 11 h 337"/>
                      <a:gd name="T20" fmla="*/ 4 w 262"/>
                      <a:gd name="T21" fmla="*/ 11 h 337"/>
                      <a:gd name="T22" fmla="*/ 4 w 262"/>
                      <a:gd name="T23" fmla="*/ 11 h 337"/>
                      <a:gd name="T24" fmla="*/ 3 w 262"/>
                      <a:gd name="T25" fmla="*/ 11 h 337"/>
                      <a:gd name="T26" fmla="*/ 3 w 262"/>
                      <a:gd name="T27" fmla="*/ 11 h 337"/>
                      <a:gd name="T28" fmla="*/ 3 w 262"/>
                      <a:gd name="T29" fmla="*/ 12 h 337"/>
                      <a:gd name="T30" fmla="*/ 2 w 262"/>
                      <a:gd name="T31" fmla="*/ 12 h 337"/>
                      <a:gd name="T32" fmla="*/ 2 w 262"/>
                      <a:gd name="T33" fmla="*/ 11 h 337"/>
                      <a:gd name="T34" fmla="*/ 2 w 262"/>
                      <a:gd name="T35" fmla="*/ 10 h 337"/>
                      <a:gd name="T36" fmla="*/ 2 w 262"/>
                      <a:gd name="T37" fmla="*/ 10 h 337"/>
                      <a:gd name="T38" fmla="*/ 2 w 262"/>
                      <a:gd name="T39" fmla="*/ 9 h 337"/>
                      <a:gd name="T40" fmla="*/ 2 w 262"/>
                      <a:gd name="T41" fmla="*/ 9 h 337"/>
                      <a:gd name="T42" fmla="*/ 2 w 262"/>
                      <a:gd name="T43" fmla="*/ 8 h 337"/>
                      <a:gd name="T44" fmla="*/ 2 w 262"/>
                      <a:gd name="T45" fmla="*/ 7 h 337"/>
                      <a:gd name="T46" fmla="*/ 1 w 262"/>
                      <a:gd name="T47" fmla="*/ 7 h 337"/>
                      <a:gd name="T48" fmla="*/ 1 w 262"/>
                      <a:gd name="T49" fmla="*/ 5 h 337"/>
                      <a:gd name="T50" fmla="*/ 1 w 262"/>
                      <a:gd name="T51" fmla="*/ 5 h 337"/>
                      <a:gd name="T52" fmla="*/ 0 w 262"/>
                      <a:gd name="T53" fmla="*/ 4 h 337"/>
                      <a:gd name="T54" fmla="*/ 0 w 262"/>
                      <a:gd name="T55" fmla="*/ 4 h 337"/>
                      <a:gd name="T56" fmla="*/ 1 w 262"/>
                      <a:gd name="T57" fmla="*/ 4 h 337"/>
                      <a:gd name="T58" fmla="*/ 1 w 262"/>
                      <a:gd name="T59" fmla="*/ 3 h 337"/>
                      <a:gd name="T60" fmla="*/ 2 w 262"/>
                      <a:gd name="T61" fmla="*/ 3 h 337"/>
                      <a:gd name="T62" fmla="*/ 2 w 262"/>
                      <a:gd name="T63" fmla="*/ 2 h 337"/>
                      <a:gd name="T64" fmla="*/ 1 w 262"/>
                      <a:gd name="T65" fmla="*/ 2 h 337"/>
                      <a:gd name="T66" fmla="*/ 0 w 262"/>
                      <a:gd name="T67" fmla="*/ 2 h 337"/>
                      <a:gd name="T68" fmla="*/ 1 w 262"/>
                      <a:gd name="T69" fmla="*/ 0 h 337"/>
                      <a:gd name="T70" fmla="*/ 2 w 262"/>
                      <a:gd name="T71" fmla="*/ 1 h 337"/>
                      <a:gd name="T72" fmla="*/ 2 w 262"/>
                      <a:gd name="T73" fmla="*/ 1 h 337"/>
                      <a:gd name="T74" fmla="*/ 2 w 262"/>
                      <a:gd name="T75" fmla="*/ 0 h 337"/>
                      <a:gd name="T76" fmla="*/ 3 w 262"/>
                      <a:gd name="T77" fmla="*/ 1 h 337"/>
                      <a:gd name="T78" fmla="*/ 3 w 262"/>
                      <a:gd name="T79" fmla="*/ 1 h 337"/>
                      <a:gd name="T80" fmla="*/ 4 w 262"/>
                      <a:gd name="T81" fmla="*/ 1 h 337"/>
                      <a:gd name="T82" fmla="*/ 4 w 262"/>
                      <a:gd name="T83" fmla="*/ 2 h 337"/>
                      <a:gd name="T84" fmla="*/ 5 w 262"/>
                      <a:gd name="T85" fmla="*/ 3 h 337"/>
                      <a:gd name="T86" fmla="*/ 7 w 262"/>
                      <a:gd name="T87" fmla="*/ 3 h 337"/>
                      <a:gd name="T88" fmla="*/ 8 w 262"/>
                      <a:gd name="T89" fmla="*/ 3 h 337"/>
                      <a:gd name="T90" fmla="*/ 10 w 262"/>
                      <a:gd name="T91" fmla="*/ 3 h 337"/>
                      <a:gd name="T92" fmla="*/ 9 w 262"/>
                      <a:gd name="T93" fmla="*/ 4 h 337"/>
                      <a:gd name="T94" fmla="*/ 8 w 262"/>
                      <a:gd name="T95" fmla="*/ 5 h 337"/>
                      <a:gd name="T96" fmla="*/ 8 w 262"/>
                      <a:gd name="T97" fmla="*/ 6 h 337"/>
                      <a:gd name="T98" fmla="*/ 7 w 262"/>
                      <a:gd name="T99" fmla="*/ 6 h 337"/>
                      <a:gd name="T100" fmla="*/ 7 w 262"/>
                      <a:gd name="T101" fmla="*/ 8 h 337"/>
                      <a:gd name="T102" fmla="*/ 8 w 262"/>
                      <a:gd name="T103" fmla="*/ 8 h 337"/>
                      <a:gd name="T104" fmla="*/ 8 w 262"/>
                      <a:gd name="T105" fmla="*/ 8 h 337"/>
                      <a:gd name="T106" fmla="*/ 9 w 262"/>
                      <a:gd name="T107" fmla="*/ 7 h 337"/>
                      <a:gd name="T108" fmla="*/ 10 w 262"/>
                      <a:gd name="T109" fmla="*/ 7 h 337"/>
                      <a:gd name="T110" fmla="*/ 10 w 262"/>
                      <a:gd name="T111" fmla="*/ 8 h 337"/>
                      <a:gd name="T112" fmla="*/ 10 w 262"/>
                      <a:gd name="T113" fmla="*/ 10 h 337"/>
                      <a:gd name="T114" fmla="*/ 10 w 262"/>
                      <a:gd name="T115" fmla="*/ 11 h 337"/>
                      <a:gd name="T116" fmla="*/ 10 w 262"/>
                      <a:gd name="T117" fmla="*/ 12 h 337"/>
                      <a:gd name="T118" fmla="*/ 10 w 262"/>
                      <a:gd name="T119" fmla="*/ 13 h 337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w 262"/>
                      <a:gd name="T181" fmla="*/ 0 h 337"/>
                      <a:gd name="T182" fmla="*/ 262 w 262"/>
                      <a:gd name="T183" fmla="*/ 337 h 337"/>
                    </a:gdLst>
                    <a:ahLst/>
                    <a:cxnLst>
                      <a:cxn ang="T120">
                        <a:pos x="T0" y="T1"/>
                      </a:cxn>
                      <a:cxn ang="T121">
                        <a:pos x="T2" y="T3"/>
                      </a:cxn>
                      <a:cxn ang="T122">
                        <a:pos x="T4" y="T5"/>
                      </a:cxn>
                      <a:cxn ang="T123">
                        <a:pos x="T6" y="T7"/>
                      </a:cxn>
                      <a:cxn ang="T124">
                        <a:pos x="T8" y="T9"/>
                      </a:cxn>
                      <a:cxn ang="T125">
                        <a:pos x="T10" y="T11"/>
                      </a:cxn>
                      <a:cxn ang="T126">
                        <a:pos x="T12" y="T13"/>
                      </a:cxn>
                      <a:cxn ang="T127">
                        <a:pos x="T14" y="T15"/>
                      </a:cxn>
                      <a:cxn ang="T128">
                        <a:pos x="T16" y="T17"/>
                      </a:cxn>
                      <a:cxn ang="T129">
                        <a:pos x="T18" y="T19"/>
                      </a:cxn>
                      <a:cxn ang="T130">
                        <a:pos x="T20" y="T21"/>
                      </a:cxn>
                      <a:cxn ang="T131">
                        <a:pos x="T22" y="T23"/>
                      </a:cxn>
                      <a:cxn ang="T132">
                        <a:pos x="T24" y="T25"/>
                      </a:cxn>
                      <a:cxn ang="T133">
                        <a:pos x="T26" y="T27"/>
                      </a:cxn>
                      <a:cxn ang="T134">
                        <a:pos x="T28" y="T29"/>
                      </a:cxn>
                      <a:cxn ang="T135">
                        <a:pos x="T30" y="T31"/>
                      </a:cxn>
                      <a:cxn ang="T136">
                        <a:pos x="T32" y="T33"/>
                      </a:cxn>
                      <a:cxn ang="T137">
                        <a:pos x="T34" y="T35"/>
                      </a:cxn>
                      <a:cxn ang="T138">
                        <a:pos x="T36" y="T37"/>
                      </a:cxn>
                      <a:cxn ang="T139">
                        <a:pos x="T38" y="T39"/>
                      </a:cxn>
                      <a:cxn ang="T140">
                        <a:pos x="T40" y="T41"/>
                      </a:cxn>
                      <a:cxn ang="T141">
                        <a:pos x="T42" y="T43"/>
                      </a:cxn>
                      <a:cxn ang="T142">
                        <a:pos x="T44" y="T45"/>
                      </a:cxn>
                      <a:cxn ang="T143">
                        <a:pos x="T46" y="T47"/>
                      </a:cxn>
                      <a:cxn ang="T144">
                        <a:pos x="T48" y="T49"/>
                      </a:cxn>
                      <a:cxn ang="T145">
                        <a:pos x="T50" y="T51"/>
                      </a:cxn>
                      <a:cxn ang="T146">
                        <a:pos x="T52" y="T53"/>
                      </a:cxn>
                      <a:cxn ang="T147">
                        <a:pos x="T54" y="T55"/>
                      </a:cxn>
                      <a:cxn ang="T148">
                        <a:pos x="T56" y="T57"/>
                      </a:cxn>
                      <a:cxn ang="T149">
                        <a:pos x="T58" y="T59"/>
                      </a:cxn>
                      <a:cxn ang="T150">
                        <a:pos x="T60" y="T61"/>
                      </a:cxn>
                      <a:cxn ang="T151">
                        <a:pos x="T62" y="T63"/>
                      </a:cxn>
                      <a:cxn ang="T152">
                        <a:pos x="T64" y="T65"/>
                      </a:cxn>
                      <a:cxn ang="T153">
                        <a:pos x="T66" y="T67"/>
                      </a:cxn>
                      <a:cxn ang="T154">
                        <a:pos x="T68" y="T69"/>
                      </a:cxn>
                      <a:cxn ang="T155">
                        <a:pos x="T70" y="T71"/>
                      </a:cxn>
                      <a:cxn ang="T156">
                        <a:pos x="T72" y="T73"/>
                      </a:cxn>
                      <a:cxn ang="T157">
                        <a:pos x="T74" y="T75"/>
                      </a:cxn>
                      <a:cxn ang="T158">
                        <a:pos x="T76" y="T77"/>
                      </a:cxn>
                      <a:cxn ang="T159">
                        <a:pos x="T78" y="T79"/>
                      </a:cxn>
                      <a:cxn ang="T160">
                        <a:pos x="T80" y="T81"/>
                      </a:cxn>
                      <a:cxn ang="T161">
                        <a:pos x="T82" y="T83"/>
                      </a:cxn>
                      <a:cxn ang="T162">
                        <a:pos x="T84" y="T85"/>
                      </a:cxn>
                      <a:cxn ang="T163">
                        <a:pos x="T86" y="T87"/>
                      </a:cxn>
                      <a:cxn ang="T164">
                        <a:pos x="T88" y="T89"/>
                      </a:cxn>
                      <a:cxn ang="T165">
                        <a:pos x="T90" y="T91"/>
                      </a:cxn>
                      <a:cxn ang="T166">
                        <a:pos x="T92" y="T93"/>
                      </a:cxn>
                      <a:cxn ang="T167">
                        <a:pos x="T94" y="T95"/>
                      </a:cxn>
                      <a:cxn ang="T168">
                        <a:pos x="T96" y="T97"/>
                      </a:cxn>
                      <a:cxn ang="T169">
                        <a:pos x="T98" y="T99"/>
                      </a:cxn>
                      <a:cxn ang="T170">
                        <a:pos x="T100" y="T101"/>
                      </a:cxn>
                      <a:cxn ang="T171">
                        <a:pos x="T102" y="T103"/>
                      </a:cxn>
                      <a:cxn ang="T172">
                        <a:pos x="T104" y="T105"/>
                      </a:cxn>
                      <a:cxn ang="T173">
                        <a:pos x="T106" y="T107"/>
                      </a:cxn>
                      <a:cxn ang="T174">
                        <a:pos x="T108" y="T109"/>
                      </a:cxn>
                      <a:cxn ang="T175">
                        <a:pos x="T110" y="T111"/>
                      </a:cxn>
                      <a:cxn ang="T176">
                        <a:pos x="T112" y="T113"/>
                      </a:cxn>
                      <a:cxn ang="T177">
                        <a:pos x="T114" y="T115"/>
                      </a:cxn>
                      <a:cxn ang="T178">
                        <a:pos x="T116" y="T117"/>
                      </a:cxn>
                      <a:cxn ang="T179">
                        <a:pos x="T118" y="T119"/>
                      </a:cxn>
                    </a:cxnLst>
                    <a:rect l="T180" t="T181" r="T182" b="T183"/>
                    <a:pathLst>
                      <a:path w="262" h="337">
                        <a:moveTo>
                          <a:pt x="243" y="335"/>
                        </a:moveTo>
                        <a:lnTo>
                          <a:pt x="241" y="337"/>
                        </a:lnTo>
                        <a:lnTo>
                          <a:pt x="233" y="319"/>
                        </a:lnTo>
                        <a:lnTo>
                          <a:pt x="226" y="291"/>
                        </a:lnTo>
                        <a:lnTo>
                          <a:pt x="225" y="276"/>
                        </a:lnTo>
                        <a:lnTo>
                          <a:pt x="221" y="257"/>
                        </a:lnTo>
                        <a:lnTo>
                          <a:pt x="204" y="230"/>
                        </a:lnTo>
                        <a:lnTo>
                          <a:pt x="198" y="225"/>
                        </a:lnTo>
                        <a:lnTo>
                          <a:pt x="187" y="229"/>
                        </a:lnTo>
                        <a:lnTo>
                          <a:pt x="174" y="230"/>
                        </a:lnTo>
                        <a:lnTo>
                          <a:pt x="166" y="225"/>
                        </a:lnTo>
                        <a:lnTo>
                          <a:pt x="161" y="215"/>
                        </a:lnTo>
                        <a:lnTo>
                          <a:pt x="157" y="218"/>
                        </a:lnTo>
                        <a:lnTo>
                          <a:pt x="153" y="227"/>
                        </a:lnTo>
                        <a:lnTo>
                          <a:pt x="146" y="234"/>
                        </a:lnTo>
                        <a:lnTo>
                          <a:pt x="149" y="246"/>
                        </a:lnTo>
                        <a:lnTo>
                          <a:pt x="149" y="257"/>
                        </a:lnTo>
                        <a:lnTo>
                          <a:pt x="129" y="283"/>
                        </a:lnTo>
                        <a:lnTo>
                          <a:pt x="125" y="280"/>
                        </a:lnTo>
                        <a:lnTo>
                          <a:pt x="115" y="267"/>
                        </a:lnTo>
                        <a:lnTo>
                          <a:pt x="110" y="274"/>
                        </a:lnTo>
                        <a:lnTo>
                          <a:pt x="108" y="279"/>
                        </a:lnTo>
                        <a:lnTo>
                          <a:pt x="99" y="288"/>
                        </a:lnTo>
                        <a:lnTo>
                          <a:pt x="96" y="280"/>
                        </a:lnTo>
                        <a:lnTo>
                          <a:pt x="91" y="285"/>
                        </a:lnTo>
                        <a:lnTo>
                          <a:pt x="80" y="284"/>
                        </a:lnTo>
                        <a:lnTo>
                          <a:pt x="79" y="289"/>
                        </a:lnTo>
                        <a:lnTo>
                          <a:pt x="75" y="286"/>
                        </a:lnTo>
                        <a:lnTo>
                          <a:pt x="71" y="288"/>
                        </a:lnTo>
                        <a:lnTo>
                          <a:pt x="69" y="291"/>
                        </a:lnTo>
                        <a:lnTo>
                          <a:pt x="65" y="294"/>
                        </a:lnTo>
                        <a:lnTo>
                          <a:pt x="58" y="292"/>
                        </a:lnTo>
                        <a:lnTo>
                          <a:pt x="51" y="279"/>
                        </a:lnTo>
                        <a:lnTo>
                          <a:pt x="53" y="273"/>
                        </a:lnTo>
                        <a:lnTo>
                          <a:pt x="51" y="269"/>
                        </a:lnTo>
                        <a:lnTo>
                          <a:pt x="49" y="258"/>
                        </a:lnTo>
                        <a:lnTo>
                          <a:pt x="50" y="251"/>
                        </a:lnTo>
                        <a:lnTo>
                          <a:pt x="48" y="241"/>
                        </a:lnTo>
                        <a:lnTo>
                          <a:pt x="43" y="236"/>
                        </a:lnTo>
                        <a:lnTo>
                          <a:pt x="40" y="227"/>
                        </a:lnTo>
                        <a:lnTo>
                          <a:pt x="40" y="218"/>
                        </a:lnTo>
                        <a:lnTo>
                          <a:pt x="42" y="215"/>
                        </a:lnTo>
                        <a:lnTo>
                          <a:pt x="43" y="199"/>
                        </a:lnTo>
                        <a:lnTo>
                          <a:pt x="42" y="195"/>
                        </a:lnTo>
                        <a:lnTo>
                          <a:pt x="38" y="194"/>
                        </a:lnTo>
                        <a:lnTo>
                          <a:pt x="38" y="179"/>
                        </a:lnTo>
                        <a:lnTo>
                          <a:pt x="32" y="173"/>
                        </a:lnTo>
                        <a:lnTo>
                          <a:pt x="32" y="165"/>
                        </a:lnTo>
                        <a:lnTo>
                          <a:pt x="34" y="154"/>
                        </a:lnTo>
                        <a:lnTo>
                          <a:pt x="36" y="133"/>
                        </a:lnTo>
                        <a:lnTo>
                          <a:pt x="27" y="123"/>
                        </a:lnTo>
                        <a:lnTo>
                          <a:pt x="21" y="118"/>
                        </a:lnTo>
                        <a:lnTo>
                          <a:pt x="10" y="113"/>
                        </a:lnTo>
                        <a:lnTo>
                          <a:pt x="1" y="109"/>
                        </a:lnTo>
                        <a:lnTo>
                          <a:pt x="0" y="103"/>
                        </a:lnTo>
                        <a:lnTo>
                          <a:pt x="1" y="98"/>
                        </a:lnTo>
                        <a:lnTo>
                          <a:pt x="6" y="90"/>
                        </a:lnTo>
                        <a:lnTo>
                          <a:pt x="13" y="89"/>
                        </a:lnTo>
                        <a:lnTo>
                          <a:pt x="20" y="85"/>
                        </a:lnTo>
                        <a:lnTo>
                          <a:pt x="22" y="78"/>
                        </a:lnTo>
                        <a:lnTo>
                          <a:pt x="42" y="76"/>
                        </a:lnTo>
                        <a:lnTo>
                          <a:pt x="42" y="68"/>
                        </a:lnTo>
                        <a:lnTo>
                          <a:pt x="38" y="64"/>
                        </a:lnTo>
                        <a:lnTo>
                          <a:pt x="39" y="60"/>
                        </a:lnTo>
                        <a:lnTo>
                          <a:pt x="24" y="62"/>
                        </a:lnTo>
                        <a:lnTo>
                          <a:pt x="17" y="57"/>
                        </a:lnTo>
                        <a:lnTo>
                          <a:pt x="15" y="43"/>
                        </a:lnTo>
                        <a:lnTo>
                          <a:pt x="11" y="39"/>
                        </a:lnTo>
                        <a:lnTo>
                          <a:pt x="26" y="15"/>
                        </a:lnTo>
                        <a:lnTo>
                          <a:pt x="28" y="3"/>
                        </a:lnTo>
                        <a:lnTo>
                          <a:pt x="32" y="0"/>
                        </a:lnTo>
                        <a:lnTo>
                          <a:pt x="42" y="17"/>
                        </a:lnTo>
                        <a:lnTo>
                          <a:pt x="48" y="25"/>
                        </a:lnTo>
                        <a:lnTo>
                          <a:pt x="49" y="17"/>
                        </a:lnTo>
                        <a:lnTo>
                          <a:pt x="53" y="5"/>
                        </a:lnTo>
                        <a:lnTo>
                          <a:pt x="59" y="8"/>
                        </a:lnTo>
                        <a:lnTo>
                          <a:pt x="61" y="22"/>
                        </a:lnTo>
                        <a:lnTo>
                          <a:pt x="69" y="31"/>
                        </a:lnTo>
                        <a:lnTo>
                          <a:pt x="74" y="27"/>
                        </a:lnTo>
                        <a:lnTo>
                          <a:pt x="82" y="33"/>
                        </a:lnTo>
                        <a:lnTo>
                          <a:pt x="91" y="19"/>
                        </a:lnTo>
                        <a:lnTo>
                          <a:pt x="93" y="23"/>
                        </a:lnTo>
                        <a:lnTo>
                          <a:pt x="96" y="43"/>
                        </a:lnTo>
                        <a:lnTo>
                          <a:pt x="101" y="62"/>
                        </a:lnTo>
                        <a:lnTo>
                          <a:pt x="107" y="70"/>
                        </a:lnTo>
                        <a:lnTo>
                          <a:pt x="118" y="75"/>
                        </a:lnTo>
                        <a:lnTo>
                          <a:pt x="162" y="79"/>
                        </a:lnTo>
                        <a:lnTo>
                          <a:pt x="166" y="76"/>
                        </a:lnTo>
                        <a:lnTo>
                          <a:pt x="180" y="74"/>
                        </a:lnTo>
                        <a:lnTo>
                          <a:pt x="203" y="76"/>
                        </a:lnTo>
                        <a:lnTo>
                          <a:pt x="227" y="80"/>
                        </a:lnTo>
                        <a:lnTo>
                          <a:pt x="242" y="86"/>
                        </a:lnTo>
                        <a:lnTo>
                          <a:pt x="239" y="91"/>
                        </a:lnTo>
                        <a:lnTo>
                          <a:pt x="231" y="96"/>
                        </a:lnTo>
                        <a:lnTo>
                          <a:pt x="226" y="109"/>
                        </a:lnTo>
                        <a:lnTo>
                          <a:pt x="214" y="124"/>
                        </a:lnTo>
                        <a:lnTo>
                          <a:pt x="203" y="134"/>
                        </a:lnTo>
                        <a:lnTo>
                          <a:pt x="192" y="140"/>
                        </a:lnTo>
                        <a:lnTo>
                          <a:pt x="178" y="149"/>
                        </a:lnTo>
                        <a:lnTo>
                          <a:pt x="176" y="157"/>
                        </a:lnTo>
                        <a:lnTo>
                          <a:pt x="177" y="173"/>
                        </a:lnTo>
                        <a:lnTo>
                          <a:pt x="184" y="193"/>
                        </a:lnTo>
                        <a:lnTo>
                          <a:pt x="194" y="194"/>
                        </a:lnTo>
                        <a:lnTo>
                          <a:pt x="199" y="204"/>
                        </a:lnTo>
                        <a:lnTo>
                          <a:pt x="206" y="210"/>
                        </a:lnTo>
                        <a:lnTo>
                          <a:pt x="211" y="202"/>
                        </a:lnTo>
                        <a:lnTo>
                          <a:pt x="217" y="181"/>
                        </a:lnTo>
                        <a:lnTo>
                          <a:pt x="228" y="166"/>
                        </a:lnTo>
                        <a:lnTo>
                          <a:pt x="233" y="167"/>
                        </a:lnTo>
                        <a:lnTo>
                          <a:pt x="241" y="181"/>
                        </a:lnTo>
                        <a:lnTo>
                          <a:pt x="246" y="198"/>
                        </a:lnTo>
                        <a:lnTo>
                          <a:pt x="249" y="206"/>
                        </a:lnTo>
                        <a:lnTo>
                          <a:pt x="252" y="215"/>
                        </a:lnTo>
                        <a:lnTo>
                          <a:pt x="258" y="243"/>
                        </a:lnTo>
                        <a:lnTo>
                          <a:pt x="262" y="276"/>
                        </a:lnTo>
                        <a:lnTo>
                          <a:pt x="260" y="279"/>
                        </a:lnTo>
                        <a:lnTo>
                          <a:pt x="262" y="308"/>
                        </a:lnTo>
                        <a:lnTo>
                          <a:pt x="250" y="305"/>
                        </a:lnTo>
                        <a:lnTo>
                          <a:pt x="244" y="310"/>
                        </a:lnTo>
                        <a:lnTo>
                          <a:pt x="243" y="318"/>
                        </a:lnTo>
                        <a:lnTo>
                          <a:pt x="243" y="335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25" name="Freeform 153"/>
                  <p:cNvSpPr>
                    <a:spLocks/>
                  </p:cNvSpPr>
                  <p:nvPr/>
                </p:nvSpPr>
                <p:spPr bwMode="gray">
                  <a:xfrm>
                    <a:off x="3390" y="2379"/>
                    <a:ext cx="23" cy="43"/>
                  </a:xfrm>
                  <a:custGeom>
                    <a:avLst/>
                    <a:gdLst>
                      <a:gd name="T0" fmla="*/ 1 w 116"/>
                      <a:gd name="T1" fmla="*/ 0 h 211"/>
                      <a:gd name="T2" fmla="*/ 1 w 116"/>
                      <a:gd name="T3" fmla="*/ 0 h 211"/>
                      <a:gd name="T4" fmla="*/ 1 w 116"/>
                      <a:gd name="T5" fmla="*/ 0 h 211"/>
                      <a:gd name="T6" fmla="*/ 1 w 116"/>
                      <a:gd name="T7" fmla="*/ 0 h 211"/>
                      <a:gd name="T8" fmla="*/ 1 w 116"/>
                      <a:gd name="T9" fmla="*/ 1 h 211"/>
                      <a:gd name="T10" fmla="*/ 1 w 116"/>
                      <a:gd name="T11" fmla="*/ 1 h 211"/>
                      <a:gd name="T12" fmla="*/ 1 w 116"/>
                      <a:gd name="T13" fmla="*/ 1 h 211"/>
                      <a:gd name="T14" fmla="*/ 1 w 116"/>
                      <a:gd name="T15" fmla="*/ 2 h 211"/>
                      <a:gd name="T16" fmla="*/ 1 w 116"/>
                      <a:gd name="T17" fmla="*/ 2 h 211"/>
                      <a:gd name="T18" fmla="*/ 0 w 116"/>
                      <a:gd name="T19" fmla="*/ 4 h 211"/>
                      <a:gd name="T20" fmla="*/ 0 w 116"/>
                      <a:gd name="T21" fmla="*/ 4 h 211"/>
                      <a:gd name="T22" fmla="*/ 0 w 116"/>
                      <a:gd name="T23" fmla="*/ 4 h 211"/>
                      <a:gd name="T24" fmla="*/ 0 w 116"/>
                      <a:gd name="T25" fmla="*/ 5 h 211"/>
                      <a:gd name="T26" fmla="*/ 0 w 116"/>
                      <a:gd name="T27" fmla="*/ 7 h 211"/>
                      <a:gd name="T28" fmla="*/ 0 w 116"/>
                      <a:gd name="T29" fmla="*/ 8 h 211"/>
                      <a:gd name="T30" fmla="*/ 1 w 116"/>
                      <a:gd name="T31" fmla="*/ 8 h 211"/>
                      <a:gd name="T32" fmla="*/ 1 w 116"/>
                      <a:gd name="T33" fmla="*/ 9 h 211"/>
                      <a:gd name="T34" fmla="*/ 2 w 116"/>
                      <a:gd name="T35" fmla="*/ 9 h 211"/>
                      <a:gd name="T36" fmla="*/ 2 w 116"/>
                      <a:gd name="T37" fmla="*/ 9 h 211"/>
                      <a:gd name="T38" fmla="*/ 3 w 116"/>
                      <a:gd name="T39" fmla="*/ 8 h 211"/>
                      <a:gd name="T40" fmla="*/ 4 w 116"/>
                      <a:gd name="T41" fmla="*/ 8 h 211"/>
                      <a:gd name="T42" fmla="*/ 4 w 116"/>
                      <a:gd name="T43" fmla="*/ 7 h 211"/>
                      <a:gd name="T44" fmla="*/ 5 w 116"/>
                      <a:gd name="T45" fmla="*/ 6 h 211"/>
                      <a:gd name="T46" fmla="*/ 5 w 116"/>
                      <a:gd name="T47" fmla="*/ 5 h 211"/>
                      <a:gd name="T48" fmla="*/ 5 w 116"/>
                      <a:gd name="T49" fmla="*/ 5 h 211"/>
                      <a:gd name="T50" fmla="*/ 4 w 116"/>
                      <a:gd name="T51" fmla="*/ 5 h 211"/>
                      <a:gd name="T52" fmla="*/ 4 w 116"/>
                      <a:gd name="T53" fmla="*/ 4 h 211"/>
                      <a:gd name="T54" fmla="*/ 4 w 116"/>
                      <a:gd name="T55" fmla="*/ 3 h 211"/>
                      <a:gd name="T56" fmla="*/ 3 w 116"/>
                      <a:gd name="T57" fmla="*/ 3 h 211"/>
                      <a:gd name="T58" fmla="*/ 3 w 116"/>
                      <a:gd name="T59" fmla="*/ 3 h 211"/>
                      <a:gd name="T60" fmla="*/ 3 w 116"/>
                      <a:gd name="T61" fmla="*/ 2 h 211"/>
                      <a:gd name="T62" fmla="*/ 3 w 116"/>
                      <a:gd name="T63" fmla="*/ 2 h 211"/>
                      <a:gd name="T64" fmla="*/ 3 w 116"/>
                      <a:gd name="T65" fmla="*/ 1 h 211"/>
                      <a:gd name="T66" fmla="*/ 2 w 116"/>
                      <a:gd name="T67" fmla="*/ 0 h 211"/>
                      <a:gd name="T68" fmla="*/ 1 w 116"/>
                      <a:gd name="T69" fmla="*/ 0 h 211"/>
                      <a:gd name="T70" fmla="*/ 1 w 116"/>
                      <a:gd name="T71" fmla="*/ 0 h 211"/>
                      <a:gd name="T72" fmla="*/ 1 w 116"/>
                      <a:gd name="T73" fmla="*/ 0 h 211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w 116"/>
                      <a:gd name="T112" fmla="*/ 0 h 211"/>
                      <a:gd name="T113" fmla="*/ 116 w 116"/>
                      <a:gd name="T114" fmla="*/ 211 h 211"/>
                    </a:gdLst>
                    <a:ahLst/>
                    <a:cxnLst>
                      <a:cxn ang="T74">
                        <a:pos x="T0" y="T1"/>
                      </a:cxn>
                      <a:cxn ang="T75">
                        <a:pos x="T2" y="T3"/>
                      </a:cxn>
                      <a:cxn ang="T76">
                        <a:pos x="T4" y="T5"/>
                      </a:cxn>
                      <a:cxn ang="T77">
                        <a:pos x="T6" y="T7"/>
                      </a:cxn>
                      <a:cxn ang="T78">
                        <a:pos x="T8" y="T9"/>
                      </a:cxn>
                      <a:cxn ang="T79">
                        <a:pos x="T10" y="T11"/>
                      </a:cxn>
                      <a:cxn ang="T80">
                        <a:pos x="T12" y="T13"/>
                      </a:cxn>
                      <a:cxn ang="T81">
                        <a:pos x="T14" y="T15"/>
                      </a:cxn>
                      <a:cxn ang="T82">
                        <a:pos x="T16" y="T17"/>
                      </a:cxn>
                      <a:cxn ang="T83">
                        <a:pos x="T18" y="T19"/>
                      </a:cxn>
                      <a:cxn ang="T84">
                        <a:pos x="T20" y="T21"/>
                      </a:cxn>
                      <a:cxn ang="T85">
                        <a:pos x="T22" y="T23"/>
                      </a:cxn>
                      <a:cxn ang="T86">
                        <a:pos x="T24" y="T25"/>
                      </a:cxn>
                      <a:cxn ang="T87">
                        <a:pos x="T26" y="T27"/>
                      </a:cxn>
                      <a:cxn ang="T88">
                        <a:pos x="T28" y="T29"/>
                      </a:cxn>
                      <a:cxn ang="T89">
                        <a:pos x="T30" y="T31"/>
                      </a:cxn>
                      <a:cxn ang="T90">
                        <a:pos x="T32" y="T33"/>
                      </a:cxn>
                      <a:cxn ang="T91">
                        <a:pos x="T34" y="T35"/>
                      </a:cxn>
                      <a:cxn ang="T92">
                        <a:pos x="T36" y="T37"/>
                      </a:cxn>
                      <a:cxn ang="T93">
                        <a:pos x="T38" y="T39"/>
                      </a:cxn>
                      <a:cxn ang="T94">
                        <a:pos x="T40" y="T41"/>
                      </a:cxn>
                      <a:cxn ang="T95">
                        <a:pos x="T42" y="T43"/>
                      </a:cxn>
                      <a:cxn ang="T96">
                        <a:pos x="T44" y="T45"/>
                      </a:cxn>
                      <a:cxn ang="T97">
                        <a:pos x="T46" y="T47"/>
                      </a:cxn>
                      <a:cxn ang="T98">
                        <a:pos x="T48" y="T49"/>
                      </a:cxn>
                      <a:cxn ang="T99">
                        <a:pos x="T50" y="T51"/>
                      </a:cxn>
                      <a:cxn ang="T100">
                        <a:pos x="T52" y="T53"/>
                      </a:cxn>
                      <a:cxn ang="T101">
                        <a:pos x="T54" y="T55"/>
                      </a:cxn>
                      <a:cxn ang="T102">
                        <a:pos x="T56" y="T57"/>
                      </a:cxn>
                      <a:cxn ang="T103">
                        <a:pos x="T58" y="T59"/>
                      </a:cxn>
                      <a:cxn ang="T104">
                        <a:pos x="T60" y="T61"/>
                      </a:cxn>
                      <a:cxn ang="T105">
                        <a:pos x="T62" y="T63"/>
                      </a:cxn>
                      <a:cxn ang="T106">
                        <a:pos x="T64" y="T65"/>
                      </a:cxn>
                      <a:cxn ang="T107">
                        <a:pos x="T66" y="T67"/>
                      </a:cxn>
                      <a:cxn ang="T108">
                        <a:pos x="T68" y="T69"/>
                      </a:cxn>
                      <a:cxn ang="T109">
                        <a:pos x="T70" y="T71"/>
                      </a:cxn>
                      <a:cxn ang="T110">
                        <a:pos x="T72" y="T73"/>
                      </a:cxn>
                    </a:cxnLst>
                    <a:rect l="T111" t="T112" r="T113" b="T114"/>
                    <a:pathLst>
                      <a:path w="116" h="211">
                        <a:moveTo>
                          <a:pt x="18" y="0"/>
                        </a:moveTo>
                        <a:lnTo>
                          <a:pt x="13" y="4"/>
                        </a:lnTo>
                        <a:lnTo>
                          <a:pt x="19" y="9"/>
                        </a:lnTo>
                        <a:lnTo>
                          <a:pt x="28" y="12"/>
                        </a:lnTo>
                        <a:lnTo>
                          <a:pt x="33" y="19"/>
                        </a:lnTo>
                        <a:lnTo>
                          <a:pt x="28" y="19"/>
                        </a:lnTo>
                        <a:lnTo>
                          <a:pt x="22" y="25"/>
                        </a:lnTo>
                        <a:lnTo>
                          <a:pt x="19" y="38"/>
                        </a:lnTo>
                        <a:lnTo>
                          <a:pt x="13" y="47"/>
                        </a:lnTo>
                        <a:lnTo>
                          <a:pt x="7" y="95"/>
                        </a:lnTo>
                        <a:lnTo>
                          <a:pt x="2" y="91"/>
                        </a:lnTo>
                        <a:lnTo>
                          <a:pt x="0" y="95"/>
                        </a:lnTo>
                        <a:lnTo>
                          <a:pt x="0" y="111"/>
                        </a:lnTo>
                        <a:lnTo>
                          <a:pt x="7" y="166"/>
                        </a:lnTo>
                        <a:lnTo>
                          <a:pt x="11" y="182"/>
                        </a:lnTo>
                        <a:lnTo>
                          <a:pt x="19" y="198"/>
                        </a:lnTo>
                        <a:lnTo>
                          <a:pt x="29" y="209"/>
                        </a:lnTo>
                        <a:lnTo>
                          <a:pt x="45" y="211"/>
                        </a:lnTo>
                        <a:lnTo>
                          <a:pt x="59" y="211"/>
                        </a:lnTo>
                        <a:lnTo>
                          <a:pt x="86" y="197"/>
                        </a:lnTo>
                        <a:lnTo>
                          <a:pt x="100" y="187"/>
                        </a:lnTo>
                        <a:lnTo>
                          <a:pt x="113" y="170"/>
                        </a:lnTo>
                        <a:lnTo>
                          <a:pt x="115" y="145"/>
                        </a:lnTo>
                        <a:lnTo>
                          <a:pt x="116" y="125"/>
                        </a:lnTo>
                        <a:lnTo>
                          <a:pt x="115" y="117"/>
                        </a:lnTo>
                        <a:lnTo>
                          <a:pt x="108" y="114"/>
                        </a:lnTo>
                        <a:lnTo>
                          <a:pt x="98" y="87"/>
                        </a:lnTo>
                        <a:lnTo>
                          <a:pt x="92" y="75"/>
                        </a:lnTo>
                        <a:lnTo>
                          <a:pt x="86" y="69"/>
                        </a:lnTo>
                        <a:lnTo>
                          <a:pt x="83" y="62"/>
                        </a:lnTo>
                        <a:lnTo>
                          <a:pt x="80" y="55"/>
                        </a:lnTo>
                        <a:lnTo>
                          <a:pt x="67" y="44"/>
                        </a:lnTo>
                        <a:lnTo>
                          <a:pt x="64" y="33"/>
                        </a:lnTo>
                        <a:lnTo>
                          <a:pt x="45" y="12"/>
                        </a:lnTo>
                        <a:lnTo>
                          <a:pt x="35" y="4"/>
                        </a:lnTo>
                        <a:lnTo>
                          <a:pt x="27" y="0"/>
                        </a:lnTo>
                        <a:lnTo>
                          <a:pt x="18" y="0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</p:grpSp>
            <p:sp>
              <p:nvSpPr>
                <p:cNvPr id="442" name="Freeform 154"/>
                <p:cNvSpPr>
                  <a:spLocks/>
                </p:cNvSpPr>
                <p:nvPr/>
              </p:nvSpPr>
              <p:spPr bwMode="gray">
                <a:xfrm>
                  <a:off x="6678437" y="2526286"/>
                  <a:ext cx="32648" cy="69307"/>
                </a:xfrm>
                <a:custGeom>
                  <a:avLst/>
                  <a:gdLst>
                    <a:gd name="T0" fmla="*/ 6544 w 97"/>
                    <a:gd name="T1" fmla="*/ 0 h 199"/>
                    <a:gd name="T2" fmla="*/ 6980 w 97"/>
                    <a:gd name="T3" fmla="*/ 413 h 199"/>
                    <a:gd name="T4" fmla="*/ 7416 w 97"/>
                    <a:gd name="T5" fmla="*/ 827 h 199"/>
                    <a:gd name="T6" fmla="*/ 7853 w 97"/>
                    <a:gd name="T7" fmla="*/ 827 h 199"/>
                    <a:gd name="T8" fmla="*/ 7853 w 97"/>
                    <a:gd name="T9" fmla="*/ 827 h 199"/>
                    <a:gd name="T10" fmla="*/ 8289 w 97"/>
                    <a:gd name="T11" fmla="*/ 1240 h 199"/>
                    <a:gd name="T12" fmla="*/ 8289 w 97"/>
                    <a:gd name="T13" fmla="*/ 1653 h 199"/>
                    <a:gd name="T14" fmla="*/ 7853 w 97"/>
                    <a:gd name="T15" fmla="*/ 2066 h 199"/>
                    <a:gd name="T16" fmla="*/ 7853 w 97"/>
                    <a:gd name="T17" fmla="*/ 2480 h 199"/>
                    <a:gd name="T18" fmla="*/ 7853 w 97"/>
                    <a:gd name="T19" fmla="*/ 3306 h 199"/>
                    <a:gd name="T20" fmla="*/ 7853 w 97"/>
                    <a:gd name="T21" fmla="*/ 4133 h 199"/>
                    <a:gd name="T22" fmla="*/ 6980 w 97"/>
                    <a:gd name="T23" fmla="*/ 5786 h 199"/>
                    <a:gd name="T24" fmla="*/ 6544 w 97"/>
                    <a:gd name="T25" fmla="*/ 7852 h 199"/>
                    <a:gd name="T26" fmla="*/ 6544 w 97"/>
                    <a:gd name="T27" fmla="*/ 9505 h 199"/>
                    <a:gd name="T28" fmla="*/ 5671 w 97"/>
                    <a:gd name="T29" fmla="*/ 10745 h 199"/>
                    <a:gd name="T30" fmla="*/ 4799 w 97"/>
                    <a:gd name="T31" fmla="*/ 12398 h 199"/>
                    <a:gd name="T32" fmla="*/ 4363 w 97"/>
                    <a:gd name="T33" fmla="*/ 13225 h 199"/>
                    <a:gd name="T34" fmla="*/ 3926 w 97"/>
                    <a:gd name="T35" fmla="*/ 14051 h 199"/>
                    <a:gd name="T36" fmla="*/ 3490 w 97"/>
                    <a:gd name="T37" fmla="*/ 16531 h 199"/>
                    <a:gd name="T38" fmla="*/ 3054 w 97"/>
                    <a:gd name="T39" fmla="*/ 16117 h 199"/>
                    <a:gd name="T40" fmla="*/ 2618 w 97"/>
                    <a:gd name="T41" fmla="*/ 15291 h 199"/>
                    <a:gd name="T42" fmla="*/ 2181 w 97"/>
                    <a:gd name="T43" fmla="*/ 14051 h 199"/>
                    <a:gd name="T44" fmla="*/ 1309 w 97"/>
                    <a:gd name="T45" fmla="*/ 13638 h 199"/>
                    <a:gd name="T46" fmla="*/ 436 w 97"/>
                    <a:gd name="T47" fmla="*/ 12398 h 199"/>
                    <a:gd name="T48" fmla="*/ 0 w 97"/>
                    <a:gd name="T49" fmla="*/ 10332 h 199"/>
                    <a:gd name="T50" fmla="*/ 0 w 97"/>
                    <a:gd name="T51" fmla="*/ 8679 h 199"/>
                    <a:gd name="T52" fmla="*/ 0 w 97"/>
                    <a:gd name="T53" fmla="*/ 7439 h 199"/>
                    <a:gd name="T54" fmla="*/ 873 w 97"/>
                    <a:gd name="T55" fmla="*/ 6199 h 199"/>
                    <a:gd name="T56" fmla="*/ 3926 w 97"/>
                    <a:gd name="T57" fmla="*/ 1240 h 199"/>
                    <a:gd name="T58" fmla="*/ 5671 w 97"/>
                    <a:gd name="T59" fmla="*/ 413 h 199"/>
                    <a:gd name="T60" fmla="*/ 5671 w 97"/>
                    <a:gd name="T61" fmla="*/ 413 h 199"/>
                    <a:gd name="T62" fmla="*/ 6544 w 97"/>
                    <a:gd name="T63" fmla="*/ 0 h 199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97"/>
                    <a:gd name="T97" fmla="*/ 0 h 199"/>
                    <a:gd name="T98" fmla="*/ 97 w 97"/>
                    <a:gd name="T99" fmla="*/ 199 h 199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97" h="199">
                      <a:moveTo>
                        <a:pt x="75" y="0"/>
                      </a:moveTo>
                      <a:lnTo>
                        <a:pt x="82" y="4"/>
                      </a:lnTo>
                      <a:lnTo>
                        <a:pt x="87" y="9"/>
                      </a:lnTo>
                      <a:lnTo>
                        <a:pt x="92" y="9"/>
                      </a:lnTo>
                      <a:lnTo>
                        <a:pt x="94" y="10"/>
                      </a:lnTo>
                      <a:lnTo>
                        <a:pt x="97" y="15"/>
                      </a:lnTo>
                      <a:lnTo>
                        <a:pt x="97" y="18"/>
                      </a:lnTo>
                      <a:lnTo>
                        <a:pt x="93" y="26"/>
                      </a:lnTo>
                      <a:lnTo>
                        <a:pt x="93" y="32"/>
                      </a:lnTo>
                      <a:lnTo>
                        <a:pt x="94" y="41"/>
                      </a:lnTo>
                      <a:lnTo>
                        <a:pt x="92" y="50"/>
                      </a:lnTo>
                      <a:lnTo>
                        <a:pt x="83" y="69"/>
                      </a:lnTo>
                      <a:lnTo>
                        <a:pt x="79" y="95"/>
                      </a:lnTo>
                      <a:lnTo>
                        <a:pt x="76" y="114"/>
                      </a:lnTo>
                      <a:lnTo>
                        <a:pt x="68" y="131"/>
                      </a:lnTo>
                      <a:lnTo>
                        <a:pt x="57" y="150"/>
                      </a:lnTo>
                      <a:lnTo>
                        <a:pt x="51" y="159"/>
                      </a:lnTo>
                      <a:lnTo>
                        <a:pt x="48" y="168"/>
                      </a:lnTo>
                      <a:lnTo>
                        <a:pt x="40" y="199"/>
                      </a:lnTo>
                      <a:lnTo>
                        <a:pt x="36" y="195"/>
                      </a:lnTo>
                      <a:lnTo>
                        <a:pt x="33" y="182"/>
                      </a:lnTo>
                      <a:lnTo>
                        <a:pt x="25" y="170"/>
                      </a:lnTo>
                      <a:lnTo>
                        <a:pt x="16" y="163"/>
                      </a:lnTo>
                      <a:lnTo>
                        <a:pt x="6" y="147"/>
                      </a:lnTo>
                      <a:lnTo>
                        <a:pt x="1" y="122"/>
                      </a:lnTo>
                      <a:lnTo>
                        <a:pt x="0" y="102"/>
                      </a:lnTo>
                      <a:lnTo>
                        <a:pt x="2" y="92"/>
                      </a:lnTo>
                      <a:lnTo>
                        <a:pt x="9" y="76"/>
                      </a:lnTo>
                      <a:lnTo>
                        <a:pt x="48" y="17"/>
                      </a:lnTo>
                      <a:lnTo>
                        <a:pt x="65" y="7"/>
                      </a:lnTo>
                      <a:lnTo>
                        <a:pt x="68" y="3"/>
                      </a:lnTo>
                      <a:lnTo>
                        <a:pt x="75" y="0"/>
                      </a:lnTo>
                      <a:close/>
                    </a:path>
                  </a:pathLst>
                </a:custGeom>
                <a:solidFill>
                  <a:schemeClr val="bg2">
                    <a:lumMod val="40000"/>
                    <a:lumOff val="60000"/>
                  </a:schemeClr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grpSp>
              <p:nvGrpSpPr>
                <p:cNvPr id="443" name="Group 155"/>
                <p:cNvGrpSpPr>
                  <a:grpSpLocks/>
                </p:cNvGrpSpPr>
                <p:nvPr/>
              </p:nvGrpSpPr>
              <p:grpSpPr bwMode="auto">
                <a:xfrm>
                  <a:off x="6863025" y="2045215"/>
                  <a:ext cx="313925" cy="356047"/>
                  <a:chOff x="3938" y="1929"/>
                  <a:chExt cx="178" cy="202"/>
                </a:xfrm>
                <a:solidFill>
                  <a:srgbClr val="D9D9D9"/>
                </a:solidFill>
              </p:grpSpPr>
              <p:sp>
                <p:nvSpPr>
                  <p:cNvPr id="515" name="Freeform 156"/>
                  <p:cNvSpPr>
                    <a:spLocks/>
                  </p:cNvSpPr>
                  <p:nvPr/>
                </p:nvSpPr>
                <p:spPr bwMode="gray">
                  <a:xfrm>
                    <a:off x="4050" y="1929"/>
                    <a:ext cx="66" cy="61"/>
                  </a:xfrm>
                  <a:custGeom>
                    <a:avLst/>
                    <a:gdLst>
                      <a:gd name="T0" fmla="*/ 12 w 330"/>
                      <a:gd name="T1" fmla="*/ 4 h 307"/>
                      <a:gd name="T2" fmla="*/ 12 w 330"/>
                      <a:gd name="T3" fmla="*/ 4 h 307"/>
                      <a:gd name="T4" fmla="*/ 12 w 330"/>
                      <a:gd name="T5" fmla="*/ 6 h 307"/>
                      <a:gd name="T6" fmla="*/ 12 w 330"/>
                      <a:gd name="T7" fmla="*/ 7 h 307"/>
                      <a:gd name="T8" fmla="*/ 13 w 330"/>
                      <a:gd name="T9" fmla="*/ 6 h 307"/>
                      <a:gd name="T10" fmla="*/ 12 w 330"/>
                      <a:gd name="T11" fmla="*/ 7 h 307"/>
                      <a:gd name="T12" fmla="*/ 11 w 330"/>
                      <a:gd name="T13" fmla="*/ 8 h 307"/>
                      <a:gd name="T14" fmla="*/ 11 w 330"/>
                      <a:gd name="T15" fmla="*/ 8 h 307"/>
                      <a:gd name="T16" fmla="*/ 10 w 330"/>
                      <a:gd name="T17" fmla="*/ 8 h 307"/>
                      <a:gd name="T18" fmla="*/ 8 w 330"/>
                      <a:gd name="T19" fmla="*/ 9 h 307"/>
                      <a:gd name="T20" fmla="*/ 8 w 330"/>
                      <a:gd name="T21" fmla="*/ 10 h 307"/>
                      <a:gd name="T22" fmla="*/ 6 w 330"/>
                      <a:gd name="T23" fmla="*/ 10 h 307"/>
                      <a:gd name="T24" fmla="*/ 5 w 330"/>
                      <a:gd name="T25" fmla="*/ 9 h 307"/>
                      <a:gd name="T26" fmla="*/ 3 w 330"/>
                      <a:gd name="T27" fmla="*/ 9 h 307"/>
                      <a:gd name="T28" fmla="*/ 3 w 330"/>
                      <a:gd name="T29" fmla="*/ 9 h 307"/>
                      <a:gd name="T30" fmla="*/ 1 w 330"/>
                      <a:gd name="T31" fmla="*/ 9 h 307"/>
                      <a:gd name="T32" fmla="*/ 1 w 330"/>
                      <a:gd name="T33" fmla="*/ 10 h 307"/>
                      <a:gd name="T34" fmla="*/ 3 w 330"/>
                      <a:gd name="T35" fmla="*/ 11 h 307"/>
                      <a:gd name="T36" fmla="*/ 2 w 330"/>
                      <a:gd name="T37" fmla="*/ 11 h 307"/>
                      <a:gd name="T38" fmla="*/ 2 w 330"/>
                      <a:gd name="T39" fmla="*/ 11 h 307"/>
                      <a:gd name="T40" fmla="*/ 1 w 330"/>
                      <a:gd name="T41" fmla="*/ 12 h 307"/>
                      <a:gd name="T42" fmla="*/ 0 w 330"/>
                      <a:gd name="T43" fmla="*/ 12 h 307"/>
                      <a:gd name="T44" fmla="*/ 0 w 330"/>
                      <a:gd name="T45" fmla="*/ 10 h 307"/>
                      <a:gd name="T46" fmla="*/ 0 w 330"/>
                      <a:gd name="T47" fmla="*/ 9 h 307"/>
                      <a:gd name="T48" fmla="*/ 1 w 330"/>
                      <a:gd name="T49" fmla="*/ 8 h 307"/>
                      <a:gd name="T50" fmla="*/ 1 w 330"/>
                      <a:gd name="T51" fmla="*/ 7 h 307"/>
                      <a:gd name="T52" fmla="*/ 2 w 330"/>
                      <a:gd name="T53" fmla="*/ 7 h 307"/>
                      <a:gd name="T54" fmla="*/ 3 w 330"/>
                      <a:gd name="T55" fmla="*/ 7 h 307"/>
                      <a:gd name="T56" fmla="*/ 3 w 330"/>
                      <a:gd name="T57" fmla="*/ 6 h 307"/>
                      <a:gd name="T58" fmla="*/ 4 w 330"/>
                      <a:gd name="T59" fmla="*/ 5 h 307"/>
                      <a:gd name="T60" fmla="*/ 4 w 330"/>
                      <a:gd name="T61" fmla="*/ 4 h 307"/>
                      <a:gd name="T62" fmla="*/ 4 w 330"/>
                      <a:gd name="T63" fmla="*/ 1 h 307"/>
                      <a:gd name="T64" fmla="*/ 4 w 330"/>
                      <a:gd name="T65" fmla="*/ 0 h 307"/>
                      <a:gd name="T66" fmla="*/ 5 w 330"/>
                      <a:gd name="T67" fmla="*/ 0 h 307"/>
                      <a:gd name="T68" fmla="*/ 5 w 330"/>
                      <a:gd name="T69" fmla="*/ 1 h 307"/>
                      <a:gd name="T70" fmla="*/ 7 w 330"/>
                      <a:gd name="T71" fmla="*/ 3 h 307"/>
                      <a:gd name="T72" fmla="*/ 9 w 330"/>
                      <a:gd name="T73" fmla="*/ 4 h 307"/>
                      <a:gd name="T74" fmla="*/ 10 w 330"/>
                      <a:gd name="T75" fmla="*/ 5 h 307"/>
                      <a:gd name="T76" fmla="*/ 11 w 330"/>
                      <a:gd name="T77" fmla="*/ 5 h 307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w 330"/>
                      <a:gd name="T118" fmla="*/ 0 h 307"/>
                      <a:gd name="T119" fmla="*/ 330 w 330"/>
                      <a:gd name="T120" fmla="*/ 307 h 307"/>
                    </a:gdLst>
                    <a:ahLst/>
                    <a:cxnLst>
                      <a:cxn ang="T78">
                        <a:pos x="T0" y="T1"/>
                      </a:cxn>
                      <a:cxn ang="T79">
                        <a:pos x="T2" y="T3"/>
                      </a:cxn>
                      <a:cxn ang="T80">
                        <a:pos x="T4" y="T5"/>
                      </a:cxn>
                      <a:cxn ang="T81">
                        <a:pos x="T6" y="T7"/>
                      </a:cxn>
                      <a:cxn ang="T82">
                        <a:pos x="T8" y="T9"/>
                      </a:cxn>
                      <a:cxn ang="T83">
                        <a:pos x="T10" y="T11"/>
                      </a:cxn>
                      <a:cxn ang="T84">
                        <a:pos x="T12" y="T13"/>
                      </a:cxn>
                      <a:cxn ang="T85">
                        <a:pos x="T14" y="T15"/>
                      </a:cxn>
                      <a:cxn ang="T86">
                        <a:pos x="T16" y="T17"/>
                      </a:cxn>
                      <a:cxn ang="T87">
                        <a:pos x="T18" y="T19"/>
                      </a:cxn>
                      <a:cxn ang="T88">
                        <a:pos x="T20" y="T21"/>
                      </a:cxn>
                      <a:cxn ang="T89">
                        <a:pos x="T22" y="T23"/>
                      </a:cxn>
                      <a:cxn ang="T90">
                        <a:pos x="T24" y="T25"/>
                      </a:cxn>
                      <a:cxn ang="T91">
                        <a:pos x="T26" y="T27"/>
                      </a:cxn>
                      <a:cxn ang="T92">
                        <a:pos x="T28" y="T29"/>
                      </a:cxn>
                      <a:cxn ang="T93">
                        <a:pos x="T30" y="T31"/>
                      </a:cxn>
                      <a:cxn ang="T94">
                        <a:pos x="T32" y="T33"/>
                      </a:cxn>
                      <a:cxn ang="T95">
                        <a:pos x="T34" y="T35"/>
                      </a:cxn>
                      <a:cxn ang="T96">
                        <a:pos x="T36" y="T37"/>
                      </a:cxn>
                      <a:cxn ang="T97">
                        <a:pos x="T38" y="T39"/>
                      </a:cxn>
                      <a:cxn ang="T98">
                        <a:pos x="T40" y="T41"/>
                      </a:cxn>
                      <a:cxn ang="T99">
                        <a:pos x="T42" y="T43"/>
                      </a:cxn>
                      <a:cxn ang="T100">
                        <a:pos x="T44" y="T45"/>
                      </a:cxn>
                      <a:cxn ang="T101">
                        <a:pos x="T46" y="T47"/>
                      </a:cxn>
                      <a:cxn ang="T102">
                        <a:pos x="T48" y="T49"/>
                      </a:cxn>
                      <a:cxn ang="T103">
                        <a:pos x="T50" y="T51"/>
                      </a:cxn>
                      <a:cxn ang="T104">
                        <a:pos x="T52" y="T53"/>
                      </a:cxn>
                      <a:cxn ang="T105">
                        <a:pos x="T54" y="T55"/>
                      </a:cxn>
                      <a:cxn ang="T106">
                        <a:pos x="T56" y="T57"/>
                      </a:cxn>
                      <a:cxn ang="T107">
                        <a:pos x="T58" y="T59"/>
                      </a:cxn>
                      <a:cxn ang="T108">
                        <a:pos x="T60" y="T61"/>
                      </a:cxn>
                      <a:cxn ang="T109">
                        <a:pos x="T62" y="T63"/>
                      </a:cxn>
                      <a:cxn ang="T110">
                        <a:pos x="T64" y="T65"/>
                      </a:cxn>
                      <a:cxn ang="T111">
                        <a:pos x="T66" y="T67"/>
                      </a:cxn>
                      <a:cxn ang="T112">
                        <a:pos x="T68" y="T69"/>
                      </a:cxn>
                      <a:cxn ang="T113">
                        <a:pos x="T70" y="T71"/>
                      </a:cxn>
                      <a:cxn ang="T114">
                        <a:pos x="T72" y="T73"/>
                      </a:cxn>
                      <a:cxn ang="T115">
                        <a:pos x="T74" y="T75"/>
                      </a:cxn>
                      <a:cxn ang="T116">
                        <a:pos x="T76" y="T77"/>
                      </a:cxn>
                    </a:cxnLst>
                    <a:rect l="T117" t="T118" r="T119" b="T120"/>
                    <a:pathLst>
                      <a:path w="330" h="307">
                        <a:moveTo>
                          <a:pt x="285" y="108"/>
                        </a:moveTo>
                        <a:lnTo>
                          <a:pt x="301" y="94"/>
                        </a:lnTo>
                        <a:lnTo>
                          <a:pt x="305" y="97"/>
                        </a:lnTo>
                        <a:lnTo>
                          <a:pt x="299" y="113"/>
                        </a:lnTo>
                        <a:lnTo>
                          <a:pt x="291" y="129"/>
                        </a:lnTo>
                        <a:lnTo>
                          <a:pt x="294" y="141"/>
                        </a:lnTo>
                        <a:lnTo>
                          <a:pt x="304" y="148"/>
                        </a:lnTo>
                        <a:lnTo>
                          <a:pt x="304" y="164"/>
                        </a:lnTo>
                        <a:lnTo>
                          <a:pt x="315" y="164"/>
                        </a:lnTo>
                        <a:lnTo>
                          <a:pt x="330" y="159"/>
                        </a:lnTo>
                        <a:lnTo>
                          <a:pt x="325" y="170"/>
                        </a:lnTo>
                        <a:lnTo>
                          <a:pt x="308" y="177"/>
                        </a:lnTo>
                        <a:lnTo>
                          <a:pt x="293" y="188"/>
                        </a:lnTo>
                        <a:lnTo>
                          <a:pt x="283" y="191"/>
                        </a:lnTo>
                        <a:lnTo>
                          <a:pt x="277" y="187"/>
                        </a:lnTo>
                        <a:lnTo>
                          <a:pt x="271" y="195"/>
                        </a:lnTo>
                        <a:lnTo>
                          <a:pt x="254" y="193"/>
                        </a:lnTo>
                        <a:lnTo>
                          <a:pt x="238" y="195"/>
                        </a:lnTo>
                        <a:lnTo>
                          <a:pt x="223" y="204"/>
                        </a:lnTo>
                        <a:lnTo>
                          <a:pt x="208" y="223"/>
                        </a:lnTo>
                        <a:lnTo>
                          <a:pt x="199" y="241"/>
                        </a:lnTo>
                        <a:lnTo>
                          <a:pt x="195" y="259"/>
                        </a:lnTo>
                        <a:lnTo>
                          <a:pt x="189" y="268"/>
                        </a:lnTo>
                        <a:lnTo>
                          <a:pt x="162" y="248"/>
                        </a:lnTo>
                        <a:lnTo>
                          <a:pt x="142" y="241"/>
                        </a:lnTo>
                        <a:lnTo>
                          <a:pt x="114" y="224"/>
                        </a:lnTo>
                        <a:lnTo>
                          <a:pt x="97" y="221"/>
                        </a:lnTo>
                        <a:lnTo>
                          <a:pt x="84" y="227"/>
                        </a:lnTo>
                        <a:lnTo>
                          <a:pt x="74" y="236"/>
                        </a:lnTo>
                        <a:lnTo>
                          <a:pt x="63" y="235"/>
                        </a:lnTo>
                        <a:lnTo>
                          <a:pt x="52" y="225"/>
                        </a:lnTo>
                        <a:lnTo>
                          <a:pt x="36" y="226"/>
                        </a:lnTo>
                        <a:lnTo>
                          <a:pt x="28" y="240"/>
                        </a:lnTo>
                        <a:lnTo>
                          <a:pt x="34" y="251"/>
                        </a:lnTo>
                        <a:lnTo>
                          <a:pt x="57" y="262"/>
                        </a:lnTo>
                        <a:lnTo>
                          <a:pt x="74" y="277"/>
                        </a:lnTo>
                        <a:lnTo>
                          <a:pt x="71" y="284"/>
                        </a:lnTo>
                        <a:lnTo>
                          <a:pt x="59" y="283"/>
                        </a:lnTo>
                        <a:lnTo>
                          <a:pt x="50" y="283"/>
                        </a:lnTo>
                        <a:lnTo>
                          <a:pt x="40" y="289"/>
                        </a:lnTo>
                        <a:lnTo>
                          <a:pt x="35" y="297"/>
                        </a:lnTo>
                        <a:lnTo>
                          <a:pt x="22" y="307"/>
                        </a:lnTo>
                        <a:lnTo>
                          <a:pt x="14" y="305"/>
                        </a:lnTo>
                        <a:lnTo>
                          <a:pt x="11" y="295"/>
                        </a:lnTo>
                        <a:lnTo>
                          <a:pt x="18" y="264"/>
                        </a:lnTo>
                        <a:lnTo>
                          <a:pt x="0" y="247"/>
                        </a:lnTo>
                        <a:lnTo>
                          <a:pt x="2" y="224"/>
                        </a:lnTo>
                        <a:lnTo>
                          <a:pt x="11" y="214"/>
                        </a:lnTo>
                        <a:lnTo>
                          <a:pt x="24" y="207"/>
                        </a:lnTo>
                        <a:lnTo>
                          <a:pt x="34" y="195"/>
                        </a:lnTo>
                        <a:lnTo>
                          <a:pt x="38" y="184"/>
                        </a:lnTo>
                        <a:lnTo>
                          <a:pt x="31" y="176"/>
                        </a:lnTo>
                        <a:lnTo>
                          <a:pt x="34" y="167"/>
                        </a:lnTo>
                        <a:lnTo>
                          <a:pt x="47" y="171"/>
                        </a:lnTo>
                        <a:lnTo>
                          <a:pt x="60" y="175"/>
                        </a:lnTo>
                        <a:lnTo>
                          <a:pt x="81" y="175"/>
                        </a:lnTo>
                        <a:lnTo>
                          <a:pt x="88" y="160"/>
                        </a:lnTo>
                        <a:lnTo>
                          <a:pt x="87" y="146"/>
                        </a:lnTo>
                        <a:lnTo>
                          <a:pt x="87" y="135"/>
                        </a:lnTo>
                        <a:lnTo>
                          <a:pt x="94" y="127"/>
                        </a:lnTo>
                        <a:lnTo>
                          <a:pt x="100" y="110"/>
                        </a:lnTo>
                        <a:lnTo>
                          <a:pt x="102" y="90"/>
                        </a:lnTo>
                        <a:lnTo>
                          <a:pt x="109" y="58"/>
                        </a:lnTo>
                        <a:lnTo>
                          <a:pt x="99" y="25"/>
                        </a:lnTo>
                        <a:lnTo>
                          <a:pt x="99" y="15"/>
                        </a:lnTo>
                        <a:lnTo>
                          <a:pt x="110" y="3"/>
                        </a:lnTo>
                        <a:lnTo>
                          <a:pt x="115" y="0"/>
                        </a:lnTo>
                        <a:lnTo>
                          <a:pt x="122" y="8"/>
                        </a:lnTo>
                        <a:lnTo>
                          <a:pt x="126" y="15"/>
                        </a:lnTo>
                        <a:lnTo>
                          <a:pt x="135" y="22"/>
                        </a:lnTo>
                        <a:lnTo>
                          <a:pt x="158" y="54"/>
                        </a:lnTo>
                        <a:lnTo>
                          <a:pt x="179" y="75"/>
                        </a:lnTo>
                        <a:lnTo>
                          <a:pt x="199" y="92"/>
                        </a:lnTo>
                        <a:lnTo>
                          <a:pt x="222" y="103"/>
                        </a:lnTo>
                        <a:lnTo>
                          <a:pt x="244" y="108"/>
                        </a:lnTo>
                        <a:lnTo>
                          <a:pt x="250" y="116"/>
                        </a:lnTo>
                        <a:lnTo>
                          <a:pt x="261" y="121"/>
                        </a:lnTo>
                        <a:lnTo>
                          <a:pt x="272" y="118"/>
                        </a:lnTo>
                        <a:lnTo>
                          <a:pt x="285" y="108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16" name="Freeform 157"/>
                  <p:cNvSpPr>
                    <a:spLocks/>
                  </p:cNvSpPr>
                  <p:nvPr/>
                </p:nvSpPr>
                <p:spPr bwMode="gray">
                  <a:xfrm>
                    <a:off x="3952" y="1989"/>
                    <a:ext cx="123" cy="110"/>
                  </a:xfrm>
                  <a:custGeom>
                    <a:avLst/>
                    <a:gdLst>
                      <a:gd name="T0" fmla="*/ 23 w 613"/>
                      <a:gd name="T1" fmla="*/ 1 h 552"/>
                      <a:gd name="T2" fmla="*/ 23 w 613"/>
                      <a:gd name="T3" fmla="*/ 3 h 552"/>
                      <a:gd name="T4" fmla="*/ 24 w 613"/>
                      <a:gd name="T5" fmla="*/ 5 h 552"/>
                      <a:gd name="T6" fmla="*/ 24 w 613"/>
                      <a:gd name="T7" fmla="*/ 6 h 552"/>
                      <a:gd name="T8" fmla="*/ 24 w 613"/>
                      <a:gd name="T9" fmla="*/ 7 h 552"/>
                      <a:gd name="T10" fmla="*/ 23 w 613"/>
                      <a:gd name="T11" fmla="*/ 9 h 552"/>
                      <a:gd name="T12" fmla="*/ 22 w 613"/>
                      <a:gd name="T13" fmla="*/ 11 h 552"/>
                      <a:gd name="T14" fmla="*/ 22 w 613"/>
                      <a:gd name="T15" fmla="*/ 13 h 552"/>
                      <a:gd name="T16" fmla="*/ 21 w 613"/>
                      <a:gd name="T17" fmla="*/ 15 h 552"/>
                      <a:gd name="T18" fmla="*/ 22 w 613"/>
                      <a:gd name="T19" fmla="*/ 16 h 552"/>
                      <a:gd name="T20" fmla="*/ 21 w 613"/>
                      <a:gd name="T21" fmla="*/ 17 h 552"/>
                      <a:gd name="T22" fmla="*/ 20 w 613"/>
                      <a:gd name="T23" fmla="*/ 17 h 552"/>
                      <a:gd name="T24" fmla="*/ 20 w 613"/>
                      <a:gd name="T25" fmla="*/ 16 h 552"/>
                      <a:gd name="T26" fmla="*/ 19 w 613"/>
                      <a:gd name="T27" fmla="*/ 18 h 552"/>
                      <a:gd name="T28" fmla="*/ 18 w 613"/>
                      <a:gd name="T29" fmla="*/ 18 h 552"/>
                      <a:gd name="T30" fmla="*/ 18 w 613"/>
                      <a:gd name="T31" fmla="*/ 19 h 552"/>
                      <a:gd name="T32" fmla="*/ 17 w 613"/>
                      <a:gd name="T33" fmla="*/ 18 h 552"/>
                      <a:gd name="T34" fmla="*/ 16 w 613"/>
                      <a:gd name="T35" fmla="*/ 19 h 552"/>
                      <a:gd name="T36" fmla="*/ 14 w 613"/>
                      <a:gd name="T37" fmla="*/ 19 h 552"/>
                      <a:gd name="T38" fmla="*/ 14 w 613"/>
                      <a:gd name="T39" fmla="*/ 19 h 552"/>
                      <a:gd name="T40" fmla="*/ 13 w 613"/>
                      <a:gd name="T41" fmla="*/ 19 h 552"/>
                      <a:gd name="T42" fmla="*/ 13 w 613"/>
                      <a:gd name="T43" fmla="*/ 18 h 552"/>
                      <a:gd name="T44" fmla="*/ 13 w 613"/>
                      <a:gd name="T45" fmla="*/ 20 h 552"/>
                      <a:gd name="T46" fmla="*/ 12 w 613"/>
                      <a:gd name="T47" fmla="*/ 20 h 552"/>
                      <a:gd name="T48" fmla="*/ 12 w 613"/>
                      <a:gd name="T49" fmla="*/ 21 h 552"/>
                      <a:gd name="T50" fmla="*/ 10 w 613"/>
                      <a:gd name="T51" fmla="*/ 22 h 552"/>
                      <a:gd name="T52" fmla="*/ 9 w 613"/>
                      <a:gd name="T53" fmla="*/ 21 h 552"/>
                      <a:gd name="T54" fmla="*/ 10 w 613"/>
                      <a:gd name="T55" fmla="*/ 19 h 552"/>
                      <a:gd name="T56" fmla="*/ 9 w 613"/>
                      <a:gd name="T57" fmla="*/ 19 h 552"/>
                      <a:gd name="T58" fmla="*/ 8 w 613"/>
                      <a:gd name="T59" fmla="*/ 19 h 552"/>
                      <a:gd name="T60" fmla="*/ 6 w 613"/>
                      <a:gd name="T61" fmla="*/ 19 h 552"/>
                      <a:gd name="T62" fmla="*/ 5 w 613"/>
                      <a:gd name="T63" fmla="*/ 20 h 552"/>
                      <a:gd name="T64" fmla="*/ 4 w 613"/>
                      <a:gd name="T65" fmla="*/ 20 h 552"/>
                      <a:gd name="T66" fmla="*/ 3 w 613"/>
                      <a:gd name="T67" fmla="*/ 21 h 552"/>
                      <a:gd name="T68" fmla="*/ 2 w 613"/>
                      <a:gd name="T69" fmla="*/ 21 h 552"/>
                      <a:gd name="T70" fmla="*/ 1 w 613"/>
                      <a:gd name="T71" fmla="*/ 21 h 552"/>
                      <a:gd name="T72" fmla="*/ 0 w 613"/>
                      <a:gd name="T73" fmla="*/ 20 h 552"/>
                      <a:gd name="T74" fmla="*/ 1 w 613"/>
                      <a:gd name="T75" fmla="*/ 19 h 552"/>
                      <a:gd name="T76" fmla="*/ 3 w 613"/>
                      <a:gd name="T77" fmla="*/ 18 h 552"/>
                      <a:gd name="T78" fmla="*/ 4 w 613"/>
                      <a:gd name="T79" fmla="*/ 17 h 552"/>
                      <a:gd name="T80" fmla="*/ 6 w 613"/>
                      <a:gd name="T81" fmla="*/ 17 h 552"/>
                      <a:gd name="T82" fmla="*/ 9 w 613"/>
                      <a:gd name="T83" fmla="*/ 16 h 552"/>
                      <a:gd name="T84" fmla="*/ 10 w 613"/>
                      <a:gd name="T85" fmla="*/ 16 h 552"/>
                      <a:gd name="T86" fmla="*/ 11 w 613"/>
                      <a:gd name="T87" fmla="*/ 16 h 552"/>
                      <a:gd name="T88" fmla="*/ 12 w 613"/>
                      <a:gd name="T89" fmla="*/ 14 h 552"/>
                      <a:gd name="T90" fmla="*/ 13 w 613"/>
                      <a:gd name="T91" fmla="*/ 12 h 552"/>
                      <a:gd name="T92" fmla="*/ 14 w 613"/>
                      <a:gd name="T93" fmla="*/ 11 h 552"/>
                      <a:gd name="T94" fmla="*/ 13 w 613"/>
                      <a:gd name="T95" fmla="*/ 12 h 552"/>
                      <a:gd name="T96" fmla="*/ 13 w 613"/>
                      <a:gd name="T97" fmla="*/ 13 h 552"/>
                      <a:gd name="T98" fmla="*/ 15 w 613"/>
                      <a:gd name="T99" fmla="*/ 13 h 552"/>
                      <a:gd name="T100" fmla="*/ 16 w 613"/>
                      <a:gd name="T101" fmla="*/ 12 h 552"/>
                      <a:gd name="T102" fmla="*/ 18 w 613"/>
                      <a:gd name="T103" fmla="*/ 10 h 552"/>
                      <a:gd name="T104" fmla="*/ 19 w 613"/>
                      <a:gd name="T105" fmla="*/ 9 h 552"/>
                      <a:gd name="T106" fmla="*/ 20 w 613"/>
                      <a:gd name="T107" fmla="*/ 7 h 552"/>
                      <a:gd name="T108" fmla="*/ 20 w 613"/>
                      <a:gd name="T109" fmla="*/ 6 h 552"/>
                      <a:gd name="T110" fmla="*/ 20 w 613"/>
                      <a:gd name="T111" fmla="*/ 5 h 552"/>
                      <a:gd name="T112" fmla="*/ 20 w 613"/>
                      <a:gd name="T113" fmla="*/ 4 h 552"/>
                      <a:gd name="T114" fmla="*/ 21 w 613"/>
                      <a:gd name="T115" fmla="*/ 2 h 552"/>
                      <a:gd name="T116" fmla="*/ 21 w 613"/>
                      <a:gd name="T117" fmla="*/ 1 h 552"/>
                      <a:gd name="T118" fmla="*/ 22 w 613"/>
                      <a:gd name="T119" fmla="*/ 2 h 552"/>
                      <a:gd name="T120" fmla="*/ 22 w 613"/>
                      <a:gd name="T121" fmla="*/ 2 h 552"/>
                      <a:gd name="T122" fmla="*/ 22 w 613"/>
                      <a:gd name="T123" fmla="*/ 1 h 552"/>
                      <a:gd name="T124" fmla="*/ 22 w 613"/>
                      <a:gd name="T125" fmla="*/ 0 h 552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60000 65536"/>
                      <a:gd name="T184" fmla="*/ 0 60000 65536"/>
                      <a:gd name="T185" fmla="*/ 0 60000 65536"/>
                      <a:gd name="T186" fmla="*/ 0 60000 65536"/>
                      <a:gd name="T187" fmla="*/ 0 60000 65536"/>
                      <a:gd name="T188" fmla="*/ 0 60000 65536"/>
                      <a:gd name="T189" fmla="*/ 0 w 613"/>
                      <a:gd name="T190" fmla="*/ 0 h 552"/>
                      <a:gd name="T191" fmla="*/ 613 w 613"/>
                      <a:gd name="T192" fmla="*/ 552 h 552"/>
                    </a:gdLst>
                    <a:ahLst/>
                    <a:cxnLst>
                      <a:cxn ang="T126">
                        <a:pos x="T0" y="T1"/>
                      </a:cxn>
                      <a:cxn ang="T127">
                        <a:pos x="T2" y="T3"/>
                      </a:cxn>
                      <a:cxn ang="T128">
                        <a:pos x="T4" y="T5"/>
                      </a:cxn>
                      <a:cxn ang="T129">
                        <a:pos x="T6" y="T7"/>
                      </a:cxn>
                      <a:cxn ang="T130">
                        <a:pos x="T8" y="T9"/>
                      </a:cxn>
                      <a:cxn ang="T131">
                        <a:pos x="T10" y="T11"/>
                      </a:cxn>
                      <a:cxn ang="T132">
                        <a:pos x="T12" y="T13"/>
                      </a:cxn>
                      <a:cxn ang="T133">
                        <a:pos x="T14" y="T15"/>
                      </a:cxn>
                      <a:cxn ang="T134">
                        <a:pos x="T16" y="T17"/>
                      </a:cxn>
                      <a:cxn ang="T135">
                        <a:pos x="T18" y="T19"/>
                      </a:cxn>
                      <a:cxn ang="T136">
                        <a:pos x="T20" y="T21"/>
                      </a:cxn>
                      <a:cxn ang="T137">
                        <a:pos x="T22" y="T23"/>
                      </a:cxn>
                      <a:cxn ang="T138">
                        <a:pos x="T24" y="T25"/>
                      </a:cxn>
                      <a:cxn ang="T139">
                        <a:pos x="T26" y="T27"/>
                      </a:cxn>
                      <a:cxn ang="T140">
                        <a:pos x="T28" y="T29"/>
                      </a:cxn>
                      <a:cxn ang="T141">
                        <a:pos x="T30" y="T31"/>
                      </a:cxn>
                      <a:cxn ang="T142">
                        <a:pos x="T32" y="T33"/>
                      </a:cxn>
                      <a:cxn ang="T143">
                        <a:pos x="T34" y="T35"/>
                      </a:cxn>
                      <a:cxn ang="T144">
                        <a:pos x="T36" y="T37"/>
                      </a:cxn>
                      <a:cxn ang="T145">
                        <a:pos x="T38" y="T39"/>
                      </a:cxn>
                      <a:cxn ang="T146">
                        <a:pos x="T40" y="T41"/>
                      </a:cxn>
                      <a:cxn ang="T147">
                        <a:pos x="T42" y="T43"/>
                      </a:cxn>
                      <a:cxn ang="T148">
                        <a:pos x="T44" y="T45"/>
                      </a:cxn>
                      <a:cxn ang="T149">
                        <a:pos x="T46" y="T47"/>
                      </a:cxn>
                      <a:cxn ang="T150">
                        <a:pos x="T48" y="T49"/>
                      </a:cxn>
                      <a:cxn ang="T151">
                        <a:pos x="T50" y="T51"/>
                      </a:cxn>
                      <a:cxn ang="T152">
                        <a:pos x="T52" y="T53"/>
                      </a:cxn>
                      <a:cxn ang="T153">
                        <a:pos x="T54" y="T55"/>
                      </a:cxn>
                      <a:cxn ang="T154">
                        <a:pos x="T56" y="T57"/>
                      </a:cxn>
                      <a:cxn ang="T155">
                        <a:pos x="T58" y="T59"/>
                      </a:cxn>
                      <a:cxn ang="T156">
                        <a:pos x="T60" y="T61"/>
                      </a:cxn>
                      <a:cxn ang="T157">
                        <a:pos x="T62" y="T63"/>
                      </a:cxn>
                      <a:cxn ang="T158">
                        <a:pos x="T64" y="T65"/>
                      </a:cxn>
                      <a:cxn ang="T159">
                        <a:pos x="T66" y="T67"/>
                      </a:cxn>
                      <a:cxn ang="T160">
                        <a:pos x="T68" y="T69"/>
                      </a:cxn>
                      <a:cxn ang="T161">
                        <a:pos x="T70" y="T71"/>
                      </a:cxn>
                      <a:cxn ang="T162">
                        <a:pos x="T72" y="T73"/>
                      </a:cxn>
                      <a:cxn ang="T163">
                        <a:pos x="T74" y="T75"/>
                      </a:cxn>
                      <a:cxn ang="T164">
                        <a:pos x="T76" y="T77"/>
                      </a:cxn>
                      <a:cxn ang="T165">
                        <a:pos x="T78" y="T79"/>
                      </a:cxn>
                      <a:cxn ang="T166">
                        <a:pos x="T80" y="T81"/>
                      </a:cxn>
                      <a:cxn ang="T167">
                        <a:pos x="T82" y="T83"/>
                      </a:cxn>
                      <a:cxn ang="T168">
                        <a:pos x="T84" y="T85"/>
                      </a:cxn>
                      <a:cxn ang="T169">
                        <a:pos x="T86" y="T87"/>
                      </a:cxn>
                      <a:cxn ang="T170">
                        <a:pos x="T88" y="T89"/>
                      </a:cxn>
                      <a:cxn ang="T171">
                        <a:pos x="T90" y="T91"/>
                      </a:cxn>
                      <a:cxn ang="T172">
                        <a:pos x="T92" y="T93"/>
                      </a:cxn>
                      <a:cxn ang="T173">
                        <a:pos x="T94" y="T95"/>
                      </a:cxn>
                      <a:cxn ang="T174">
                        <a:pos x="T96" y="T97"/>
                      </a:cxn>
                      <a:cxn ang="T175">
                        <a:pos x="T98" y="T99"/>
                      </a:cxn>
                      <a:cxn ang="T176">
                        <a:pos x="T100" y="T101"/>
                      </a:cxn>
                      <a:cxn ang="T177">
                        <a:pos x="T102" y="T103"/>
                      </a:cxn>
                      <a:cxn ang="T178">
                        <a:pos x="T104" y="T105"/>
                      </a:cxn>
                      <a:cxn ang="T179">
                        <a:pos x="T106" y="T107"/>
                      </a:cxn>
                      <a:cxn ang="T180">
                        <a:pos x="T108" y="T109"/>
                      </a:cxn>
                      <a:cxn ang="T181">
                        <a:pos x="T110" y="T111"/>
                      </a:cxn>
                      <a:cxn ang="T182">
                        <a:pos x="T112" y="T113"/>
                      </a:cxn>
                      <a:cxn ang="T183">
                        <a:pos x="T114" y="T115"/>
                      </a:cxn>
                      <a:cxn ang="T184">
                        <a:pos x="T116" y="T117"/>
                      </a:cxn>
                      <a:cxn ang="T185">
                        <a:pos x="T118" y="T119"/>
                      </a:cxn>
                      <a:cxn ang="T186">
                        <a:pos x="T120" y="T121"/>
                      </a:cxn>
                      <a:cxn ang="T187">
                        <a:pos x="T122" y="T123"/>
                      </a:cxn>
                      <a:cxn ang="T188">
                        <a:pos x="T124" y="T125"/>
                      </a:cxn>
                    </a:cxnLst>
                    <a:rect l="T189" t="T190" r="T191" b="T192"/>
                    <a:pathLst>
                      <a:path w="613" h="552">
                        <a:moveTo>
                          <a:pt x="560" y="6"/>
                        </a:moveTo>
                        <a:lnTo>
                          <a:pt x="576" y="6"/>
                        </a:lnTo>
                        <a:lnTo>
                          <a:pt x="578" y="13"/>
                        </a:lnTo>
                        <a:lnTo>
                          <a:pt x="576" y="37"/>
                        </a:lnTo>
                        <a:lnTo>
                          <a:pt x="577" y="53"/>
                        </a:lnTo>
                        <a:lnTo>
                          <a:pt x="582" y="69"/>
                        </a:lnTo>
                        <a:lnTo>
                          <a:pt x="592" y="83"/>
                        </a:lnTo>
                        <a:lnTo>
                          <a:pt x="598" y="96"/>
                        </a:lnTo>
                        <a:lnTo>
                          <a:pt x="607" y="118"/>
                        </a:lnTo>
                        <a:lnTo>
                          <a:pt x="613" y="143"/>
                        </a:lnTo>
                        <a:lnTo>
                          <a:pt x="612" y="153"/>
                        </a:lnTo>
                        <a:lnTo>
                          <a:pt x="608" y="160"/>
                        </a:lnTo>
                        <a:lnTo>
                          <a:pt x="607" y="171"/>
                        </a:lnTo>
                        <a:lnTo>
                          <a:pt x="599" y="180"/>
                        </a:lnTo>
                        <a:lnTo>
                          <a:pt x="593" y="180"/>
                        </a:lnTo>
                        <a:lnTo>
                          <a:pt x="585" y="208"/>
                        </a:lnTo>
                        <a:lnTo>
                          <a:pt x="583" y="224"/>
                        </a:lnTo>
                        <a:lnTo>
                          <a:pt x="571" y="223"/>
                        </a:lnTo>
                        <a:lnTo>
                          <a:pt x="556" y="232"/>
                        </a:lnTo>
                        <a:lnTo>
                          <a:pt x="551" y="251"/>
                        </a:lnTo>
                        <a:lnTo>
                          <a:pt x="554" y="268"/>
                        </a:lnTo>
                        <a:lnTo>
                          <a:pt x="556" y="284"/>
                        </a:lnTo>
                        <a:lnTo>
                          <a:pt x="556" y="305"/>
                        </a:lnTo>
                        <a:lnTo>
                          <a:pt x="558" y="317"/>
                        </a:lnTo>
                        <a:lnTo>
                          <a:pt x="548" y="327"/>
                        </a:lnTo>
                        <a:lnTo>
                          <a:pt x="539" y="347"/>
                        </a:lnTo>
                        <a:lnTo>
                          <a:pt x="535" y="365"/>
                        </a:lnTo>
                        <a:lnTo>
                          <a:pt x="535" y="386"/>
                        </a:lnTo>
                        <a:lnTo>
                          <a:pt x="543" y="397"/>
                        </a:lnTo>
                        <a:lnTo>
                          <a:pt x="545" y="404"/>
                        </a:lnTo>
                        <a:lnTo>
                          <a:pt x="537" y="409"/>
                        </a:lnTo>
                        <a:lnTo>
                          <a:pt x="527" y="425"/>
                        </a:lnTo>
                        <a:lnTo>
                          <a:pt x="521" y="439"/>
                        </a:lnTo>
                        <a:lnTo>
                          <a:pt x="494" y="459"/>
                        </a:lnTo>
                        <a:lnTo>
                          <a:pt x="491" y="449"/>
                        </a:lnTo>
                        <a:lnTo>
                          <a:pt x="495" y="425"/>
                        </a:lnTo>
                        <a:lnTo>
                          <a:pt x="502" y="417"/>
                        </a:lnTo>
                        <a:lnTo>
                          <a:pt x="505" y="408"/>
                        </a:lnTo>
                        <a:lnTo>
                          <a:pt x="491" y="408"/>
                        </a:lnTo>
                        <a:lnTo>
                          <a:pt x="489" y="419"/>
                        </a:lnTo>
                        <a:lnTo>
                          <a:pt x="484" y="429"/>
                        </a:lnTo>
                        <a:lnTo>
                          <a:pt x="483" y="440"/>
                        </a:lnTo>
                        <a:lnTo>
                          <a:pt x="475" y="434"/>
                        </a:lnTo>
                        <a:lnTo>
                          <a:pt x="462" y="433"/>
                        </a:lnTo>
                        <a:lnTo>
                          <a:pt x="456" y="443"/>
                        </a:lnTo>
                        <a:lnTo>
                          <a:pt x="451" y="468"/>
                        </a:lnTo>
                        <a:lnTo>
                          <a:pt x="445" y="476"/>
                        </a:lnTo>
                        <a:lnTo>
                          <a:pt x="437" y="474"/>
                        </a:lnTo>
                        <a:lnTo>
                          <a:pt x="435" y="459"/>
                        </a:lnTo>
                        <a:lnTo>
                          <a:pt x="436" y="447"/>
                        </a:lnTo>
                        <a:lnTo>
                          <a:pt x="427" y="446"/>
                        </a:lnTo>
                        <a:lnTo>
                          <a:pt x="419" y="455"/>
                        </a:lnTo>
                        <a:lnTo>
                          <a:pt x="410" y="466"/>
                        </a:lnTo>
                        <a:lnTo>
                          <a:pt x="404" y="478"/>
                        </a:lnTo>
                        <a:lnTo>
                          <a:pt x="402" y="479"/>
                        </a:lnTo>
                        <a:lnTo>
                          <a:pt x="384" y="476"/>
                        </a:lnTo>
                        <a:lnTo>
                          <a:pt x="356" y="476"/>
                        </a:lnTo>
                        <a:lnTo>
                          <a:pt x="341" y="479"/>
                        </a:lnTo>
                        <a:lnTo>
                          <a:pt x="345" y="474"/>
                        </a:lnTo>
                        <a:lnTo>
                          <a:pt x="351" y="470"/>
                        </a:lnTo>
                        <a:lnTo>
                          <a:pt x="339" y="467"/>
                        </a:lnTo>
                        <a:lnTo>
                          <a:pt x="336" y="463"/>
                        </a:lnTo>
                        <a:lnTo>
                          <a:pt x="333" y="470"/>
                        </a:lnTo>
                        <a:lnTo>
                          <a:pt x="327" y="462"/>
                        </a:lnTo>
                        <a:lnTo>
                          <a:pt x="325" y="449"/>
                        </a:lnTo>
                        <a:lnTo>
                          <a:pt x="320" y="451"/>
                        </a:lnTo>
                        <a:lnTo>
                          <a:pt x="309" y="476"/>
                        </a:lnTo>
                        <a:lnTo>
                          <a:pt x="328" y="488"/>
                        </a:lnTo>
                        <a:lnTo>
                          <a:pt x="328" y="504"/>
                        </a:lnTo>
                        <a:lnTo>
                          <a:pt x="320" y="498"/>
                        </a:lnTo>
                        <a:lnTo>
                          <a:pt x="314" y="501"/>
                        </a:lnTo>
                        <a:lnTo>
                          <a:pt x="307" y="503"/>
                        </a:lnTo>
                        <a:lnTo>
                          <a:pt x="300" y="508"/>
                        </a:lnTo>
                        <a:lnTo>
                          <a:pt x="296" y="514"/>
                        </a:lnTo>
                        <a:lnTo>
                          <a:pt x="295" y="517"/>
                        </a:lnTo>
                        <a:lnTo>
                          <a:pt x="279" y="546"/>
                        </a:lnTo>
                        <a:lnTo>
                          <a:pt x="268" y="552"/>
                        </a:lnTo>
                        <a:lnTo>
                          <a:pt x="252" y="546"/>
                        </a:lnTo>
                        <a:lnTo>
                          <a:pt x="247" y="536"/>
                        </a:lnTo>
                        <a:lnTo>
                          <a:pt x="236" y="529"/>
                        </a:lnTo>
                        <a:lnTo>
                          <a:pt x="233" y="517"/>
                        </a:lnTo>
                        <a:lnTo>
                          <a:pt x="233" y="499"/>
                        </a:lnTo>
                        <a:lnTo>
                          <a:pt x="238" y="494"/>
                        </a:lnTo>
                        <a:lnTo>
                          <a:pt x="248" y="479"/>
                        </a:lnTo>
                        <a:lnTo>
                          <a:pt x="249" y="474"/>
                        </a:lnTo>
                        <a:lnTo>
                          <a:pt x="247" y="472"/>
                        </a:lnTo>
                        <a:lnTo>
                          <a:pt x="228" y="476"/>
                        </a:lnTo>
                        <a:lnTo>
                          <a:pt x="216" y="471"/>
                        </a:lnTo>
                        <a:lnTo>
                          <a:pt x="203" y="468"/>
                        </a:lnTo>
                        <a:lnTo>
                          <a:pt x="190" y="468"/>
                        </a:lnTo>
                        <a:lnTo>
                          <a:pt x="179" y="478"/>
                        </a:lnTo>
                        <a:lnTo>
                          <a:pt x="163" y="488"/>
                        </a:lnTo>
                        <a:lnTo>
                          <a:pt x="156" y="483"/>
                        </a:lnTo>
                        <a:lnTo>
                          <a:pt x="147" y="487"/>
                        </a:lnTo>
                        <a:lnTo>
                          <a:pt x="142" y="487"/>
                        </a:lnTo>
                        <a:lnTo>
                          <a:pt x="133" y="492"/>
                        </a:lnTo>
                        <a:lnTo>
                          <a:pt x="126" y="492"/>
                        </a:lnTo>
                        <a:lnTo>
                          <a:pt x="119" y="495"/>
                        </a:lnTo>
                        <a:lnTo>
                          <a:pt x="92" y="503"/>
                        </a:lnTo>
                        <a:lnTo>
                          <a:pt x="85" y="497"/>
                        </a:lnTo>
                        <a:lnTo>
                          <a:pt x="78" y="498"/>
                        </a:lnTo>
                        <a:lnTo>
                          <a:pt x="69" y="524"/>
                        </a:lnTo>
                        <a:lnTo>
                          <a:pt x="64" y="525"/>
                        </a:lnTo>
                        <a:lnTo>
                          <a:pt x="51" y="520"/>
                        </a:lnTo>
                        <a:lnTo>
                          <a:pt x="43" y="515"/>
                        </a:lnTo>
                        <a:lnTo>
                          <a:pt x="32" y="519"/>
                        </a:lnTo>
                        <a:lnTo>
                          <a:pt x="24" y="519"/>
                        </a:lnTo>
                        <a:lnTo>
                          <a:pt x="20" y="521"/>
                        </a:lnTo>
                        <a:lnTo>
                          <a:pt x="10" y="517"/>
                        </a:lnTo>
                        <a:lnTo>
                          <a:pt x="0" y="516"/>
                        </a:lnTo>
                        <a:lnTo>
                          <a:pt x="0" y="503"/>
                        </a:lnTo>
                        <a:lnTo>
                          <a:pt x="1" y="495"/>
                        </a:lnTo>
                        <a:lnTo>
                          <a:pt x="26" y="488"/>
                        </a:lnTo>
                        <a:lnTo>
                          <a:pt x="35" y="478"/>
                        </a:lnTo>
                        <a:lnTo>
                          <a:pt x="45" y="471"/>
                        </a:lnTo>
                        <a:lnTo>
                          <a:pt x="63" y="461"/>
                        </a:lnTo>
                        <a:lnTo>
                          <a:pt x="74" y="446"/>
                        </a:lnTo>
                        <a:lnTo>
                          <a:pt x="87" y="438"/>
                        </a:lnTo>
                        <a:lnTo>
                          <a:pt x="94" y="424"/>
                        </a:lnTo>
                        <a:lnTo>
                          <a:pt x="106" y="417"/>
                        </a:lnTo>
                        <a:lnTo>
                          <a:pt x="118" y="413"/>
                        </a:lnTo>
                        <a:lnTo>
                          <a:pt x="136" y="418"/>
                        </a:lnTo>
                        <a:lnTo>
                          <a:pt x="155" y="416"/>
                        </a:lnTo>
                        <a:lnTo>
                          <a:pt x="169" y="417"/>
                        </a:lnTo>
                        <a:lnTo>
                          <a:pt x="209" y="408"/>
                        </a:lnTo>
                        <a:lnTo>
                          <a:pt x="219" y="407"/>
                        </a:lnTo>
                        <a:lnTo>
                          <a:pt x="228" y="403"/>
                        </a:lnTo>
                        <a:lnTo>
                          <a:pt x="238" y="403"/>
                        </a:lnTo>
                        <a:lnTo>
                          <a:pt x="237" y="412"/>
                        </a:lnTo>
                        <a:lnTo>
                          <a:pt x="260" y="418"/>
                        </a:lnTo>
                        <a:lnTo>
                          <a:pt x="265" y="417"/>
                        </a:lnTo>
                        <a:lnTo>
                          <a:pt x="270" y="412"/>
                        </a:lnTo>
                        <a:lnTo>
                          <a:pt x="282" y="403"/>
                        </a:lnTo>
                        <a:lnTo>
                          <a:pt x="284" y="371"/>
                        </a:lnTo>
                        <a:lnTo>
                          <a:pt x="300" y="357"/>
                        </a:lnTo>
                        <a:lnTo>
                          <a:pt x="312" y="339"/>
                        </a:lnTo>
                        <a:lnTo>
                          <a:pt x="320" y="320"/>
                        </a:lnTo>
                        <a:lnTo>
                          <a:pt x="322" y="305"/>
                        </a:lnTo>
                        <a:lnTo>
                          <a:pt x="324" y="294"/>
                        </a:lnTo>
                        <a:lnTo>
                          <a:pt x="343" y="283"/>
                        </a:lnTo>
                        <a:lnTo>
                          <a:pt x="351" y="284"/>
                        </a:lnTo>
                        <a:lnTo>
                          <a:pt x="350" y="294"/>
                        </a:lnTo>
                        <a:lnTo>
                          <a:pt x="341" y="298"/>
                        </a:lnTo>
                        <a:lnTo>
                          <a:pt x="333" y="306"/>
                        </a:lnTo>
                        <a:lnTo>
                          <a:pt x="332" y="309"/>
                        </a:lnTo>
                        <a:lnTo>
                          <a:pt x="336" y="321"/>
                        </a:lnTo>
                        <a:lnTo>
                          <a:pt x="336" y="333"/>
                        </a:lnTo>
                        <a:lnTo>
                          <a:pt x="341" y="333"/>
                        </a:lnTo>
                        <a:lnTo>
                          <a:pt x="354" y="332"/>
                        </a:lnTo>
                        <a:lnTo>
                          <a:pt x="363" y="321"/>
                        </a:lnTo>
                        <a:lnTo>
                          <a:pt x="377" y="314"/>
                        </a:lnTo>
                        <a:lnTo>
                          <a:pt x="393" y="309"/>
                        </a:lnTo>
                        <a:lnTo>
                          <a:pt x="410" y="295"/>
                        </a:lnTo>
                        <a:lnTo>
                          <a:pt x="422" y="284"/>
                        </a:lnTo>
                        <a:lnTo>
                          <a:pt x="430" y="269"/>
                        </a:lnTo>
                        <a:lnTo>
                          <a:pt x="440" y="257"/>
                        </a:lnTo>
                        <a:lnTo>
                          <a:pt x="453" y="247"/>
                        </a:lnTo>
                        <a:lnTo>
                          <a:pt x="459" y="247"/>
                        </a:lnTo>
                        <a:lnTo>
                          <a:pt x="467" y="235"/>
                        </a:lnTo>
                        <a:lnTo>
                          <a:pt x="468" y="225"/>
                        </a:lnTo>
                        <a:lnTo>
                          <a:pt x="470" y="215"/>
                        </a:lnTo>
                        <a:lnTo>
                          <a:pt x="486" y="188"/>
                        </a:lnTo>
                        <a:lnTo>
                          <a:pt x="490" y="176"/>
                        </a:lnTo>
                        <a:lnTo>
                          <a:pt x="492" y="165"/>
                        </a:lnTo>
                        <a:lnTo>
                          <a:pt x="499" y="154"/>
                        </a:lnTo>
                        <a:lnTo>
                          <a:pt x="502" y="139"/>
                        </a:lnTo>
                        <a:lnTo>
                          <a:pt x="502" y="123"/>
                        </a:lnTo>
                        <a:lnTo>
                          <a:pt x="495" y="117"/>
                        </a:lnTo>
                        <a:lnTo>
                          <a:pt x="484" y="112"/>
                        </a:lnTo>
                        <a:lnTo>
                          <a:pt x="489" y="107"/>
                        </a:lnTo>
                        <a:lnTo>
                          <a:pt x="499" y="92"/>
                        </a:lnTo>
                        <a:lnTo>
                          <a:pt x="497" y="62"/>
                        </a:lnTo>
                        <a:lnTo>
                          <a:pt x="502" y="53"/>
                        </a:lnTo>
                        <a:lnTo>
                          <a:pt x="512" y="49"/>
                        </a:lnTo>
                        <a:lnTo>
                          <a:pt x="513" y="32"/>
                        </a:lnTo>
                        <a:lnTo>
                          <a:pt x="517" y="24"/>
                        </a:lnTo>
                        <a:lnTo>
                          <a:pt x="524" y="20"/>
                        </a:lnTo>
                        <a:lnTo>
                          <a:pt x="531" y="29"/>
                        </a:lnTo>
                        <a:lnTo>
                          <a:pt x="535" y="42"/>
                        </a:lnTo>
                        <a:lnTo>
                          <a:pt x="539" y="48"/>
                        </a:lnTo>
                        <a:lnTo>
                          <a:pt x="547" y="38"/>
                        </a:lnTo>
                        <a:lnTo>
                          <a:pt x="553" y="42"/>
                        </a:lnTo>
                        <a:lnTo>
                          <a:pt x="560" y="41"/>
                        </a:lnTo>
                        <a:lnTo>
                          <a:pt x="566" y="27"/>
                        </a:lnTo>
                        <a:lnTo>
                          <a:pt x="567" y="15"/>
                        </a:lnTo>
                        <a:lnTo>
                          <a:pt x="559" y="22"/>
                        </a:lnTo>
                        <a:lnTo>
                          <a:pt x="547" y="26"/>
                        </a:lnTo>
                        <a:lnTo>
                          <a:pt x="543" y="14"/>
                        </a:lnTo>
                        <a:lnTo>
                          <a:pt x="547" y="3"/>
                        </a:lnTo>
                        <a:lnTo>
                          <a:pt x="551" y="0"/>
                        </a:lnTo>
                        <a:lnTo>
                          <a:pt x="560" y="6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17" name="Freeform 158"/>
                  <p:cNvSpPr>
                    <a:spLocks/>
                  </p:cNvSpPr>
                  <p:nvPr/>
                </p:nvSpPr>
                <p:spPr bwMode="gray">
                  <a:xfrm>
                    <a:off x="3966" y="2088"/>
                    <a:ext cx="28" cy="21"/>
                  </a:xfrm>
                  <a:custGeom>
                    <a:avLst/>
                    <a:gdLst>
                      <a:gd name="T0" fmla="*/ 5 w 140"/>
                      <a:gd name="T1" fmla="*/ 3 h 107"/>
                      <a:gd name="T2" fmla="*/ 4 w 140"/>
                      <a:gd name="T3" fmla="*/ 2 h 107"/>
                      <a:gd name="T4" fmla="*/ 4 w 140"/>
                      <a:gd name="T5" fmla="*/ 2 h 107"/>
                      <a:gd name="T6" fmla="*/ 3 w 140"/>
                      <a:gd name="T7" fmla="*/ 2 h 107"/>
                      <a:gd name="T8" fmla="*/ 3 w 140"/>
                      <a:gd name="T9" fmla="*/ 3 h 107"/>
                      <a:gd name="T10" fmla="*/ 2 w 140"/>
                      <a:gd name="T11" fmla="*/ 3 h 107"/>
                      <a:gd name="T12" fmla="*/ 2 w 140"/>
                      <a:gd name="T13" fmla="*/ 4 h 107"/>
                      <a:gd name="T14" fmla="*/ 2 w 140"/>
                      <a:gd name="T15" fmla="*/ 4 h 107"/>
                      <a:gd name="T16" fmla="*/ 2 w 140"/>
                      <a:gd name="T17" fmla="*/ 4 h 107"/>
                      <a:gd name="T18" fmla="*/ 1 w 140"/>
                      <a:gd name="T19" fmla="*/ 4 h 107"/>
                      <a:gd name="T20" fmla="*/ 1 w 140"/>
                      <a:gd name="T21" fmla="*/ 4 h 107"/>
                      <a:gd name="T22" fmla="*/ 1 w 140"/>
                      <a:gd name="T23" fmla="*/ 3 h 107"/>
                      <a:gd name="T24" fmla="*/ 1 w 140"/>
                      <a:gd name="T25" fmla="*/ 3 h 107"/>
                      <a:gd name="T26" fmla="*/ 1 w 140"/>
                      <a:gd name="T27" fmla="*/ 3 h 107"/>
                      <a:gd name="T28" fmla="*/ 0 w 140"/>
                      <a:gd name="T29" fmla="*/ 3 h 107"/>
                      <a:gd name="T30" fmla="*/ 0 w 140"/>
                      <a:gd name="T31" fmla="*/ 3 h 107"/>
                      <a:gd name="T32" fmla="*/ 1 w 140"/>
                      <a:gd name="T33" fmla="*/ 2 h 107"/>
                      <a:gd name="T34" fmla="*/ 1 w 140"/>
                      <a:gd name="T35" fmla="*/ 1 h 107"/>
                      <a:gd name="T36" fmla="*/ 2 w 140"/>
                      <a:gd name="T37" fmla="*/ 1 h 107"/>
                      <a:gd name="T38" fmla="*/ 2 w 140"/>
                      <a:gd name="T39" fmla="*/ 1 h 107"/>
                      <a:gd name="T40" fmla="*/ 3 w 140"/>
                      <a:gd name="T41" fmla="*/ 1 h 107"/>
                      <a:gd name="T42" fmla="*/ 3 w 140"/>
                      <a:gd name="T43" fmla="*/ 1 h 107"/>
                      <a:gd name="T44" fmla="*/ 3 w 140"/>
                      <a:gd name="T45" fmla="*/ 1 h 107"/>
                      <a:gd name="T46" fmla="*/ 4 w 140"/>
                      <a:gd name="T47" fmla="*/ 0 h 107"/>
                      <a:gd name="T48" fmla="*/ 4 w 140"/>
                      <a:gd name="T49" fmla="*/ 0 h 107"/>
                      <a:gd name="T50" fmla="*/ 4 w 140"/>
                      <a:gd name="T51" fmla="*/ 0 h 107"/>
                      <a:gd name="T52" fmla="*/ 5 w 140"/>
                      <a:gd name="T53" fmla="*/ 0 h 107"/>
                      <a:gd name="T54" fmla="*/ 5 w 140"/>
                      <a:gd name="T55" fmla="*/ 0 h 107"/>
                      <a:gd name="T56" fmla="*/ 6 w 140"/>
                      <a:gd name="T57" fmla="*/ 1 h 107"/>
                      <a:gd name="T58" fmla="*/ 6 w 140"/>
                      <a:gd name="T59" fmla="*/ 1 h 107"/>
                      <a:gd name="T60" fmla="*/ 5 w 140"/>
                      <a:gd name="T61" fmla="*/ 2 h 107"/>
                      <a:gd name="T62" fmla="*/ 5 w 140"/>
                      <a:gd name="T63" fmla="*/ 2 h 107"/>
                      <a:gd name="T64" fmla="*/ 5 w 140"/>
                      <a:gd name="T65" fmla="*/ 2 h 107"/>
                      <a:gd name="T66" fmla="*/ 5 w 140"/>
                      <a:gd name="T67" fmla="*/ 2 h 107"/>
                      <a:gd name="T68" fmla="*/ 5 w 140"/>
                      <a:gd name="T69" fmla="*/ 3 h 107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w 140"/>
                      <a:gd name="T106" fmla="*/ 0 h 107"/>
                      <a:gd name="T107" fmla="*/ 140 w 140"/>
                      <a:gd name="T108" fmla="*/ 107 h 107"/>
                    </a:gdLst>
                    <a:ahLst/>
                    <a:cxnLst>
                      <a:cxn ang="T70">
                        <a:pos x="T0" y="T1"/>
                      </a:cxn>
                      <a:cxn ang="T71">
                        <a:pos x="T2" y="T3"/>
                      </a:cxn>
                      <a:cxn ang="T72">
                        <a:pos x="T4" y="T5"/>
                      </a:cxn>
                      <a:cxn ang="T73">
                        <a:pos x="T6" y="T7"/>
                      </a:cxn>
                      <a:cxn ang="T74">
                        <a:pos x="T8" y="T9"/>
                      </a:cxn>
                      <a:cxn ang="T75">
                        <a:pos x="T10" y="T11"/>
                      </a:cxn>
                      <a:cxn ang="T76">
                        <a:pos x="T12" y="T13"/>
                      </a:cxn>
                      <a:cxn ang="T77">
                        <a:pos x="T14" y="T15"/>
                      </a:cxn>
                      <a:cxn ang="T78">
                        <a:pos x="T16" y="T17"/>
                      </a:cxn>
                      <a:cxn ang="T79">
                        <a:pos x="T18" y="T19"/>
                      </a:cxn>
                      <a:cxn ang="T80">
                        <a:pos x="T20" y="T21"/>
                      </a:cxn>
                      <a:cxn ang="T81">
                        <a:pos x="T22" y="T23"/>
                      </a:cxn>
                      <a:cxn ang="T82">
                        <a:pos x="T24" y="T25"/>
                      </a:cxn>
                      <a:cxn ang="T83">
                        <a:pos x="T26" y="T27"/>
                      </a:cxn>
                      <a:cxn ang="T84">
                        <a:pos x="T28" y="T29"/>
                      </a:cxn>
                      <a:cxn ang="T85">
                        <a:pos x="T30" y="T31"/>
                      </a:cxn>
                      <a:cxn ang="T86">
                        <a:pos x="T32" y="T33"/>
                      </a:cxn>
                      <a:cxn ang="T87">
                        <a:pos x="T34" y="T35"/>
                      </a:cxn>
                      <a:cxn ang="T88">
                        <a:pos x="T36" y="T37"/>
                      </a:cxn>
                      <a:cxn ang="T89">
                        <a:pos x="T38" y="T39"/>
                      </a:cxn>
                      <a:cxn ang="T90">
                        <a:pos x="T40" y="T41"/>
                      </a:cxn>
                      <a:cxn ang="T91">
                        <a:pos x="T42" y="T43"/>
                      </a:cxn>
                      <a:cxn ang="T92">
                        <a:pos x="T44" y="T45"/>
                      </a:cxn>
                      <a:cxn ang="T93">
                        <a:pos x="T46" y="T47"/>
                      </a:cxn>
                      <a:cxn ang="T94">
                        <a:pos x="T48" y="T49"/>
                      </a:cxn>
                      <a:cxn ang="T95">
                        <a:pos x="T50" y="T51"/>
                      </a:cxn>
                      <a:cxn ang="T96">
                        <a:pos x="T52" y="T53"/>
                      </a:cxn>
                      <a:cxn ang="T97">
                        <a:pos x="T54" y="T55"/>
                      </a:cxn>
                      <a:cxn ang="T98">
                        <a:pos x="T56" y="T57"/>
                      </a:cxn>
                      <a:cxn ang="T99">
                        <a:pos x="T58" y="T59"/>
                      </a:cxn>
                      <a:cxn ang="T100">
                        <a:pos x="T60" y="T61"/>
                      </a:cxn>
                      <a:cxn ang="T101">
                        <a:pos x="T62" y="T63"/>
                      </a:cxn>
                      <a:cxn ang="T102">
                        <a:pos x="T64" y="T65"/>
                      </a:cxn>
                      <a:cxn ang="T103">
                        <a:pos x="T66" y="T67"/>
                      </a:cxn>
                      <a:cxn ang="T104">
                        <a:pos x="T68" y="T69"/>
                      </a:cxn>
                    </a:cxnLst>
                    <a:rect l="T105" t="T106" r="T107" b="T108"/>
                    <a:pathLst>
                      <a:path w="140" h="107">
                        <a:moveTo>
                          <a:pt x="113" y="70"/>
                        </a:moveTo>
                        <a:lnTo>
                          <a:pt x="102" y="63"/>
                        </a:lnTo>
                        <a:lnTo>
                          <a:pt x="88" y="58"/>
                        </a:lnTo>
                        <a:lnTo>
                          <a:pt x="74" y="62"/>
                        </a:lnTo>
                        <a:lnTo>
                          <a:pt x="66" y="68"/>
                        </a:lnTo>
                        <a:lnTo>
                          <a:pt x="59" y="80"/>
                        </a:lnTo>
                        <a:lnTo>
                          <a:pt x="50" y="95"/>
                        </a:lnTo>
                        <a:lnTo>
                          <a:pt x="48" y="106"/>
                        </a:lnTo>
                        <a:lnTo>
                          <a:pt x="39" y="107"/>
                        </a:lnTo>
                        <a:lnTo>
                          <a:pt x="30" y="100"/>
                        </a:lnTo>
                        <a:lnTo>
                          <a:pt x="26" y="95"/>
                        </a:lnTo>
                        <a:lnTo>
                          <a:pt x="19" y="82"/>
                        </a:lnTo>
                        <a:lnTo>
                          <a:pt x="20" y="76"/>
                        </a:lnTo>
                        <a:lnTo>
                          <a:pt x="16" y="69"/>
                        </a:lnTo>
                        <a:lnTo>
                          <a:pt x="10" y="64"/>
                        </a:lnTo>
                        <a:lnTo>
                          <a:pt x="0" y="64"/>
                        </a:lnTo>
                        <a:lnTo>
                          <a:pt x="15" y="53"/>
                        </a:lnTo>
                        <a:lnTo>
                          <a:pt x="37" y="23"/>
                        </a:lnTo>
                        <a:lnTo>
                          <a:pt x="50" y="25"/>
                        </a:lnTo>
                        <a:lnTo>
                          <a:pt x="57" y="28"/>
                        </a:lnTo>
                        <a:lnTo>
                          <a:pt x="68" y="26"/>
                        </a:lnTo>
                        <a:lnTo>
                          <a:pt x="78" y="21"/>
                        </a:lnTo>
                        <a:lnTo>
                          <a:pt x="82" y="14"/>
                        </a:lnTo>
                        <a:lnTo>
                          <a:pt x="95" y="1"/>
                        </a:lnTo>
                        <a:lnTo>
                          <a:pt x="102" y="0"/>
                        </a:lnTo>
                        <a:lnTo>
                          <a:pt x="112" y="3"/>
                        </a:lnTo>
                        <a:lnTo>
                          <a:pt x="123" y="9"/>
                        </a:lnTo>
                        <a:lnTo>
                          <a:pt x="132" y="10"/>
                        </a:lnTo>
                        <a:lnTo>
                          <a:pt x="138" y="33"/>
                        </a:lnTo>
                        <a:lnTo>
                          <a:pt x="140" y="36"/>
                        </a:lnTo>
                        <a:lnTo>
                          <a:pt x="134" y="44"/>
                        </a:lnTo>
                        <a:lnTo>
                          <a:pt x="128" y="47"/>
                        </a:lnTo>
                        <a:lnTo>
                          <a:pt x="123" y="54"/>
                        </a:lnTo>
                        <a:lnTo>
                          <a:pt x="118" y="63"/>
                        </a:lnTo>
                        <a:lnTo>
                          <a:pt x="113" y="70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18" name="Freeform 159"/>
                  <p:cNvSpPr>
                    <a:spLocks/>
                  </p:cNvSpPr>
                  <p:nvPr/>
                </p:nvSpPr>
                <p:spPr bwMode="gray">
                  <a:xfrm>
                    <a:off x="3938" y="2093"/>
                    <a:ext cx="26" cy="38"/>
                  </a:xfrm>
                  <a:custGeom>
                    <a:avLst/>
                    <a:gdLst>
                      <a:gd name="T0" fmla="*/ 3 w 131"/>
                      <a:gd name="T1" fmla="*/ 0 h 187"/>
                      <a:gd name="T2" fmla="*/ 2 w 131"/>
                      <a:gd name="T3" fmla="*/ 0 h 187"/>
                      <a:gd name="T4" fmla="*/ 2 w 131"/>
                      <a:gd name="T5" fmla="*/ 1 h 187"/>
                      <a:gd name="T6" fmla="*/ 1 w 131"/>
                      <a:gd name="T7" fmla="*/ 1 h 187"/>
                      <a:gd name="T8" fmla="*/ 1 w 131"/>
                      <a:gd name="T9" fmla="*/ 1 h 187"/>
                      <a:gd name="T10" fmla="*/ 0 w 131"/>
                      <a:gd name="T11" fmla="*/ 2 h 187"/>
                      <a:gd name="T12" fmla="*/ 1 w 131"/>
                      <a:gd name="T13" fmla="*/ 3 h 187"/>
                      <a:gd name="T14" fmla="*/ 0 w 131"/>
                      <a:gd name="T15" fmla="*/ 3 h 187"/>
                      <a:gd name="T16" fmla="*/ 0 w 131"/>
                      <a:gd name="T17" fmla="*/ 4 h 187"/>
                      <a:gd name="T18" fmla="*/ 1 w 131"/>
                      <a:gd name="T19" fmla="*/ 3 h 187"/>
                      <a:gd name="T20" fmla="*/ 2 w 131"/>
                      <a:gd name="T21" fmla="*/ 3 h 187"/>
                      <a:gd name="T22" fmla="*/ 1 w 131"/>
                      <a:gd name="T23" fmla="*/ 3 h 187"/>
                      <a:gd name="T24" fmla="*/ 1 w 131"/>
                      <a:gd name="T25" fmla="*/ 2 h 187"/>
                      <a:gd name="T26" fmla="*/ 2 w 131"/>
                      <a:gd name="T27" fmla="*/ 3 h 187"/>
                      <a:gd name="T28" fmla="*/ 2 w 131"/>
                      <a:gd name="T29" fmla="*/ 3 h 187"/>
                      <a:gd name="T30" fmla="*/ 2 w 131"/>
                      <a:gd name="T31" fmla="*/ 5 h 187"/>
                      <a:gd name="T32" fmla="*/ 1 w 131"/>
                      <a:gd name="T33" fmla="*/ 5 h 187"/>
                      <a:gd name="T34" fmla="*/ 2 w 131"/>
                      <a:gd name="T35" fmla="*/ 7 h 187"/>
                      <a:gd name="T36" fmla="*/ 2 w 131"/>
                      <a:gd name="T37" fmla="*/ 7 h 187"/>
                      <a:gd name="T38" fmla="*/ 2 w 131"/>
                      <a:gd name="T39" fmla="*/ 7 h 187"/>
                      <a:gd name="T40" fmla="*/ 2 w 131"/>
                      <a:gd name="T41" fmla="*/ 6 h 187"/>
                      <a:gd name="T42" fmla="*/ 2 w 131"/>
                      <a:gd name="T43" fmla="*/ 6 h 187"/>
                      <a:gd name="T44" fmla="*/ 3 w 131"/>
                      <a:gd name="T45" fmla="*/ 7 h 187"/>
                      <a:gd name="T46" fmla="*/ 3 w 131"/>
                      <a:gd name="T47" fmla="*/ 8 h 187"/>
                      <a:gd name="T48" fmla="*/ 3 w 131"/>
                      <a:gd name="T49" fmla="*/ 7 h 187"/>
                      <a:gd name="T50" fmla="*/ 4 w 131"/>
                      <a:gd name="T51" fmla="*/ 7 h 187"/>
                      <a:gd name="T52" fmla="*/ 4 w 131"/>
                      <a:gd name="T53" fmla="*/ 5 h 187"/>
                      <a:gd name="T54" fmla="*/ 5 w 131"/>
                      <a:gd name="T55" fmla="*/ 4 h 187"/>
                      <a:gd name="T56" fmla="*/ 5 w 131"/>
                      <a:gd name="T57" fmla="*/ 3 h 187"/>
                      <a:gd name="T58" fmla="*/ 5 w 131"/>
                      <a:gd name="T59" fmla="*/ 2 h 187"/>
                      <a:gd name="T60" fmla="*/ 4 w 131"/>
                      <a:gd name="T61" fmla="*/ 2 h 187"/>
                      <a:gd name="T62" fmla="*/ 4 w 131"/>
                      <a:gd name="T63" fmla="*/ 1 h 187"/>
                      <a:gd name="T64" fmla="*/ 3 w 131"/>
                      <a:gd name="T65" fmla="*/ 1 h 187"/>
                      <a:gd name="T66" fmla="*/ 3 w 131"/>
                      <a:gd name="T67" fmla="*/ 0 h 187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w 131"/>
                      <a:gd name="T103" fmla="*/ 0 h 187"/>
                      <a:gd name="T104" fmla="*/ 131 w 131"/>
                      <a:gd name="T105" fmla="*/ 187 h 187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T102" t="T103" r="T104" b="T105"/>
                    <a:pathLst>
                      <a:path w="131" h="187">
                        <a:moveTo>
                          <a:pt x="67" y="2"/>
                        </a:moveTo>
                        <a:lnTo>
                          <a:pt x="69" y="2"/>
                        </a:lnTo>
                        <a:lnTo>
                          <a:pt x="64" y="0"/>
                        </a:lnTo>
                        <a:lnTo>
                          <a:pt x="56" y="4"/>
                        </a:lnTo>
                        <a:lnTo>
                          <a:pt x="47" y="13"/>
                        </a:lnTo>
                        <a:lnTo>
                          <a:pt x="42" y="22"/>
                        </a:lnTo>
                        <a:lnTo>
                          <a:pt x="35" y="22"/>
                        </a:lnTo>
                        <a:lnTo>
                          <a:pt x="29" y="29"/>
                        </a:lnTo>
                        <a:lnTo>
                          <a:pt x="21" y="32"/>
                        </a:lnTo>
                        <a:lnTo>
                          <a:pt x="18" y="29"/>
                        </a:lnTo>
                        <a:lnTo>
                          <a:pt x="11" y="34"/>
                        </a:lnTo>
                        <a:lnTo>
                          <a:pt x="0" y="48"/>
                        </a:lnTo>
                        <a:lnTo>
                          <a:pt x="10" y="56"/>
                        </a:lnTo>
                        <a:lnTo>
                          <a:pt x="16" y="64"/>
                        </a:lnTo>
                        <a:lnTo>
                          <a:pt x="16" y="72"/>
                        </a:lnTo>
                        <a:lnTo>
                          <a:pt x="11" y="62"/>
                        </a:lnTo>
                        <a:lnTo>
                          <a:pt x="5" y="62"/>
                        </a:lnTo>
                        <a:lnTo>
                          <a:pt x="9" y="88"/>
                        </a:lnTo>
                        <a:lnTo>
                          <a:pt x="14" y="81"/>
                        </a:lnTo>
                        <a:lnTo>
                          <a:pt x="27" y="78"/>
                        </a:lnTo>
                        <a:lnTo>
                          <a:pt x="37" y="84"/>
                        </a:lnTo>
                        <a:lnTo>
                          <a:pt x="41" y="75"/>
                        </a:lnTo>
                        <a:lnTo>
                          <a:pt x="35" y="72"/>
                        </a:lnTo>
                        <a:lnTo>
                          <a:pt x="32" y="65"/>
                        </a:lnTo>
                        <a:lnTo>
                          <a:pt x="32" y="54"/>
                        </a:lnTo>
                        <a:lnTo>
                          <a:pt x="37" y="50"/>
                        </a:lnTo>
                        <a:lnTo>
                          <a:pt x="43" y="63"/>
                        </a:lnTo>
                        <a:lnTo>
                          <a:pt x="51" y="74"/>
                        </a:lnTo>
                        <a:lnTo>
                          <a:pt x="51" y="85"/>
                        </a:lnTo>
                        <a:lnTo>
                          <a:pt x="53" y="86"/>
                        </a:lnTo>
                        <a:lnTo>
                          <a:pt x="53" y="100"/>
                        </a:lnTo>
                        <a:lnTo>
                          <a:pt x="47" y="112"/>
                        </a:lnTo>
                        <a:lnTo>
                          <a:pt x="41" y="118"/>
                        </a:lnTo>
                        <a:lnTo>
                          <a:pt x="36" y="128"/>
                        </a:lnTo>
                        <a:lnTo>
                          <a:pt x="35" y="143"/>
                        </a:lnTo>
                        <a:lnTo>
                          <a:pt x="38" y="159"/>
                        </a:lnTo>
                        <a:lnTo>
                          <a:pt x="35" y="167"/>
                        </a:lnTo>
                        <a:lnTo>
                          <a:pt x="41" y="174"/>
                        </a:lnTo>
                        <a:lnTo>
                          <a:pt x="54" y="180"/>
                        </a:lnTo>
                        <a:lnTo>
                          <a:pt x="58" y="166"/>
                        </a:lnTo>
                        <a:lnTo>
                          <a:pt x="53" y="155"/>
                        </a:lnTo>
                        <a:lnTo>
                          <a:pt x="57" y="145"/>
                        </a:lnTo>
                        <a:lnTo>
                          <a:pt x="65" y="148"/>
                        </a:lnTo>
                        <a:lnTo>
                          <a:pt x="62" y="151"/>
                        </a:lnTo>
                        <a:lnTo>
                          <a:pt x="61" y="160"/>
                        </a:lnTo>
                        <a:lnTo>
                          <a:pt x="63" y="172"/>
                        </a:lnTo>
                        <a:lnTo>
                          <a:pt x="63" y="187"/>
                        </a:lnTo>
                        <a:lnTo>
                          <a:pt x="70" y="185"/>
                        </a:lnTo>
                        <a:lnTo>
                          <a:pt x="79" y="177"/>
                        </a:lnTo>
                        <a:lnTo>
                          <a:pt x="79" y="169"/>
                        </a:lnTo>
                        <a:lnTo>
                          <a:pt x="88" y="160"/>
                        </a:lnTo>
                        <a:lnTo>
                          <a:pt x="94" y="164"/>
                        </a:lnTo>
                        <a:lnTo>
                          <a:pt x="100" y="148"/>
                        </a:lnTo>
                        <a:lnTo>
                          <a:pt x="107" y="117"/>
                        </a:lnTo>
                        <a:lnTo>
                          <a:pt x="113" y="100"/>
                        </a:lnTo>
                        <a:lnTo>
                          <a:pt x="120" y="89"/>
                        </a:lnTo>
                        <a:lnTo>
                          <a:pt x="127" y="78"/>
                        </a:lnTo>
                        <a:lnTo>
                          <a:pt x="131" y="69"/>
                        </a:lnTo>
                        <a:lnTo>
                          <a:pt x="129" y="59"/>
                        </a:lnTo>
                        <a:lnTo>
                          <a:pt x="124" y="48"/>
                        </a:lnTo>
                        <a:lnTo>
                          <a:pt x="111" y="45"/>
                        </a:lnTo>
                        <a:lnTo>
                          <a:pt x="110" y="40"/>
                        </a:lnTo>
                        <a:lnTo>
                          <a:pt x="115" y="26"/>
                        </a:lnTo>
                        <a:lnTo>
                          <a:pt x="112" y="19"/>
                        </a:lnTo>
                        <a:lnTo>
                          <a:pt x="104" y="21"/>
                        </a:lnTo>
                        <a:lnTo>
                          <a:pt x="86" y="22"/>
                        </a:lnTo>
                        <a:lnTo>
                          <a:pt x="77" y="9"/>
                        </a:lnTo>
                        <a:lnTo>
                          <a:pt x="77" y="3"/>
                        </a:lnTo>
                        <a:lnTo>
                          <a:pt x="67" y="2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</p:grpSp>
            <p:sp>
              <p:nvSpPr>
                <p:cNvPr id="444" name="Freeform 160"/>
                <p:cNvSpPr>
                  <a:spLocks/>
                </p:cNvSpPr>
                <p:nvPr/>
              </p:nvSpPr>
              <p:spPr bwMode="gray">
                <a:xfrm>
                  <a:off x="6793961" y="2224598"/>
                  <a:ext cx="67808" cy="100563"/>
                </a:xfrm>
                <a:custGeom>
                  <a:avLst/>
                  <a:gdLst>
                    <a:gd name="T0" fmla="*/ 11581 w 190"/>
                    <a:gd name="T1" fmla="*/ 411 h 285"/>
                    <a:gd name="T2" fmla="*/ 13809 w 190"/>
                    <a:gd name="T3" fmla="*/ 3701 h 285"/>
                    <a:gd name="T4" fmla="*/ 15590 w 190"/>
                    <a:gd name="T5" fmla="*/ 6168 h 285"/>
                    <a:gd name="T6" fmla="*/ 16481 w 190"/>
                    <a:gd name="T7" fmla="*/ 9458 h 285"/>
                    <a:gd name="T8" fmla="*/ 16481 w 190"/>
                    <a:gd name="T9" fmla="*/ 13981 h 285"/>
                    <a:gd name="T10" fmla="*/ 16036 w 190"/>
                    <a:gd name="T11" fmla="*/ 16448 h 285"/>
                    <a:gd name="T12" fmla="*/ 14699 w 190"/>
                    <a:gd name="T13" fmla="*/ 18915 h 285"/>
                    <a:gd name="T14" fmla="*/ 12472 w 190"/>
                    <a:gd name="T15" fmla="*/ 19326 h 285"/>
                    <a:gd name="T16" fmla="*/ 11581 w 190"/>
                    <a:gd name="T17" fmla="*/ 19326 h 285"/>
                    <a:gd name="T18" fmla="*/ 10690 w 190"/>
                    <a:gd name="T19" fmla="*/ 20560 h 285"/>
                    <a:gd name="T20" fmla="*/ 9800 w 190"/>
                    <a:gd name="T21" fmla="*/ 20149 h 285"/>
                    <a:gd name="T22" fmla="*/ 8463 w 190"/>
                    <a:gd name="T23" fmla="*/ 19737 h 285"/>
                    <a:gd name="T24" fmla="*/ 8018 w 190"/>
                    <a:gd name="T25" fmla="*/ 20560 h 285"/>
                    <a:gd name="T26" fmla="*/ 7127 w 190"/>
                    <a:gd name="T27" fmla="*/ 21793 h 285"/>
                    <a:gd name="T28" fmla="*/ 6236 w 190"/>
                    <a:gd name="T29" fmla="*/ 20560 h 285"/>
                    <a:gd name="T30" fmla="*/ 5791 w 190"/>
                    <a:gd name="T31" fmla="*/ 22205 h 285"/>
                    <a:gd name="T32" fmla="*/ 4900 w 190"/>
                    <a:gd name="T33" fmla="*/ 22205 h 285"/>
                    <a:gd name="T34" fmla="*/ 5791 w 190"/>
                    <a:gd name="T35" fmla="*/ 20971 h 285"/>
                    <a:gd name="T36" fmla="*/ 4454 w 190"/>
                    <a:gd name="T37" fmla="*/ 21793 h 285"/>
                    <a:gd name="T38" fmla="*/ 3563 w 190"/>
                    <a:gd name="T39" fmla="*/ 22616 h 285"/>
                    <a:gd name="T40" fmla="*/ 2673 w 190"/>
                    <a:gd name="T41" fmla="*/ 22616 h 285"/>
                    <a:gd name="T42" fmla="*/ 1782 w 190"/>
                    <a:gd name="T43" fmla="*/ 22616 h 285"/>
                    <a:gd name="T44" fmla="*/ 891 w 190"/>
                    <a:gd name="T45" fmla="*/ 23438 h 285"/>
                    <a:gd name="T46" fmla="*/ 891 w 190"/>
                    <a:gd name="T47" fmla="*/ 22616 h 285"/>
                    <a:gd name="T48" fmla="*/ 1782 w 190"/>
                    <a:gd name="T49" fmla="*/ 21793 h 285"/>
                    <a:gd name="T50" fmla="*/ 2227 w 190"/>
                    <a:gd name="T51" fmla="*/ 20971 h 285"/>
                    <a:gd name="T52" fmla="*/ 1336 w 190"/>
                    <a:gd name="T53" fmla="*/ 20971 h 285"/>
                    <a:gd name="T54" fmla="*/ 1336 w 190"/>
                    <a:gd name="T55" fmla="*/ 19326 h 285"/>
                    <a:gd name="T56" fmla="*/ 1782 w 190"/>
                    <a:gd name="T57" fmla="*/ 17270 h 285"/>
                    <a:gd name="T58" fmla="*/ 2227 w 190"/>
                    <a:gd name="T59" fmla="*/ 16448 h 285"/>
                    <a:gd name="T60" fmla="*/ 3118 w 190"/>
                    <a:gd name="T61" fmla="*/ 15214 h 285"/>
                    <a:gd name="T62" fmla="*/ 2673 w 190"/>
                    <a:gd name="T63" fmla="*/ 14392 h 285"/>
                    <a:gd name="T64" fmla="*/ 2227 w 190"/>
                    <a:gd name="T65" fmla="*/ 12747 h 285"/>
                    <a:gd name="T66" fmla="*/ 1782 w 190"/>
                    <a:gd name="T67" fmla="*/ 10691 h 285"/>
                    <a:gd name="T68" fmla="*/ 1336 w 190"/>
                    <a:gd name="T69" fmla="*/ 11514 h 285"/>
                    <a:gd name="T70" fmla="*/ 445 w 190"/>
                    <a:gd name="T71" fmla="*/ 10691 h 285"/>
                    <a:gd name="T72" fmla="*/ 0 w 190"/>
                    <a:gd name="T73" fmla="*/ 10280 h 285"/>
                    <a:gd name="T74" fmla="*/ 1336 w 190"/>
                    <a:gd name="T75" fmla="*/ 9458 h 285"/>
                    <a:gd name="T76" fmla="*/ 3563 w 190"/>
                    <a:gd name="T77" fmla="*/ 9458 h 285"/>
                    <a:gd name="T78" fmla="*/ 3563 w 190"/>
                    <a:gd name="T79" fmla="*/ 9046 h 285"/>
                    <a:gd name="T80" fmla="*/ 3118 w 190"/>
                    <a:gd name="T81" fmla="*/ 7813 h 285"/>
                    <a:gd name="T82" fmla="*/ 3563 w 190"/>
                    <a:gd name="T83" fmla="*/ 6990 h 285"/>
                    <a:gd name="T84" fmla="*/ 2673 w 190"/>
                    <a:gd name="T85" fmla="*/ 6990 h 285"/>
                    <a:gd name="T86" fmla="*/ 2227 w 190"/>
                    <a:gd name="T87" fmla="*/ 5757 h 285"/>
                    <a:gd name="T88" fmla="*/ 1782 w 190"/>
                    <a:gd name="T89" fmla="*/ 5346 h 285"/>
                    <a:gd name="T90" fmla="*/ 1782 w 190"/>
                    <a:gd name="T91" fmla="*/ 4523 h 285"/>
                    <a:gd name="T92" fmla="*/ 3118 w 190"/>
                    <a:gd name="T93" fmla="*/ 3701 h 285"/>
                    <a:gd name="T94" fmla="*/ 6682 w 190"/>
                    <a:gd name="T95" fmla="*/ 1645 h 285"/>
                    <a:gd name="T96" fmla="*/ 9800 w 190"/>
                    <a:gd name="T97" fmla="*/ 1234 h 285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190"/>
                    <a:gd name="T148" fmla="*/ 0 h 285"/>
                    <a:gd name="T149" fmla="*/ 190 w 190"/>
                    <a:gd name="T150" fmla="*/ 285 h 285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190" h="285">
                      <a:moveTo>
                        <a:pt x="125" y="0"/>
                      </a:moveTo>
                      <a:lnTo>
                        <a:pt x="130" y="5"/>
                      </a:lnTo>
                      <a:lnTo>
                        <a:pt x="146" y="36"/>
                      </a:lnTo>
                      <a:lnTo>
                        <a:pt x="156" y="46"/>
                      </a:lnTo>
                      <a:lnTo>
                        <a:pt x="165" y="58"/>
                      </a:lnTo>
                      <a:lnTo>
                        <a:pt x="173" y="73"/>
                      </a:lnTo>
                      <a:lnTo>
                        <a:pt x="180" y="91"/>
                      </a:lnTo>
                      <a:lnTo>
                        <a:pt x="184" y="113"/>
                      </a:lnTo>
                      <a:lnTo>
                        <a:pt x="183" y="150"/>
                      </a:lnTo>
                      <a:lnTo>
                        <a:pt x="184" y="170"/>
                      </a:lnTo>
                      <a:lnTo>
                        <a:pt x="190" y="171"/>
                      </a:lnTo>
                      <a:lnTo>
                        <a:pt x="181" y="201"/>
                      </a:lnTo>
                      <a:lnTo>
                        <a:pt x="174" y="217"/>
                      </a:lnTo>
                      <a:lnTo>
                        <a:pt x="163" y="228"/>
                      </a:lnTo>
                      <a:lnTo>
                        <a:pt x="154" y="230"/>
                      </a:lnTo>
                      <a:lnTo>
                        <a:pt x="142" y="233"/>
                      </a:lnTo>
                      <a:lnTo>
                        <a:pt x="135" y="230"/>
                      </a:lnTo>
                      <a:lnTo>
                        <a:pt x="131" y="235"/>
                      </a:lnTo>
                      <a:lnTo>
                        <a:pt x="127" y="242"/>
                      </a:lnTo>
                      <a:lnTo>
                        <a:pt x="120" y="252"/>
                      </a:lnTo>
                      <a:lnTo>
                        <a:pt x="116" y="245"/>
                      </a:lnTo>
                      <a:lnTo>
                        <a:pt x="111" y="245"/>
                      </a:lnTo>
                      <a:lnTo>
                        <a:pt x="101" y="240"/>
                      </a:lnTo>
                      <a:lnTo>
                        <a:pt x="95" y="241"/>
                      </a:lnTo>
                      <a:lnTo>
                        <a:pt x="83" y="246"/>
                      </a:lnTo>
                      <a:lnTo>
                        <a:pt x="88" y="252"/>
                      </a:lnTo>
                      <a:lnTo>
                        <a:pt x="86" y="260"/>
                      </a:lnTo>
                      <a:lnTo>
                        <a:pt x="79" y="263"/>
                      </a:lnTo>
                      <a:lnTo>
                        <a:pt x="76" y="256"/>
                      </a:lnTo>
                      <a:lnTo>
                        <a:pt x="72" y="252"/>
                      </a:lnTo>
                      <a:lnTo>
                        <a:pt x="71" y="268"/>
                      </a:lnTo>
                      <a:lnTo>
                        <a:pt x="66" y="272"/>
                      </a:lnTo>
                      <a:lnTo>
                        <a:pt x="61" y="273"/>
                      </a:lnTo>
                      <a:lnTo>
                        <a:pt x="57" y="269"/>
                      </a:lnTo>
                      <a:lnTo>
                        <a:pt x="65" y="263"/>
                      </a:lnTo>
                      <a:lnTo>
                        <a:pt x="66" y="257"/>
                      </a:lnTo>
                      <a:lnTo>
                        <a:pt x="60" y="260"/>
                      </a:lnTo>
                      <a:lnTo>
                        <a:pt x="51" y="264"/>
                      </a:lnTo>
                      <a:lnTo>
                        <a:pt x="41" y="276"/>
                      </a:lnTo>
                      <a:lnTo>
                        <a:pt x="38" y="276"/>
                      </a:lnTo>
                      <a:lnTo>
                        <a:pt x="35" y="269"/>
                      </a:lnTo>
                      <a:lnTo>
                        <a:pt x="31" y="274"/>
                      </a:lnTo>
                      <a:lnTo>
                        <a:pt x="22" y="283"/>
                      </a:lnTo>
                      <a:lnTo>
                        <a:pt x="20" y="274"/>
                      </a:lnTo>
                      <a:lnTo>
                        <a:pt x="12" y="277"/>
                      </a:lnTo>
                      <a:lnTo>
                        <a:pt x="8" y="285"/>
                      </a:lnTo>
                      <a:lnTo>
                        <a:pt x="4" y="282"/>
                      </a:lnTo>
                      <a:lnTo>
                        <a:pt x="9" y="273"/>
                      </a:lnTo>
                      <a:lnTo>
                        <a:pt x="11" y="263"/>
                      </a:lnTo>
                      <a:lnTo>
                        <a:pt x="22" y="267"/>
                      </a:lnTo>
                      <a:lnTo>
                        <a:pt x="20" y="261"/>
                      </a:lnTo>
                      <a:lnTo>
                        <a:pt x="24" y="253"/>
                      </a:lnTo>
                      <a:lnTo>
                        <a:pt x="19" y="250"/>
                      </a:lnTo>
                      <a:lnTo>
                        <a:pt x="13" y="256"/>
                      </a:lnTo>
                      <a:lnTo>
                        <a:pt x="11" y="247"/>
                      </a:lnTo>
                      <a:lnTo>
                        <a:pt x="15" y="235"/>
                      </a:lnTo>
                      <a:lnTo>
                        <a:pt x="15" y="225"/>
                      </a:lnTo>
                      <a:lnTo>
                        <a:pt x="20" y="212"/>
                      </a:lnTo>
                      <a:lnTo>
                        <a:pt x="27" y="203"/>
                      </a:lnTo>
                      <a:lnTo>
                        <a:pt x="23" y="199"/>
                      </a:lnTo>
                      <a:lnTo>
                        <a:pt x="31" y="193"/>
                      </a:lnTo>
                      <a:lnTo>
                        <a:pt x="34" y="186"/>
                      </a:lnTo>
                      <a:lnTo>
                        <a:pt x="30" y="180"/>
                      </a:lnTo>
                      <a:lnTo>
                        <a:pt x="30" y="174"/>
                      </a:lnTo>
                      <a:lnTo>
                        <a:pt x="24" y="167"/>
                      </a:lnTo>
                      <a:lnTo>
                        <a:pt x="23" y="155"/>
                      </a:lnTo>
                      <a:lnTo>
                        <a:pt x="20" y="143"/>
                      </a:lnTo>
                      <a:lnTo>
                        <a:pt x="19" y="129"/>
                      </a:lnTo>
                      <a:lnTo>
                        <a:pt x="13" y="127"/>
                      </a:lnTo>
                      <a:lnTo>
                        <a:pt x="15" y="139"/>
                      </a:lnTo>
                      <a:lnTo>
                        <a:pt x="11" y="142"/>
                      </a:lnTo>
                      <a:lnTo>
                        <a:pt x="4" y="132"/>
                      </a:lnTo>
                      <a:lnTo>
                        <a:pt x="0" y="132"/>
                      </a:lnTo>
                      <a:lnTo>
                        <a:pt x="1" y="123"/>
                      </a:lnTo>
                      <a:lnTo>
                        <a:pt x="8" y="115"/>
                      </a:lnTo>
                      <a:lnTo>
                        <a:pt x="17" y="115"/>
                      </a:lnTo>
                      <a:lnTo>
                        <a:pt x="29" y="110"/>
                      </a:lnTo>
                      <a:lnTo>
                        <a:pt x="39" y="117"/>
                      </a:lnTo>
                      <a:lnTo>
                        <a:pt x="43" y="118"/>
                      </a:lnTo>
                      <a:lnTo>
                        <a:pt x="38" y="108"/>
                      </a:lnTo>
                      <a:lnTo>
                        <a:pt x="38" y="100"/>
                      </a:lnTo>
                      <a:lnTo>
                        <a:pt x="34" y="95"/>
                      </a:lnTo>
                      <a:lnTo>
                        <a:pt x="35" y="89"/>
                      </a:lnTo>
                      <a:lnTo>
                        <a:pt x="38" y="86"/>
                      </a:lnTo>
                      <a:lnTo>
                        <a:pt x="31" y="81"/>
                      </a:lnTo>
                      <a:lnTo>
                        <a:pt x="29" y="83"/>
                      </a:lnTo>
                      <a:lnTo>
                        <a:pt x="25" y="77"/>
                      </a:lnTo>
                      <a:lnTo>
                        <a:pt x="24" y="72"/>
                      </a:lnTo>
                      <a:lnTo>
                        <a:pt x="28" y="72"/>
                      </a:lnTo>
                      <a:lnTo>
                        <a:pt x="22" y="64"/>
                      </a:lnTo>
                      <a:lnTo>
                        <a:pt x="19" y="58"/>
                      </a:lnTo>
                      <a:lnTo>
                        <a:pt x="19" y="53"/>
                      </a:lnTo>
                      <a:lnTo>
                        <a:pt x="23" y="56"/>
                      </a:lnTo>
                      <a:lnTo>
                        <a:pt x="36" y="45"/>
                      </a:lnTo>
                      <a:lnTo>
                        <a:pt x="58" y="22"/>
                      </a:lnTo>
                      <a:lnTo>
                        <a:pt x="76" y="21"/>
                      </a:lnTo>
                      <a:lnTo>
                        <a:pt x="93" y="22"/>
                      </a:lnTo>
                      <a:lnTo>
                        <a:pt x="108" y="16"/>
                      </a:lnTo>
                      <a:lnTo>
                        <a:pt x="125" y="0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45" name="Freeform 161"/>
                <p:cNvSpPr>
                  <a:spLocks/>
                </p:cNvSpPr>
                <p:nvPr/>
              </p:nvSpPr>
              <p:spPr bwMode="gray">
                <a:xfrm>
                  <a:off x="6054354" y="1848167"/>
                  <a:ext cx="611525" cy="298971"/>
                </a:xfrm>
                <a:custGeom>
                  <a:avLst/>
                  <a:gdLst>
                    <a:gd name="T0" fmla="*/ 4011 w 1734"/>
                    <a:gd name="T1" fmla="*/ 18960 h 848"/>
                    <a:gd name="T2" fmla="*/ 11588 w 1734"/>
                    <a:gd name="T3" fmla="*/ 14838 h 848"/>
                    <a:gd name="T4" fmla="*/ 21839 w 1734"/>
                    <a:gd name="T5" fmla="*/ 10716 h 848"/>
                    <a:gd name="T6" fmla="*/ 28079 w 1734"/>
                    <a:gd name="T7" fmla="*/ 12365 h 848"/>
                    <a:gd name="T8" fmla="*/ 34318 w 1734"/>
                    <a:gd name="T9" fmla="*/ 15250 h 848"/>
                    <a:gd name="T10" fmla="*/ 45461 w 1734"/>
                    <a:gd name="T11" fmla="*/ 15662 h 848"/>
                    <a:gd name="T12" fmla="*/ 49026 w 1734"/>
                    <a:gd name="T13" fmla="*/ 13189 h 848"/>
                    <a:gd name="T14" fmla="*/ 49472 w 1734"/>
                    <a:gd name="T15" fmla="*/ 8243 h 848"/>
                    <a:gd name="T16" fmla="*/ 51700 w 1734"/>
                    <a:gd name="T17" fmla="*/ 2885 h 848"/>
                    <a:gd name="T18" fmla="*/ 57494 w 1734"/>
                    <a:gd name="T19" fmla="*/ 412 h 848"/>
                    <a:gd name="T20" fmla="*/ 65071 w 1734"/>
                    <a:gd name="T21" fmla="*/ 3710 h 848"/>
                    <a:gd name="T22" fmla="*/ 69974 w 1734"/>
                    <a:gd name="T23" fmla="*/ 8656 h 848"/>
                    <a:gd name="T24" fmla="*/ 73985 w 1734"/>
                    <a:gd name="T25" fmla="*/ 12777 h 848"/>
                    <a:gd name="T26" fmla="*/ 84236 w 1734"/>
                    <a:gd name="T27" fmla="*/ 10716 h 848"/>
                    <a:gd name="T28" fmla="*/ 92259 w 1734"/>
                    <a:gd name="T29" fmla="*/ 14014 h 848"/>
                    <a:gd name="T30" fmla="*/ 98498 w 1734"/>
                    <a:gd name="T31" fmla="*/ 16487 h 848"/>
                    <a:gd name="T32" fmla="*/ 106967 w 1734"/>
                    <a:gd name="T33" fmla="*/ 20608 h 848"/>
                    <a:gd name="T34" fmla="*/ 117663 w 1734"/>
                    <a:gd name="T35" fmla="*/ 19784 h 848"/>
                    <a:gd name="T36" fmla="*/ 128360 w 1734"/>
                    <a:gd name="T37" fmla="*/ 14838 h 848"/>
                    <a:gd name="T38" fmla="*/ 136382 w 1734"/>
                    <a:gd name="T39" fmla="*/ 16487 h 848"/>
                    <a:gd name="T40" fmla="*/ 139502 w 1734"/>
                    <a:gd name="T41" fmla="*/ 16075 h 848"/>
                    <a:gd name="T42" fmla="*/ 135937 w 1734"/>
                    <a:gd name="T43" fmla="*/ 21021 h 848"/>
                    <a:gd name="T44" fmla="*/ 135491 w 1734"/>
                    <a:gd name="T45" fmla="*/ 26791 h 848"/>
                    <a:gd name="T46" fmla="*/ 139948 w 1734"/>
                    <a:gd name="T47" fmla="*/ 32149 h 848"/>
                    <a:gd name="T48" fmla="*/ 148862 w 1734"/>
                    <a:gd name="T49" fmla="*/ 28852 h 848"/>
                    <a:gd name="T50" fmla="*/ 153319 w 1734"/>
                    <a:gd name="T51" fmla="*/ 34210 h 848"/>
                    <a:gd name="T52" fmla="*/ 154656 w 1734"/>
                    <a:gd name="T53" fmla="*/ 37919 h 848"/>
                    <a:gd name="T54" fmla="*/ 148416 w 1734"/>
                    <a:gd name="T55" fmla="*/ 37919 h 848"/>
                    <a:gd name="T56" fmla="*/ 140394 w 1734"/>
                    <a:gd name="T57" fmla="*/ 39980 h 848"/>
                    <a:gd name="T58" fmla="*/ 132817 w 1734"/>
                    <a:gd name="T59" fmla="*/ 45338 h 848"/>
                    <a:gd name="T60" fmla="*/ 125686 w 1734"/>
                    <a:gd name="T61" fmla="*/ 50284 h 848"/>
                    <a:gd name="T62" fmla="*/ 119892 w 1734"/>
                    <a:gd name="T63" fmla="*/ 48636 h 848"/>
                    <a:gd name="T64" fmla="*/ 115880 w 1734"/>
                    <a:gd name="T65" fmla="*/ 53582 h 848"/>
                    <a:gd name="T66" fmla="*/ 111869 w 1734"/>
                    <a:gd name="T67" fmla="*/ 62237 h 848"/>
                    <a:gd name="T68" fmla="*/ 103847 w 1734"/>
                    <a:gd name="T69" fmla="*/ 65122 h 848"/>
                    <a:gd name="T70" fmla="*/ 97161 w 1734"/>
                    <a:gd name="T71" fmla="*/ 65122 h 848"/>
                    <a:gd name="T72" fmla="*/ 90476 w 1734"/>
                    <a:gd name="T73" fmla="*/ 67183 h 848"/>
                    <a:gd name="T74" fmla="*/ 84236 w 1734"/>
                    <a:gd name="T75" fmla="*/ 70068 h 848"/>
                    <a:gd name="T76" fmla="*/ 80671 w 1734"/>
                    <a:gd name="T77" fmla="*/ 68832 h 848"/>
                    <a:gd name="T78" fmla="*/ 71311 w 1734"/>
                    <a:gd name="T79" fmla="*/ 66359 h 848"/>
                    <a:gd name="T80" fmla="*/ 66408 w 1734"/>
                    <a:gd name="T81" fmla="*/ 63474 h 848"/>
                    <a:gd name="T82" fmla="*/ 46798 w 1734"/>
                    <a:gd name="T83" fmla="*/ 63474 h 848"/>
                    <a:gd name="T84" fmla="*/ 41450 w 1734"/>
                    <a:gd name="T85" fmla="*/ 60176 h 848"/>
                    <a:gd name="T86" fmla="*/ 37438 w 1734"/>
                    <a:gd name="T87" fmla="*/ 54406 h 848"/>
                    <a:gd name="T88" fmla="*/ 31644 w 1734"/>
                    <a:gd name="T89" fmla="*/ 51521 h 848"/>
                    <a:gd name="T90" fmla="*/ 24959 w 1734"/>
                    <a:gd name="T91" fmla="*/ 48636 h 848"/>
                    <a:gd name="T92" fmla="*/ 18719 w 1734"/>
                    <a:gd name="T93" fmla="*/ 48224 h 848"/>
                    <a:gd name="T94" fmla="*/ 14262 w 1734"/>
                    <a:gd name="T95" fmla="*/ 45751 h 848"/>
                    <a:gd name="T96" fmla="*/ 14708 w 1734"/>
                    <a:gd name="T97" fmla="*/ 38744 h 848"/>
                    <a:gd name="T98" fmla="*/ 11142 w 1734"/>
                    <a:gd name="T99" fmla="*/ 30913 h 848"/>
                    <a:gd name="T100" fmla="*/ 6240 w 1734"/>
                    <a:gd name="T101" fmla="*/ 30500 h 848"/>
                    <a:gd name="T102" fmla="*/ 446 w 1734"/>
                    <a:gd name="T103" fmla="*/ 23906 h 848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1734"/>
                    <a:gd name="T157" fmla="*/ 0 h 848"/>
                    <a:gd name="T158" fmla="*/ 1734 w 1734"/>
                    <a:gd name="T159" fmla="*/ 848 h 848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1734" h="848">
                      <a:moveTo>
                        <a:pt x="0" y="273"/>
                      </a:moveTo>
                      <a:lnTo>
                        <a:pt x="12" y="251"/>
                      </a:lnTo>
                      <a:lnTo>
                        <a:pt x="28" y="234"/>
                      </a:lnTo>
                      <a:lnTo>
                        <a:pt x="46" y="227"/>
                      </a:lnTo>
                      <a:lnTo>
                        <a:pt x="65" y="221"/>
                      </a:lnTo>
                      <a:lnTo>
                        <a:pt x="84" y="208"/>
                      </a:lnTo>
                      <a:lnTo>
                        <a:pt x="104" y="192"/>
                      </a:lnTo>
                      <a:lnTo>
                        <a:pt x="129" y="180"/>
                      </a:lnTo>
                      <a:lnTo>
                        <a:pt x="154" y="158"/>
                      </a:lnTo>
                      <a:lnTo>
                        <a:pt x="195" y="146"/>
                      </a:lnTo>
                      <a:lnTo>
                        <a:pt x="220" y="135"/>
                      </a:lnTo>
                      <a:lnTo>
                        <a:pt x="243" y="132"/>
                      </a:lnTo>
                      <a:lnTo>
                        <a:pt x="265" y="136"/>
                      </a:lnTo>
                      <a:lnTo>
                        <a:pt x="281" y="142"/>
                      </a:lnTo>
                      <a:lnTo>
                        <a:pt x="294" y="153"/>
                      </a:lnTo>
                      <a:lnTo>
                        <a:pt x="313" y="149"/>
                      </a:lnTo>
                      <a:lnTo>
                        <a:pt x="334" y="148"/>
                      </a:lnTo>
                      <a:lnTo>
                        <a:pt x="351" y="151"/>
                      </a:lnTo>
                      <a:lnTo>
                        <a:pt x="382" y="180"/>
                      </a:lnTo>
                      <a:lnTo>
                        <a:pt x="387" y="187"/>
                      </a:lnTo>
                      <a:lnTo>
                        <a:pt x="404" y="190"/>
                      </a:lnTo>
                      <a:lnTo>
                        <a:pt x="451" y="183"/>
                      </a:lnTo>
                      <a:lnTo>
                        <a:pt x="464" y="189"/>
                      </a:lnTo>
                      <a:lnTo>
                        <a:pt x="508" y="190"/>
                      </a:lnTo>
                      <a:lnTo>
                        <a:pt x="546" y="185"/>
                      </a:lnTo>
                      <a:lnTo>
                        <a:pt x="556" y="180"/>
                      </a:lnTo>
                      <a:lnTo>
                        <a:pt x="556" y="172"/>
                      </a:lnTo>
                      <a:lnTo>
                        <a:pt x="552" y="160"/>
                      </a:lnTo>
                      <a:lnTo>
                        <a:pt x="555" y="146"/>
                      </a:lnTo>
                      <a:lnTo>
                        <a:pt x="565" y="130"/>
                      </a:lnTo>
                      <a:lnTo>
                        <a:pt x="565" y="114"/>
                      </a:lnTo>
                      <a:lnTo>
                        <a:pt x="554" y="99"/>
                      </a:lnTo>
                      <a:lnTo>
                        <a:pt x="550" y="81"/>
                      </a:lnTo>
                      <a:lnTo>
                        <a:pt x="552" y="63"/>
                      </a:lnTo>
                      <a:lnTo>
                        <a:pt x="568" y="49"/>
                      </a:lnTo>
                      <a:lnTo>
                        <a:pt x="582" y="33"/>
                      </a:lnTo>
                      <a:lnTo>
                        <a:pt x="600" y="18"/>
                      </a:lnTo>
                      <a:lnTo>
                        <a:pt x="611" y="1"/>
                      </a:lnTo>
                      <a:lnTo>
                        <a:pt x="625" y="0"/>
                      </a:lnTo>
                      <a:lnTo>
                        <a:pt x="645" y="6"/>
                      </a:lnTo>
                      <a:lnTo>
                        <a:pt x="659" y="17"/>
                      </a:lnTo>
                      <a:lnTo>
                        <a:pt x="696" y="27"/>
                      </a:lnTo>
                      <a:lnTo>
                        <a:pt x="707" y="41"/>
                      </a:lnTo>
                      <a:lnTo>
                        <a:pt x="731" y="47"/>
                      </a:lnTo>
                      <a:lnTo>
                        <a:pt x="755" y="50"/>
                      </a:lnTo>
                      <a:lnTo>
                        <a:pt x="772" y="57"/>
                      </a:lnTo>
                      <a:lnTo>
                        <a:pt x="782" y="73"/>
                      </a:lnTo>
                      <a:lnTo>
                        <a:pt x="787" y="103"/>
                      </a:lnTo>
                      <a:lnTo>
                        <a:pt x="787" y="124"/>
                      </a:lnTo>
                      <a:lnTo>
                        <a:pt x="792" y="124"/>
                      </a:lnTo>
                      <a:lnTo>
                        <a:pt x="807" y="138"/>
                      </a:lnTo>
                      <a:lnTo>
                        <a:pt x="830" y="154"/>
                      </a:lnTo>
                      <a:lnTo>
                        <a:pt x="864" y="165"/>
                      </a:lnTo>
                      <a:lnTo>
                        <a:pt x="892" y="159"/>
                      </a:lnTo>
                      <a:lnTo>
                        <a:pt x="919" y="144"/>
                      </a:lnTo>
                      <a:lnTo>
                        <a:pt x="944" y="132"/>
                      </a:lnTo>
                      <a:lnTo>
                        <a:pt x="975" y="140"/>
                      </a:lnTo>
                      <a:lnTo>
                        <a:pt x="1023" y="157"/>
                      </a:lnTo>
                      <a:lnTo>
                        <a:pt x="1033" y="169"/>
                      </a:lnTo>
                      <a:lnTo>
                        <a:pt x="1034" y="169"/>
                      </a:lnTo>
                      <a:lnTo>
                        <a:pt x="1040" y="174"/>
                      </a:lnTo>
                      <a:lnTo>
                        <a:pt x="1062" y="186"/>
                      </a:lnTo>
                      <a:lnTo>
                        <a:pt x="1083" y="192"/>
                      </a:lnTo>
                      <a:lnTo>
                        <a:pt x="1104" y="201"/>
                      </a:lnTo>
                      <a:lnTo>
                        <a:pt x="1118" y="221"/>
                      </a:lnTo>
                      <a:lnTo>
                        <a:pt x="1145" y="237"/>
                      </a:lnTo>
                      <a:lnTo>
                        <a:pt x="1177" y="242"/>
                      </a:lnTo>
                      <a:lnTo>
                        <a:pt x="1200" y="249"/>
                      </a:lnTo>
                      <a:lnTo>
                        <a:pt x="1218" y="250"/>
                      </a:lnTo>
                      <a:lnTo>
                        <a:pt x="1243" y="248"/>
                      </a:lnTo>
                      <a:lnTo>
                        <a:pt x="1261" y="256"/>
                      </a:lnTo>
                      <a:lnTo>
                        <a:pt x="1317" y="237"/>
                      </a:lnTo>
                      <a:lnTo>
                        <a:pt x="1351" y="229"/>
                      </a:lnTo>
                      <a:lnTo>
                        <a:pt x="1378" y="224"/>
                      </a:lnTo>
                      <a:lnTo>
                        <a:pt x="1415" y="195"/>
                      </a:lnTo>
                      <a:lnTo>
                        <a:pt x="1439" y="179"/>
                      </a:lnTo>
                      <a:lnTo>
                        <a:pt x="1464" y="170"/>
                      </a:lnTo>
                      <a:lnTo>
                        <a:pt x="1489" y="180"/>
                      </a:lnTo>
                      <a:lnTo>
                        <a:pt x="1507" y="195"/>
                      </a:lnTo>
                      <a:lnTo>
                        <a:pt x="1528" y="199"/>
                      </a:lnTo>
                      <a:lnTo>
                        <a:pt x="1545" y="195"/>
                      </a:lnTo>
                      <a:lnTo>
                        <a:pt x="1559" y="187"/>
                      </a:lnTo>
                      <a:lnTo>
                        <a:pt x="1565" y="190"/>
                      </a:lnTo>
                      <a:lnTo>
                        <a:pt x="1565" y="195"/>
                      </a:lnTo>
                      <a:lnTo>
                        <a:pt x="1556" y="203"/>
                      </a:lnTo>
                      <a:lnTo>
                        <a:pt x="1540" y="232"/>
                      </a:lnTo>
                      <a:lnTo>
                        <a:pt x="1529" y="246"/>
                      </a:lnTo>
                      <a:lnTo>
                        <a:pt x="1525" y="255"/>
                      </a:lnTo>
                      <a:lnTo>
                        <a:pt x="1525" y="271"/>
                      </a:lnTo>
                      <a:lnTo>
                        <a:pt x="1528" y="288"/>
                      </a:lnTo>
                      <a:lnTo>
                        <a:pt x="1525" y="308"/>
                      </a:lnTo>
                      <a:lnTo>
                        <a:pt x="1517" y="325"/>
                      </a:lnTo>
                      <a:lnTo>
                        <a:pt x="1517" y="347"/>
                      </a:lnTo>
                      <a:lnTo>
                        <a:pt x="1520" y="367"/>
                      </a:lnTo>
                      <a:lnTo>
                        <a:pt x="1529" y="382"/>
                      </a:lnTo>
                      <a:lnTo>
                        <a:pt x="1570" y="391"/>
                      </a:lnTo>
                      <a:lnTo>
                        <a:pt x="1595" y="389"/>
                      </a:lnTo>
                      <a:lnTo>
                        <a:pt x="1620" y="382"/>
                      </a:lnTo>
                      <a:lnTo>
                        <a:pt x="1638" y="369"/>
                      </a:lnTo>
                      <a:lnTo>
                        <a:pt x="1667" y="348"/>
                      </a:lnTo>
                      <a:lnTo>
                        <a:pt x="1673" y="362"/>
                      </a:lnTo>
                      <a:lnTo>
                        <a:pt x="1686" y="377"/>
                      </a:lnTo>
                      <a:lnTo>
                        <a:pt x="1715" y="401"/>
                      </a:lnTo>
                      <a:lnTo>
                        <a:pt x="1721" y="415"/>
                      </a:lnTo>
                      <a:lnTo>
                        <a:pt x="1719" y="428"/>
                      </a:lnTo>
                      <a:lnTo>
                        <a:pt x="1719" y="437"/>
                      </a:lnTo>
                      <a:lnTo>
                        <a:pt x="1733" y="445"/>
                      </a:lnTo>
                      <a:lnTo>
                        <a:pt x="1734" y="458"/>
                      </a:lnTo>
                      <a:lnTo>
                        <a:pt x="1724" y="464"/>
                      </a:lnTo>
                      <a:lnTo>
                        <a:pt x="1707" y="461"/>
                      </a:lnTo>
                      <a:lnTo>
                        <a:pt x="1688" y="456"/>
                      </a:lnTo>
                      <a:lnTo>
                        <a:pt x="1663" y="461"/>
                      </a:lnTo>
                      <a:lnTo>
                        <a:pt x="1638" y="465"/>
                      </a:lnTo>
                      <a:lnTo>
                        <a:pt x="1613" y="464"/>
                      </a:lnTo>
                      <a:lnTo>
                        <a:pt x="1592" y="468"/>
                      </a:lnTo>
                      <a:lnTo>
                        <a:pt x="1576" y="482"/>
                      </a:lnTo>
                      <a:lnTo>
                        <a:pt x="1525" y="538"/>
                      </a:lnTo>
                      <a:lnTo>
                        <a:pt x="1507" y="550"/>
                      </a:lnTo>
                      <a:lnTo>
                        <a:pt x="1500" y="552"/>
                      </a:lnTo>
                      <a:lnTo>
                        <a:pt x="1489" y="551"/>
                      </a:lnTo>
                      <a:lnTo>
                        <a:pt x="1477" y="551"/>
                      </a:lnTo>
                      <a:lnTo>
                        <a:pt x="1457" y="573"/>
                      </a:lnTo>
                      <a:lnTo>
                        <a:pt x="1438" y="594"/>
                      </a:lnTo>
                      <a:lnTo>
                        <a:pt x="1411" y="611"/>
                      </a:lnTo>
                      <a:lnTo>
                        <a:pt x="1393" y="611"/>
                      </a:lnTo>
                      <a:lnTo>
                        <a:pt x="1372" y="606"/>
                      </a:lnTo>
                      <a:lnTo>
                        <a:pt x="1360" y="593"/>
                      </a:lnTo>
                      <a:lnTo>
                        <a:pt x="1344" y="588"/>
                      </a:lnTo>
                      <a:lnTo>
                        <a:pt x="1323" y="594"/>
                      </a:lnTo>
                      <a:lnTo>
                        <a:pt x="1314" y="611"/>
                      </a:lnTo>
                      <a:lnTo>
                        <a:pt x="1301" y="631"/>
                      </a:lnTo>
                      <a:lnTo>
                        <a:pt x="1298" y="646"/>
                      </a:lnTo>
                      <a:lnTo>
                        <a:pt x="1320" y="675"/>
                      </a:lnTo>
                      <a:lnTo>
                        <a:pt x="1323" y="689"/>
                      </a:lnTo>
                      <a:lnTo>
                        <a:pt x="1265" y="738"/>
                      </a:lnTo>
                      <a:lnTo>
                        <a:pt x="1255" y="752"/>
                      </a:lnTo>
                      <a:lnTo>
                        <a:pt x="1235" y="767"/>
                      </a:lnTo>
                      <a:lnTo>
                        <a:pt x="1221" y="776"/>
                      </a:lnTo>
                      <a:lnTo>
                        <a:pt x="1191" y="787"/>
                      </a:lnTo>
                      <a:lnTo>
                        <a:pt x="1163" y="789"/>
                      </a:lnTo>
                      <a:lnTo>
                        <a:pt x="1158" y="792"/>
                      </a:lnTo>
                      <a:lnTo>
                        <a:pt x="1130" y="783"/>
                      </a:lnTo>
                      <a:lnTo>
                        <a:pt x="1114" y="789"/>
                      </a:lnTo>
                      <a:lnTo>
                        <a:pt x="1088" y="788"/>
                      </a:lnTo>
                      <a:lnTo>
                        <a:pt x="1070" y="795"/>
                      </a:lnTo>
                      <a:lnTo>
                        <a:pt x="1033" y="802"/>
                      </a:lnTo>
                      <a:lnTo>
                        <a:pt x="1022" y="805"/>
                      </a:lnTo>
                      <a:lnTo>
                        <a:pt x="1014" y="815"/>
                      </a:lnTo>
                      <a:lnTo>
                        <a:pt x="1003" y="819"/>
                      </a:lnTo>
                      <a:lnTo>
                        <a:pt x="990" y="821"/>
                      </a:lnTo>
                      <a:lnTo>
                        <a:pt x="960" y="832"/>
                      </a:lnTo>
                      <a:lnTo>
                        <a:pt x="942" y="847"/>
                      </a:lnTo>
                      <a:lnTo>
                        <a:pt x="932" y="848"/>
                      </a:lnTo>
                      <a:lnTo>
                        <a:pt x="920" y="845"/>
                      </a:lnTo>
                      <a:lnTo>
                        <a:pt x="909" y="836"/>
                      </a:lnTo>
                      <a:lnTo>
                        <a:pt x="903" y="834"/>
                      </a:lnTo>
                      <a:lnTo>
                        <a:pt x="874" y="832"/>
                      </a:lnTo>
                      <a:lnTo>
                        <a:pt x="852" y="825"/>
                      </a:lnTo>
                      <a:lnTo>
                        <a:pt x="834" y="815"/>
                      </a:lnTo>
                      <a:lnTo>
                        <a:pt x="801" y="805"/>
                      </a:lnTo>
                      <a:lnTo>
                        <a:pt x="778" y="795"/>
                      </a:lnTo>
                      <a:lnTo>
                        <a:pt x="763" y="782"/>
                      </a:lnTo>
                      <a:lnTo>
                        <a:pt x="754" y="771"/>
                      </a:lnTo>
                      <a:lnTo>
                        <a:pt x="744" y="767"/>
                      </a:lnTo>
                      <a:lnTo>
                        <a:pt x="710" y="756"/>
                      </a:lnTo>
                      <a:lnTo>
                        <a:pt x="693" y="754"/>
                      </a:lnTo>
                      <a:lnTo>
                        <a:pt x="675" y="756"/>
                      </a:lnTo>
                      <a:lnTo>
                        <a:pt x="527" y="766"/>
                      </a:lnTo>
                      <a:lnTo>
                        <a:pt x="506" y="766"/>
                      </a:lnTo>
                      <a:lnTo>
                        <a:pt x="492" y="760"/>
                      </a:lnTo>
                      <a:lnTo>
                        <a:pt x="476" y="746"/>
                      </a:lnTo>
                      <a:lnTo>
                        <a:pt x="463" y="730"/>
                      </a:lnTo>
                      <a:lnTo>
                        <a:pt x="451" y="716"/>
                      </a:lnTo>
                      <a:lnTo>
                        <a:pt x="439" y="696"/>
                      </a:lnTo>
                      <a:lnTo>
                        <a:pt x="432" y="676"/>
                      </a:lnTo>
                      <a:lnTo>
                        <a:pt x="421" y="659"/>
                      </a:lnTo>
                      <a:lnTo>
                        <a:pt x="410" y="644"/>
                      </a:lnTo>
                      <a:lnTo>
                        <a:pt x="398" y="643"/>
                      </a:lnTo>
                      <a:lnTo>
                        <a:pt x="385" y="633"/>
                      </a:lnTo>
                      <a:lnTo>
                        <a:pt x="353" y="625"/>
                      </a:lnTo>
                      <a:lnTo>
                        <a:pt x="337" y="616"/>
                      </a:lnTo>
                      <a:lnTo>
                        <a:pt x="322" y="606"/>
                      </a:lnTo>
                      <a:lnTo>
                        <a:pt x="292" y="596"/>
                      </a:lnTo>
                      <a:lnTo>
                        <a:pt x="280" y="590"/>
                      </a:lnTo>
                      <a:lnTo>
                        <a:pt x="267" y="590"/>
                      </a:lnTo>
                      <a:lnTo>
                        <a:pt x="254" y="595"/>
                      </a:lnTo>
                      <a:lnTo>
                        <a:pt x="245" y="595"/>
                      </a:lnTo>
                      <a:lnTo>
                        <a:pt x="211" y="584"/>
                      </a:lnTo>
                      <a:lnTo>
                        <a:pt x="180" y="581"/>
                      </a:lnTo>
                      <a:lnTo>
                        <a:pt x="164" y="574"/>
                      </a:lnTo>
                      <a:lnTo>
                        <a:pt x="157" y="567"/>
                      </a:lnTo>
                      <a:lnTo>
                        <a:pt x="158" y="552"/>
                      </a:lnTo>
                      <a:lnTo>
                        <a:pt x="166" y="536"/>
                      </a:lnTo>
                      <a:lnTo>
                        <a:pt x="167" y="517"/>
                      </a:lnTo>
                      <a:lnTo>
                        <a:pt x="163" y="498"/>
                      </a:lnTo>
                      <a:lnTo>
                        <a:pt x="163" y="470"/>
                      </a:lnTo>
                      <a:lnTo>
                        <a:pt x="151" y="427"/>
                      </a:lnTo>
                      <a:lnTo>
                        <a:pt x="141" y="410"/>
                      </a:lnTo>
                      <a:lnTo>
                        <a:pt x="134" y="388"/>
                      </a:lnTo>
                      <a:lnTo>
                        <a:pt x="124" y="372"/>
                      </a:lnTo>
                      <a:lnTo>
                        <a:pt x="108" y="369"/>
                      </a:lnTo>
                      <a:lnTo>
                        <a:pt x="93" y="361"/>
                      </a:lnTo>
                      <a:lnTo>
                        <a:pt x="77" y="358"/>
                      </a:lnTo>
                      <a:lnTo>
                        <a:pt x="70" y="369"/>
                      </a:lnTo>
                      <a:lnTo>
                        <a:pt x="55" y="358"/>
                      </a:lnTo>
                      <a:lnTo>
                        <a:pt x="44" y="337"/>
                      </a:lnTo>
                      <a:lnTo>
                        <a:pt x="14" y="314"/>
                      </a:lnTo>
                      <a:lnTo>
                        <a:pt x="3" y="288"/>
                      </a:lnTo>
                      <a:lnTo>
                        <a:pt x="0" y="277"/>
                      </a:lnTo>
                      <a:lnTo>
                        <a:pt x="0" y="273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46" name="Freeform 162"/>
                <p:cNvSpPr>
                  <a:spLocks/>
                </p:cNvSpPr>
                <p:nvPr/>
              </p:nvSpPr>
              <p:spPr bwMode="gray">
                <a:xfrm>
                  <a:off x="6456178" y="2630926"/>
                  <a:ext cx="45205" cy="40769"/>
                </a:xfrm>
                <a:custGeom>
                  <a:avLst/>
                  <a:gdLst>
                    <a:gd name="T0" fmla="*/ 9575 w 127"/>
                    <a:gd name="T1" fmla="*/ 418 h 113"/>
                    <a:gd name="T2" fmla="*/ 9119 w 127"/>
                    <a:gd name="T3" fmla="*/ 418 h 113"/>
                    <a:gd name="T4" fmla="*/ 9575 w 127"/>
                    <a:gd name="T5" fmla="*/ 0 h 113"/>
                    <a:gd name="T6" fmla="*/ 10487 w 127"/>
                    <a:gd name="T7" fmla="*/ 418 h 113"/>
                    <a:gd name="T8" fmla="*/ 11399 w 127"/>
                    <a:gd name="T9" fmla="*/ 837 h 113"/>
                    <a:gd name="T10" fmla="*/ 11855 w 127"/>
                    <a:gd name="T11" fmla="*/ 1674 h 113"/>
                    <a:gd name="T12" fmla="*/ 11855 w 127"/>
                    <a:gd name="T13" fmla="*/ 2092 h 113"/>
                    <a:gd name="T14" fmla="*/ 10943 w 127"/>
                    <a:gd name="T15" fmla="*/ 3348 h 113"/>
                    <a:gd name="T16" fmla="*/ 9575 w 127"/>
                    <a:gd name="T17" fmla="*/ 5022 h 113"/>
                    <a:gd name="T18" fmla="*/ 9119 w 127"/>
                    <a:gd name="T19" fmla="*/ 6696 h 113"/>
                    <a:gd name="T20" fmla="*/ 8663 w 127"/>
                    <a:gd name="T21" fmla="*/ 7114 h 113"/>
                    <a:gd name="T22" fmla="*/ 7295 w 127"/>
                    <a:gd name="T23" fmla="*/ 8370 h 113"/>
                    <a:gd name="T24" fmla="*/ 6383 w 127"/>
                    <a:gd name="T25" fmla="*/ 8788 h 113"/>
                    <a:gd name="T26" fmla="*/ 5472 w 127"/>
                    <a:gd name="T27" fmla="*/ 9625 h 113"/>
                    <a:gd name="T28" fmla="*/ 5016 w 127"/>
                    <a:gd name="T29" fmla="*/ 9625 h 113"/>
                    <a:gd name="T30" fmla="*/ 4560 w 127"/>
                    <a:gd name="T31" fmla="*/ 9207 h 113"/>
                    <a:gd name="T32" fmla="*/ 912 w 127"/>
                    <a:gd name="T33" fmla="*/ 8370 h 113"/>
                    <a:gd name="T34" fmla="*/ 456 w 127"/>
                    <a:gd name="T35" fmla="*/ 7533 h 113"/>
                    <a:gd name="T36" fmla="*/ 0 w 127"/>
                    <a:gd name="T37" fmla="*/ 4185 h 113"/>
                    <a:gd name="T38" fmla="*/ 456 w 127"/>
                    <a:gd name="T39" fmla="*/ 3766 h 113"/>
                    <a:gd name="T40" fmla="*/ 1824 w 127"/>
                    <a:gd name="T41" fmla="*/ 2511 h 113"/>
                    <a:gd name="T42" fmla="*/ 2736 w 127"/>
                    <a:gd name="T43" fmla="*/ 2092 h 113"/>
                    <a:gd name="T44" fmla="*/ 2736 w 127"/>
                    <a:gd name="T45" fmla="*/ 1674 h 113"/>
                    <a:gd name="T46" fmla="*/ 3648 w 127"/>
                    <a:gd name="T47" fmla="*/ 1255 h 113"/>
                    <a:gd name="T48" fmla="*/ 4560 w 127"/>
                    <a:gd name="T49" fmla="*/ 837 h 113"/>
                    <a:gd name="T50" fmla="*/ 7295 w 127"/>
                    <a:gd name="T51" fmla="*/ 837 h 113"/>
                    <a:gd name="T52" fmla="*/ 7751 w 127"/>
                    <a:gd name="T53" fmla="*/ 418 h 113"/>
                    <a:gd name="T54" fmla="*/ 8663 w 127"/>
                    <a:gd name="T55" fmla="*/ 418 h 113"/>
                    <a:gd name="T56" fmla="*/ 9119 w 127"/>
                    <a:gd name="T57" fmla="*/ 418 h 113"/>
                    <a:gd name="T58" fmla="*/ 9575 w 127"/>
                    <a:gd name="T59" fmla="*/ 418 h 113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127"/>
                    <a:gd name="T91" fmla="*/ 0 h 113"/>
                    <a:gd name="T92" fmla="*/ 127 w 127"/>
                    <a:gd name="T93" fmla="*/ 113 h 113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127" h="113">
                      <a:moveTo>
                        <a:pt x="102" y="5"/>
                      </a:moveTo>
                      <a:lnTo>
                        <a:pt x="100" y="5"/>
                      </a:lnTo>
                      <a:lnTo>
                        <a:pt x="105" y="0"/>
                      </a:lnTo>
                      <a:lnTo>
                        <a:pt x="112" y="5"/>
                      </a:lnTo>
                      <a:lnTo>
                        <a:pt x="123" y="8"/>
                      </a:lnTo>
                      <a:lnTo>
                        <a:pt x="127" y="20"/>
                      </a:lnTo>
                      <a:lnTo>
                        <a:pt x="127" y="27"/>
                      </a:lnTo>
                      <a:lnTo>
                        <a:pt x="117" y="37"/>
                      </a:lnTo>
                      <a:lnTo>
                        <a:pt x="105" y="61"/>
                      </a:lnTo>
                      <a:lnTo>
                        <a:pt x="100" y="79"/>
                      </a:lnTo>
                      <a:lnTo>
                        <a:pt x="91" y="85"/>
                      </a:lnTo>
                      <a:lnTo>
                        <a:pt x="78" y="99"/>
                      </a:lnTo>
                      <a:lnTo>
                        <a:pt x="66" y="101"/>
                      </a:lnTo>
                      <a:lnTo>
                        <a:pt x="59" y="113"/>
                      </a:lnTo>
                      <a:lnTo>
                        <a:pt x="53" y="112"/>
                      </a:lnTo>
                      <a:lnTo>
                        <a:pt x="48" y="109"/>
                      </a:lnTo>
                      <a:lnTo>
                        <a:pt x="11" y="97"/>
                      </a:lnTo>
                      <a:lnTo>
                        <a:pt x="3" y="86"/>
                      </a:lnTo>
                      <a:lnTo>
                        <a:pt x="0" y="50"/>
                      </a:lnTo>
                      <a:lnTo>
                        <a:pt x="6" y="45"/>
                      </a:lnTo>
                      <a:lnTo>
                        <a:pt x="19" y="31"/>
                      </a:lnTo>
                      <a:lnTo>
                        <a:pt x="28" y="24"/>
                      </a:lnTo>
                      <a:lnTo>
                        <a:pt x="30" y="20"/>
                      </a:lnTo>
                      <a:lnTo>
                        <a:pt x="37" y="15"/>
                      </a:lnTo>
                      <a:lnTo>
                        <a:pt x="49" y="10"/>
                      </a:lnTo>
                      <a:lnTo>
                        <a:pt x="78" y="9"/>
                      </a:lnTo>
                      <a:lnTo>
                        <a:pt x="85" y="4"/>
                      </a:lnTo>
                      <a:lnTo>
                        <a:pt x="92" y="5"/>
                      </a:lnTo>
                      <a:lnTo>
                        <a:pt x="97" y="4"/>
                      </a:lnTo>
                      <a:lnTo>
                        <a:pt x="102" y="5"/>
                      </a:lnTo>
                      <a:close/>
                    </a:path>
                  </a:pathLst>
                </a:custGeom>
                <a:solidFill>
                  <a:schemeClr val="bg2">
                    <a:lumMod val="40000"/>
                    <a:lumOff val="60000"/>
                  </a:schemeClr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47" name="Freeform 163"/>
                <p:cNvSpPr>
                  <a:spLocks/>
                </p:cNvSpPr>
                <p:nvPr/>
              </p:nvSpPr>
              <p:spPr bwMode="gray">
                <a:xfrm>
                  <a:off x="5779355" y="1807399"/>
                  <a:ext cx="1184126" cy="822168"/>
                </a:xfrm>
                <a:custGeom>
                  <a:avLst/>
                  <a:gdLst>
                    <a:gd name="T0" fmla="*/ 195780 w 3356"/>
                    <a:gd name="T1" fmla="*/ 180105 h 2335"/>
                    <a:gd name="T2" fmla="*/ 190428 w 3356"/>
                    <a:gd name="T3" fmla="*/ 184628 h 2335"/>
                    <a:gd name="T4" fmla="*/ 179725 w 3356"/>
                    <a:gd name="T5" fmla="*/ 191618 h 2335"/>
                    <a:gd name="T6" fmla="*/ 169468 w 3356"/>
                    <a:gd name="T7" fmla="*/ 185861 h 2335"/>
                    <a:gd name="T8" fmla="*/ 156089 w 3356"/>
                    <a:gd name="T9" fmla="*/ 178460 h 2335"/>
                    <a:gd name="T10" fmla="*/ 141372 w 3356"/>
                    <a:gd name="T11" fmla="*/ 180516 h 2335"/>
                    <a:gd name="T12" fmla="*/ 134682 w 3356"/>
                    <a:gd name="T13" fmla="*/ 184628 h 2335"/>
                    <a:gd name="T14" fmla="*/ 119073 w 3356"/>
                    <a:gd name="T15" fmla="*/ 174348 h 2335"/>
                    <a:gd name="T16" fmla="*/ 120857 w 3356"/>
                    <a:gd name="T17" fmla="*/ 156255 h 2335"/>
                    <a:gd name="T18" fmla="*/ 110600 w 3356"/>
                    <a:gd name="T19" fmla="*/ 147620 h 2335"/>
                    <a:gd name="T20" fmla="*/ 92315 w 3356"/>
                    <a:gd name="T21" fmla="*/ 154199 h 2335"/>
                    <a:gd name="T22" fmla="*/ 78490 w 3356"/>
                    <a:gd name="T23" fmla="*/ 152966 h 2335"/>
                    <a:gd name="T24" fmla="*/ 70909 w 3356"/>
                    <a:gd name="T25" fmla="*/ 154610 h 2335"/>
                    <a:gd name="T26" fmla="*/ 61544 w 3356"/>
                    <a:gd name="T27" fmla="*/ 154610 h 2335"/>
                    <a:gd name="T28" fmla="*/ 53962 w 3356"/>
                    <a:gd name="T29" fmla="*/ 150910 h 2335"/>
                    <a:gd name="T30" fmla="*/ 49502 w 3356"/>
                    <a:gd name="T31" fmla="*/ 148442 h 2335"/>
                    <a:gd name="T32" fmla="*/ 37907 w 3356"/>
                    <a:gd name="T33" fmla="*/ 142274 h 2335"/>
                    <a:gd name="T34" fmla="*/ 31218 w 3356"/>
                    <a:gd name="T35" fmla="*/ 139807 h 2335"/>
                    <a:gd name="T36" fmla="*/ 25866 w 3356"/>
                    <a:gd name="T37" fmla="*/ 137751 h 2335"/>
                    <a:gd name="T38" fmla="*/ 24974 w 3356"/>
                    <a:gd name="T39" fmla="*/ 129939 h 2335"/>
                    <a:gd name="T40" fmla="*/ 28542 w 3356"/>
                    <a:gd name="T41" fmla="*/ 128705 h 2335"/>
                    <a:gd name="T42" fmla="*/ 26758 w 3356"/>
                    <a:gd name="T43" fmla="*/ 122537 h 2335"/>
                    <a:gd name="T44" fmla="*/ 32110 w 3356"/>
                    <a:gd name="T45" fmla="*/ 115958 h 2335"/>
                    <a:gd name="T46" fmla="*/ 28988 w 3356"/>
                    <a:gd name="T47" fmla="*/ 112668 h 2335"/>
                    <a:gd name="T48" fmla="*/ 20515 w 3356"/>
                    <a:gd name="T49" fmla="*/ 114313 h 2335"/>
                    <a:gd name="T50" fmla="*/ 11149 w 3356"/>
                    <a:gd name="T51" fmla="*/ 111435 h 2335"/>
                    <a:gd name="T52" fmla="*/ 8027 w 3356"/>
                    <a:gd name="T53" fmla="*/ 106500 h 2335"/>
                    <a:gd name="T54" fmla="*/ 5798 w 3356"/>
                    <a:gd name="T55" fmla="*/ 99510 h 2335"/>
                    <a:gd name="T56" fmla="*/ 9365 w 3356"/>
                    <a:gd name="T57" fmla="*/ 85940 h 2335"/>
                    <a:gd name="T58" fmla="*/ 32556 w 3356"/>
                    <a:gd name="T59" fmla="*/ 75660 h 2335"/>
                    <a:gd name="T60" fmla="*/ 41921 w 3356"/>
                    <a:gd name="T61" fmla="*/ 57157 h 2335"/>
                    <a:gd name="T62" fmla="*/ 58422 w 3356"/>
                    <a:gd name="T63" fmla="*/ 41531 h 2335"/>
                    <a:gd name="T64" fmla="*/ 76260 w 3356"/>
                    <a:gd name="T65" fmla="*/ 39064 h 2335"/>
                    <a:gd name="T66" fmla="*/ 91869 w 3356"/>
                    <a:gd name="T67" fmla="*/ 58390 h 2335"/>
                    <a:gd name="T68" fmla="*/ 114614 w 3356"/>
                    <a:gd name="T69" fmla="*/ 72371 h 2335"/>
                    <a:gd name="T70" fmla="*/ 153413 w 3356"/>
                    <a:gd name="T71" fmla="*/ 79361 h 2335"/>
                    <a:gd name="T72" fmla="*/ 182401 w 3356"/>
                    <a:gd name="T73" fmla="*/ 70315 h 2335"/>
                    <a:gd name="T74" fmla="*/ 203807 w 3356"/>
                    <a:gd name="T75" fmla="*/ 54689 h 2335"/>
                    <a:gd name="T76" fmla="*/ 218970 w 3356"/>
                    <a:gd name="T77" fmla="*/ 39475 h 2335"/>
                    <a:gd name="T78" fmla="*/ 209159 w 3356"/>
                    <a:gd name="T79" fmla="*/ 25494 h 2335"/>
                    <a:gd name="T80" fmla="*/ 228336 w 3356"/>
                    <a:gd name="T81" fmla="*/ 13158 h 2335"/>
                    <a:gd name="T82" fmla="*/ 244390 w 3356"/>
                    <a:gd name="T83" fmla="*/ 0 h 2335"/>
                    <a:gd name="T84" fmla="*/ 259107 w 3356"/>
                    <a:gd name="T85" fmla="*/ 12747 h 2335"/>
                    <a:gd name="T86" fmla="*/ 277838 w 3356"/>
                    <a:gd name="T87" fmla="*/ 32485 h 2335"/>
                    <a:gd name="T88" fmla="*/ 296569 w 3356"/>
                    <a:gd name="T89" fmla="*/ 36185 h 2335"/>
                    <a:gd name="T90" fmla="*/ 285419 w 3356"/>
                    <a:gd name="T91" fmla="*/ 57157 h 2335"/>
                    <a:gd name="T92" fmla="*/ 267581 w 3356"/>
                    <a:gd name="T93" fmla="*/ 77305 h 2335"/>
                    <a:gd name="T94" fmla="*/ 243498 w 3356"/>
                    <a:gd name="T95" fmla="*/ 90052 h 2335"/>
                    <a:gd name="T96" fmla="*/ 233687 w 3356"/>
                    <a:gd name="T97" fmla="*/ 92108 h 2335"/>
                    <a:gd name="T98" fmla="*/ 226998 w 3356"/>
                    <a:gd name="T99" fmla="*/ 88819 h 2335"/>
                    <a:gd name="T100" fmla="*/ 218078 w 3356"/>
                    <a:gd name="T101" fmla="*/ 100332 h 2335"/>
                    <a:gd name="T102" fmla="*/ 233241 w 3356"/>
                    <a:gd name="T103" fmla="*/ 103211 h 2335"/>
                    <a:gd name="T104" fmla="*/ 235917 w 3356"/>
                    <a:gd name="T105" fmla="*/ 106911 h 2335"/>
                    <a:gd name="T106" fmla="*/ 225214 w 3356"/>
                    <a:gd name="T107" fmla="*/ 115547 h 2335"/>
                    <a:gd name="T108" fmla="*/ 236363 w 3356"/>
                    <a:gd name="T109" fmla="*/ 134873 h 2335"/>
                    <a:gd name="T110" fmla="*/ 235917 w 3356"/>
                    <a:gd name="T111" fmla="*/ 137751 h 2335"/>
                    <a:gd name="T112" fmla="*/ 234133 w 3356"/>
                    <a:gd name="T113" fmla="*/ 143508 h 2335"/>
                    <a:gd name="T114" fmla="*/ 234579 w 3356"/>
                    <a:gd name="T115" fmla="*/ 149265 h 2335"/>
                    <a:gd name="T116" fmla="*/ 228336 w 3356"/>
                    <a:gd name="T117" fmla="*/ 159134 h 2335"/>
                    <a:gd name="T118" fmla="*/ 224322 w 3356"/>
                    <a:gd name="T119" fmla="*/ 166946 h 2335"/>
                    <a:gd name="T120" fmla="*/ 217632 w 3356"/>
                    <a:gd name="T121" fmla="*/ 172292 h 2335"/>
                    <a:gd name="T122" fmla="*/ 209159 w 3356"/>
                    <a:gd name="T123" fmla="*/ 178871 h 2335"/>
                    <a:gd name="T124" fmla="*/ 200686 w 3356"/>
                    <a:gd name="T125" fmla="*/ 180927 h 2335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3356"/>
                    <a:gd name="T190" fmla="*/ 0 h 2335"/>
                    <a:gd name="T191" fmla="*/ 3356 w 3356"/>
                    <a:gd name="T192" fmla="*/ 2335 h 2335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3356" h="2335">
                      <a:moveTo>
                        <a:pt x="2243" y="2202"/>
                      </a:moveTo>
                      <a:lnTo>
                        <a:pt x="2240" y="2209"/>
                      </a:lnTo>
                      <a:lnTo>
                        <a:pt x="2239" y="2206"/>
                      </a:lnTo>
                      <a:lnTo>
                        <a:pt x="2239" y="2202"/>
                      </a:lnTo>
                      <a:lnTo>
                        <a:pt x="2235" y="2199"/>
                      </a:lnTo>
                      <a:lnTo>
                        <a:pt x="2226" y="2201"/>
                      </a:lnTo>
                      <a:lnTo>
                        <a:pt x="2225" y="2202"/>
                      </a:lnTo>
                      <a:lnTo>
                        <a:pt x="2224" y="2202"/>
                      </a:lnTo>
                      <a:lnTo>
                        <a:pt x="2224" y="2205"/>
                      </a:lnTo>
                      <a:lnTo>
                        <a:pt x="2229" y="2211"/>
                      </a:lnTo>
                      <a:lnTo>
                        <a:pt x="2224" y="2212"/>
                      </a:lnTo>
                      <a:lnTo>
                        <a:pt x="2211" y="2213"/>
                      </a:lnTo>
                      <a:lnTo>
                        <a:pt x="2210" y="2209"/>
                      </a:lnTo>
                      <a:lnTo>
                        <a:pt x="2211" y="2206"/>
                      </a:lnTo>
                      <a:lnTo>
                        <a:pt x="2209" y="2202"/>
                      </a:lnTo>
                      <a:lnTo>
                        <a:pt x="2199" y="2194"/>
                      </a:lnTo>
                      <a:lnTo>
                        <a:pt x="2191" y="2191"/>
                      </a:lnTo>
                      <a:lnTo>
                        <a:pt x="2188" y="2185"/>
                      </a:lnTo>
                      <a:lnTo>
                        <a:pt x="2186" y="2198"/>
                      </a:lnTo>
                      <a:lnTo>
                        <a:pt x="2186" y="2209"/>
                      </a:lnTo>
                      <a:lnTo>
                        <a:pt x="2187" y="2216"/>
                      </a:lnTo>
                      <a:lnTo>
                        <a:pt x="2187" y="2218"/>
                      </a:lnTo>
                      <a:lnTo>
                        <a:pt x="2183" y="2220"/>
                      </a:lnTo>
                      <a:lnTo>
                        <a:pt x="2180" y="2220"/>
                      </a:lnTo>
                      <a:lnTo>
                        <a:pt x="2171" y="2209"/>
                      </a:lnTo>
                      <a:lnTo>
                        <a:pt x="2164" y="2204"/>
                      </a:lnTo>
                      <a:lnTo>
                        <a:pt x="2161" y="2198"/>
                      </a:lnTo>
                      <a:lnTo>
                        <a:pt x="2155" y="2215"/>
                      </a:lnTo>
                      <a:lnTo>
                        <a:pt x="2155" y="2222"/>
                      </a:lnTo>
                      <a:lnTo>
                        <a:pt x="2156" y="2227"/>
                      </a:lnTo>
                      <a:lnTo>
                        <a:pt x="2156" y="2236"/>
                      </a:lnTo>
                      <a:lnTo>
                        <a:pt x="2153" y="2239"/>
                      </a:lnTo>
                      <a:lnTo>
                        <a:pt x="2149" y="2237"/>
                      </a:lnTo>
                      <a:lnTo>
                        <a:pt x="2134" y="2244"/>
                      </a:lnTo>
                      <a:lnTo>
                        <a:pt x="2123" y="2245"/>
                      </a:lnTo>
                      <a:lnTo>
                        <a:pt x="2116" y="2249"/>
                      </a:lnTo>
                      <a:lnTo>
                        <a:pt x="2107" y="2249"/>
                      </a:lnTo>
                      <a:lnTo>
                        <a:pt x="2105" y="2247"/>
                      </a:lnTo>
                      <a:lnTo>
                        <a:pt x="2094" y="2249"/>
                      </a:lnTo>
                      <a:lnTo>
                        <a:pt x="2084" y="2258"/>
                      </a:lnTo>
                      <a:lnTo>
                        <a:pt x="2073" y="2261"/>
                      </a:lnTo>
                      <a:lnTo>
                        <a:pt x="2059" y="2263"/>
                      </a:lnTo>
                      <a:lnTo>
                        <a:pt x="2051" y="2261"/>
                      </a:lnTo>
                      <a:lnTo>
                        <a:pt x="2048" y="2265"/>
                      </a:lnTo>
                      <a:lnTo>
                        <a:pt x="2038" y="2270"/>
                      </a:lnTo>
                      <a:lnTo>
                        <a:pt x="2024" y="2274"/>
                      </a:lnTo>
                      <a:lnTo>
                        <a:pt x="2015" y="2271"/>
                      </a:lnTo>
                      <a:lnTo>
                        <a:pt x="2004" y="2297"/>
                      </a:lnTo>
                      <a:lnTo>
                        <a:pt x="2011" y="2309"/>
                      </a:lnTo>
                      <a:lnTo>
                        <a:pt x="2015" y="2317"/>
                      </a:lnTo>
                      <a:lnTo>
                        <a:pt x="2015" y="2329"/>
                      </a:lnTo>
                      <a:lnTo>
                        <a:pt x="1999" y="2335"/>
                      </a:lnTo>
                      <a:lnTo>
                        <a:pt x="1988" y="2329"/>
                      </a:lnTo>
                      <a:lnTo>
                        <a:pt x="1973" y="2298"/>
                      </a:lnTo>
                      <a:lnTo>
                        <a:pt x="1971" y="2291"/>
                      </a:lnTo>
                      <a:lnTo>
                        <a:pt x="1972" y="2288"/>
                      </a:lnTo>
                      <a:lnTo>
                        <a:pt x="1978" y="2266"/>
                      </a:lnTo>
                      <a:lnTo>
                        <a:pt x="1974" y="2259"/>
                      </a:lnTo>
                      <a:lnTo>
                        <a:pt x="1968" y="2261"/>
                      </a:lnTo>
                      <a:lnTo>
                        <a:pt x="1958" y="2269"/>
                      </a:lnTo>
                      <a:lnTo>
                        <a:pt x="1947" y="2269"/>
                      </a:lnTo>
                      <a:lnTo>
                        <a:pt x="1942" y="2264"/>
                      </a:lnTo>
                      <a:lnTo>
                        <a:pt x="1941" y="2259"/>
                      </a:lnTo>
                      <a:lnTo>
                        <a:pt x="1923" y="2254"/>
                      </a:lnTo>
                      <a:lnTo>
                        <a:pt x="1915" y="2252"/>
                      </a:lnTo>
                      <a:lnTo>
                        <a:pt x="1911" y="2252"/>
                      </a:lnTo>
                      <a:lnTo>
                        <a:pt x="1907" y="2260"/>
                      </a:lnTo>
                      <a:lnTo>
                        <a:pt x="1898" y="2261"/>
                      </a:lnTo>
                      <a:lnTo>
                        <a:pt x="1898" y="2269"/>
                      </a:lnTo>
                      <a:lnTo>
                        <a:pt x="1895" y="2258"/>
                      </a:lnTo>
                      <a:lnTo>
                        <a:pt x="1890" y="2261"/>
                      </a:lnTo>
                      <a:lnTo>
                        <a:pt x="1881" y="2265"/>
                      </a:lnTo>
                      <a:lnTo>
                        <a:pt x="1874" y="2260"/>
                      </a:lnTo>
                      <a:lnTo>
                        <a:pt x="1855" y="2261"/>
                      </a:lnTo>
                      <a:lnTo>
                        <a:pt x="1845" y="2259"/>
                      </a:lnTo>
                      <a:lnTo>
                        <a:pt x="1840" y="2254"/>
                      </a:lnTo>
                      <a:lnTo>
                        <a:pt x="1817" y="2240"/>
                      </a:lnTo>
                      <a:lnTo>
                        <a:pt x="1810" y="2228"/>
                      </a:lnTo>
                      <a:lnTo>
                        <a:pt x="1805" y="2213"/>
                      </a:lnTo>
                      <a:lnTo>
                        <a:pt x="1810" y="2198"/>
                      </a:lnTo>
                      <a:lnTo>
                        <a:pt x="1806" y="2189"/>
                      </a:lnTo>
                      <a:lnTo>
                        <a:pt x="1786" y="2188"/>
                      </a:lnTo>
                      <a:lnTo>
                        <a:pt x="1773" y="2184"/>
                      </a:lnTo>
                      <a:lnTo>
                        <a:pt x="1758" y="2178"/>
                      </a:lnTo>
                      <a:lnTo>
                        <a:pt x="1746" y="2168"/>
                      </a:lnTo>
                      <a:lnTo>
                        <a:pt x="1731" y="2163"/>
                      </a:lnTo>
                      <a:lnTo>
                        <a:pt x="1724" y="2164"/>
                      </a:lnTo>
                      <a:lnTo>
                        <a:pt x="1714" y="2175"/>
                      </a:lnTo>
                      <a:lnTo>
                        <a:pt x="1704" y="2182"/>
                      </a:lnTo>
                      <a:lnTo>
                        <a:pt x="1689" y="2190"/>
                      </a:lnTo>
                      <a:lnTo>
                        <a:pt x="1683" y="2191"/>
                      </a:lnTo>
                      <a:lnTo>
                        <a:pt x="1675" y="2189"/>
                      </a:lnTo>
                      <a:lnTo>
                        <a:pt x="1666" y="2196"/>
                      </a:lnTo>
                      <a:lnTo>
                        <a:pt x="1656" y="2201"/>
                      </a:lnTo>
                      <a:lnTo>
                        <a:pt x="1653" y="2195"/>
                      </a:lnTo>
                      <a:lnTo>
                        <a:pt x="1639" y="2199"/>
                      </a:lnTo>
                      <a:lnTo>
                        <a:pt x="1633" y="2194"/>
                      </a:lnTo>
                      <a:lnTo>
                        <a:pt x="1627" y="2195"/>
                      </a:lnTo>
                      <a:lnTo>
                        <a:pt x="1612" y="2205"/>
                      </a:lnTo>
                      <a:lnTo>
                        <a:pt x="1606" y="2204"/>
                      </a:lnTo>
                      <a:lnTo>
                        <a:pt x="1598" y="2196"/>
                      </a:lnTo>
                      <a:lnTo>
                        <a:pt x="1585" y="2194"/>
                      </a:lnTo>
                      <a:lnTo>
                        <a:pt x="1583" y="2191"/>
                      </a:lnTo>
                      <a:lnTo>
                        <a:pt x="1579" y="2194"/>
                      </a:lnTo>
                      <a:lnTo>
                        <a:pt x="1575" y="2200"/>
                      </a:lnTo>
                      <a:lnTo>
                        <a:pt x="1569" y="2207"/>
                      </a:lnTo>
                      <a:lnTo>
                        <a:pt x="1569" y="2211"/>
                      </a:lnTo>
                      <a:lnTo>
                        <a:pt x="1562" y="2207"/>
                      </a:lnTo>
                      <a:lnTo>
                        <a:pt x="1562" y="2205"/>
                      </a:lnTo>
                      <a:lnTo>
                        <a:pt x="1542" y="2204"/>
                      </a:lnTo>
                      <a:lnTo>
                        <a:pt x="1533" y="2211"/>
                      </a:lnTo>
                      <a:lnTo>
                        <a:pt x="1532" y="2223"/>
                      </a:lnTo>
                      <a:lnTo>
                        <a:pt x="1535" y="2240"/>
                      </a:lnTo>
                      <a:lnTo>
                        <a:pt x="1541" y="2256"/>
                      </a:lnTo>
                      <a:lnTo>
                        <a:pt x="1540" y="2271"/>
                      </a:lnTo>
                      <a:lnTo>
                        <a:pt x="1536" y="2275"/>
                      </a:lnTo>
                      <a:lnTo>
                        <a:pt x="1515" y="2280"/>
                      </a:lnTo>
                      <a:lnTo>
                        <a:pt x="1510" y="2253"/>
                      </a:lnTo>
                      <a:lnTo>
                        <a:pt x="1509" y="2247"/>
                      </a:lnTo>
                      <a:lnTo>
                        <a:pt x="1497" y="2245"/>
                      </a:lnTo>
                      <a:lnTo>
                        <a:pt x="1482" y="2258"/>
                      </a:lnTo>
                      <a:lnTo>
                        <a:pt x="1462" y="2260"/>
                      </a:lnTo>
                      <a:lnTo>
                        <a:pt x="1444" y="2243"/>
                      </a:lnTo>
                      <a:lnTo>
                        <a:pt x="1441" y="2231"/>
                      </a:lnTo>
                      <a:lnTo>
                        <a:pt x="1423" y="2225"/>
                      </a:lnTo>
                      <a:lnTo>
                        <a:pt x="1408" y="2222"/>
                      </a:lnTo>
                      <a:lnTo>
                        <a:pt x="1412" y="2202"/>
                      </a:lnTo>
                      <a:lnTo>
                        <a:pt x="1418" y="2175"/>
                      </a:lnTo>
                      <a:lnTo>
                        <a:pt x="1402" y="2167"/>
                      </a:lnTo>
                      <a:lnTo>
                        <a:pt x="1388" y="2157"/>
                      </a:lnTo>
                      <a:lnTo>
                        <a:pt x="1387" y="2137"/>
                      </a:lnTo>
                      <a:lnTo>
                        <a:pt x="1382" y="2123"/>
                      </a:lnTo>
                      <a:lnTo>
                        <a:pt x="1382" y="2112"/>
                      </a:lnTo>
                      <a:lnTo>
                        <a:pt x="1363" y="2113"/>
                      </a:lnTo>
                      <a:lnTo>
                        <a:pt x="1344" y="2114"/>
                      </a:lnTo>
                      <a:lnTo>
                        <a:pt x="1333" y="2120"/>
                      </a:lnTo>
                      <a:lnTo>
                        <a:pt x="1320" y="2134"/>
                      </a:lnTo>
                      <a:lnTo>
                        <a:pt x="1315" y="2129"/>
                      </a:lnTo>
                      <a:lnTo>
                        <a:pt x="1325" y="2112"/>
                      </a:lnTo>
                      <a:lnTo>
                        <a:pt x="1326" y="2103"/>
                      </a:lnTo>
                      <a:lnTo>
                        <a:pt x="1322" y="2087"/>
                      </a:lnTo>
                      <a:lnTo>
                        <a:pt x="1328" y="2073"/>
                      </a:lnTo>
                      <a:lnTo>
                        <a:pt x="1332" y="2054"/>
                      </a:lnTo>
                      <a:lnTo>
                        <a:pt x="1343" y="2043"/>
                      </a:lnTo>
                      <a:lnTo>
                        <a:pt x="1347" y="2033"/>
                      </a:lnTo>
                      <a:lnTo>
                        <a:pt x="1354" y="2030"/>
                      </a:lnTo>
                      <a:lnTo>
                        <a:pt x="1363" y="2019"/>
                      </a:lnTo>
                      <a:lnTo>
                        <a:pt x="1372" y="1992"/>
                      </a:lnTo>
                      <a:lnTo>
                        <a:pt x="1372" y="1984"/>
                      </a:lnTo>
                      <a:lnTo>
                        <a:pt x="1376" y="1956"/>
                      </a:lnTo>
                      <a:lnTo>
                        <a:pt x="1375" y="1935"/>
                      </a:lnTo>
                      <a:lnTo>
                        <a:pt x="1368" y="1903"/>
                      </a:lnTo>
                      <a:lnTo>
                        <a:pt x="1352" y="1901"/>
                      </a:lnTo>
                      <a:lnTo>
                        <a:pt x="1347" y="1893"/>
                      </a:lnTo>
                      <a:lnTo>
                        <a:pt x="1343" y="1876"/>
                      </a:lnTo>
                      <a:lnTo>
                        <a:pt x="1331" y="1862"/>
                      </a:lnTo>
                      <a:lnTo>
                        <a:pt x="1318" y="1856"/>
                      </a:lnTo>
                      <a:lnTo>
                        <a:pt x="1315" y="1856"/>
                      </a:lnTo>
                      <a:lnTo>
                        <a:pt x="1311" y="1861"/>
                      </a:lnTo>
                      <a:lnTo>
                        <a:pt x="1302" y="1865"/>
                      </a:lnTo>
                      <a:lnTo>
                        <a:pt x="1298" y="1852"/>
                      </a:lnTo>
                      <a:lnTo>
                        <a:pt x="1288" y="1849"/>
                      </a:lnTo>
                      <a:lnTo>
                        <a:pt x="1274" y="1849"/>
                      </a:lnTo>
                      <a:lnTo>
                        <a:pt x="1264" y="1845"/>
                      </a:lnTo>
                      <a:lnTo>
                        <a:pt x="1246" y="1845"/>
                      </a:lnTo>
                      <a:lnTo>
                        <a:pt x="1248" y="1829"/>
                      </a:lnTo>
                      <a:lnTo>
                        <a:pt x="1250" y="1814"/>
                      </a:lnTo>
                      <a:lnTo>
                        <a:pt x="1237" y="1812"/>
                      </a:lnTo>
                      <a:lnTo>
                        <a:pt x="1235" y="1801"/>
                      </a:lnTo>
                      <a:lnTo>
                        <a:pt x="1237" y="1793"/>
                      </a:lnTo>
                      <a:lnTo>
                        <a:pt x="1226" y="1781"/>
                      </a:lnTo>
                      <a:lnTo>
                        <a:pt x="1214" y="1785"/>
                      </a:lnTo>
                      <a:lnTo>
                        <a:pt x="1199" y="1795"/>
                      </a:lnTo>
                      <a:lnTo>
                        <a:pt x="1186" y="1798"/>
                      </a:lnTo>
                      <a:lnTo>
                        <a:pt x="1166" y="1800"/>
                      </a:lnTo>
                      <a:lnTo>
                        <a:pt x="1157" y="1798"/>
                      </a:lnTo>
                      <a:lnTo>
                        <a:pt x="1151" y="1793"/>
                      </a:lnTo>
                      <a:lnTo>
                        <a:pt x="1146" y="1792"/>
                      </a:lnTo>
                      <a:lnTo>
                        <a:pt x="1137" y="1797"/>
                      </a:lnTo>
                      <a:lnTo>
                        <a:pt x="1128" y="1803"/>
                      </a:lnTo>
                      <a:lnTo>
                        <a:pt x="1122" y="1814"/>
                      </a:lnTo>
                      <a:lnTo>
                        <a:pt x="1102" y="1831"/>
                      </a:lnTo>
                      <a:lnTo>
                        <a:pt x="1087" y="1835"/>
                      </a:lnTo>
                      <a:lnTo>
                        <a:pt x="1073" y="1851"/>
                      </a:lnTo>
                      <a:lnTo>
                        <a:pt x="1063" y="1858"/>
                      </a:lnTo>
                      <a:lnTo>
                        <a:pt x="1048" y="1866"/>
                      </a:lnTo>
                      <a:lnTo>
                        <a:pt x="1036" y="1874"/>
                      </a:lnTo>
                      <a:lnTo>
                        <a:pt x="1008" y="1881"/>
                      </a:lnTo>
                      <a:lnTo>
                        <a:pt x="990" y="1886"/>
                      </a:lnTo>
                      <a:lnTo>
                        <a:pt x="992" y="1888"/>
                      </a:lnTo>
                      <a:lnTo>
                        <a:pt x="992" y="1886"/>
                      </a:lnTo>
                      <a:lnTo>
                        <a:pt x="978" y="1878"/>
                      </a:lnTo>
                      <a:lnTo>
                        <a:pt x="976" y="1874"/>
                      </a:lnTo>
                      <a:lnTo>
                        <a:pt x="973" y="1873"/>
                      </a:lnTo>
                      <a:lnTo>
                        <a:pt x="958" y="1877"/>
                      </a:lnTo>
                      <a:lnTo>
                        <a:pt x="954" y="1877"/>
                      </a:lnTo>
                      <a:lnTo>
                        <a:pt x="940" y="1872"/>
                      </a:lnTo>
                      <a:lnTo>
                        <a:pt x="924" y="1871"/>
                      </a:lnTo>
                      <a:lnTo>
                        <a:pt x="917" y="1866"/>
                      </a:lnTo>
                      <a:lnTo>
                        <a:pt x="917" y="1863"/>
                      </a:lnTo>
                      <a:lnTo>
                        <a:pt x="913" y="1857"/>
                      </a:lnTo>
                      <a:lnTo>
                        <a:pt x="907" y="1856"/>
                      </a:lnTo>
                      <a:lnTo>
                        <a:pt x="893" y="1857"/>
                      </a:lnTo>
                      <a:lnTo>
                        <a:pt x="881" y="1862"/>
                      </a:lnTo>
                      <a:lnTo>
                        <a:pt x="870" y="1873"/>
                      </a:lnTo>
                      <a:lnTo>
                        <a:pt x="860" y="1889"/>
                      </a:lnTo>
                      <a:lnTo>
                        <a:pt x="839" y="1909"/>
                      </a:lnTo>
                      <a:lnTo>
                        <a:pt x="838" y="1915"/>
                      </a:lnTo>
                      <a:lnTo>
                        <a:pt x="833" y="1915"/>
                      </a:lnTo>
                      <a:lnTo>
                        <a:pt x="829" y="1913"/>
                      </a:lnTo>
                      <a:lnTo>
                        <a:pt x="827" y="1910"/>
                      </a:lnTo>
                      <a:lnTo>
                        <a:pt x="827" y="1903"/>
                      </a:lnTo>
                      <a:lnTo>
                        <a:pt x="831" y="1890"/>
                      </a:lnTo>
                      <a:lnTo>
                        <a:pt x="831" y="1884"/>
                      </a:lnTo>
                      <a:lnTo>
                        <a:pt x="828" y="1874"/>
                      </a:lnTo>
                      <a:lnTo>
                        <a:pt x="827" y="1871"/>
                      </a:lnTo>
                      <a:lnTo>
                        <a:pt x="822" y="1868"/>
                      </a:lnTo>
                      <a:lnTo>
                        <a:pt x="817" y="1870"/>
                      </a:lnTo>
                      <a:lnTo>
                        <a:pt x="809" y="1876"/>
                      </a:lnTo>
                      <a:lnTo>
                        <a:pt x="801" y="1876"/>
                      </a:lnTo>
                      <a:lnTo>
                        <a:pt x="793" y="1879"/>
                      </a:lnTo>
                      <a:lnTo>
                        <a:pt x="791" y="1881"/>
                      </a:lnTo>
                      <a:lnTo>
                        <a:pt x="788" y="1879"/>
                      </a:lnTo>
                      <a:lnTo>
                        <a:pt x="780" y="1881"/>
                      </a:lnTo>
                      <a:lnTo>
                        <a:pt x="774" y="1889"/>
                      </a:lnTo>
                      <a:lnTo>
                        <a:pt x="771" y="1889"/>
                      </a:lnTo>
                      <a:lnTo>
                        <a:pt x="757" y="1886"/>
                      </a:lnTo>
                      <a:lnTo>
                        <a:pt x="750" y="1888"/>
                      </a:lnTo>
                      <a:lnTo>
                        <a:pt x="746" y="1887"/>
                      </a:lnTo>
                      <a:lnTo>
                        <a:pt x="739" y="1883"/>
                      </a:lnTo>
                      <a:lnTo>
                        <a:pt x="729" y="1881"/>
                      </a:lnTo>
                      <a:lnTo>
                        <a:pt x="723" y="1873"/>
                      </a:lnTo>
                      <a:lnTo>
                        <a:pt x="713" y="1873"/>
                      </a:lnTo>
                      <a:lnTo>
                        <a:pt x="708" y="1874"/>
                      </a:lnTo>
                      <a:lnTo>
                        <a:pt x="704" y="1881"/>
                      </a:lnTo>
                      <a:lnTo>
                        <a:pt x="702" y="1882"/>
                      </a:lnTo>
                      <a:lnTo>
                        <a:pt x="696" y="1879"/>
                      </a:lnTo>
                      <a:lnTo>
                        <a:pt x="691" y="1881"/>
                      </a:lnTo>
                      <a:lnTo>
                        <a:pt x="685" y="1877"/>
                      </a:lnTo>
                      <a:lnTo>
                        <a:pt x="681" y="1879"/>
                      </a:lnTo>
                      <a:lnTo>
                        <a:pt x="675" y="1881"/>
                      </a:lnTo>
                      <a:lnTo>
                        <a:pt x="671" y="1878"/>
                      </a:lnTo>
                      <a:lnTo>
                        <a:pt x="667" y="1872"/>
                      </a:lnTo>
                      <a:lnTo>
                        <a:pt x="666" y="1868"/>
                      </a:lnTo>
                      <a:lnTo>
                        <a:pt x="661" y="1862"/>
                      </a:lnTo>
                      <a:lnTo>
                        <a:pt x="653" y="1861"/>
                      </a:lnTo>
                      <a:lnTo>
                        <a:pt x="645" y="1863"/>
                      </a:lnTo>
                      <a:lnTo>
                        <a:pt x="630" y="1854"/>
                      </a:lnTo>
                      <a:lnTo>
                        <a:pt x="629" y="1847"/>
                      </a:lnTo>
                      <a:lnTo>
                        <a:pt x="632" y="1834"/>
                      </a:lnTo>
                      <a:lnTo>
                        <a:pt x="629" y="1833"/>
                      </a:lnTo>
                      <a:lnTo>
                        <a:pt x="624" y="1836"/>
                      </a:lnTo>
                      <a:lnTo>
                        <a:pt x="619" y="1838"/>
                      </a:lnTo>
                      <a:lnTo>
                        <a:pt x="611" y="1836"/>
                      </a:lnTo>
                      <a:lnTo>
                        <a:pt x="603" y="1834"/>
                      </a:lnTo>
                      <a:lnTo>
                        <a:pt x="599" y="1835"/>
                      </a:lnTo>
                      <a:lnTo>
                        <a:pt x="592" y="1831"/>
                      </a:lnTo>
                      <a:lnTo>
                        <a:pt x="589" y="1831"/>
                      </a:lnTo>
                      <a:lnTo>
                        <a:pt x="585" y="1828"/>
                      </a:lnTo>
                      <a:lnTo>
                        <a:pt x="583" y="1823"/>
                      </a:lnTo>
                      <a:lnTo>
                        <a:pt x="578" y="1825"/>
                      </a:lnTo>
                      <a:lnTo>
                        <a:pt x="576" y="1822"/>
                      </a:lnTo>
                      <a:lnTo>
                        <a:pt x="579" y="1809"/>
                      </a:lnTo>
                      <a:lnTo>
                        <a:pt x="578" y="1803"/>
                      </a:lnTo>
                      <a:lnTo>
                        <a:pt x="581" y="1797"/>
                      </a:lnTo>
                      <a:lnTo>
                        <a:pt x="579" y="1795"/>
                      </a:lnTo>
                      <a:lnTo>
                        <a:pt x="573" y="1793"/>
                      </a:lnTo>
                      <a:lnTo>
                        <a:pt x="567" y="1795"/>
                      </a:lnTo>
                      <a:lnTo>
                        <a:pt x="563" y="1793"/>
                      </a:lnTo>
                      <a:lnTo>
                        <a:pt x="560" y="1797"/>
                      </a:lnTo>
                      <a:lnTo>
                        <a:pt x="559" y="1800"/>
                      </a:lnTo>
                      <a:lnTo>
                        <a:pt x="556" y="1803"/>
                      </a:lnTo>
                      <a:lnTo>
                        <a:pt x="553" y="1804"/>
                      </a:lnTo>
                      <a:lnTo>
                        <a:pt x="548" y="1809"/>
                      </a:lnTo>
                      <a:lnTo>
                        <a:pt x="544" y="1808"/>
                      </a:lnTo>
                      <a:lnTo>
                        <a:pt x="538" y="1807"/>
                      </a:lnTo>
                      <a:lnTo>
                        <a:pt x="536" y="1802"/>
                      </a:lnTo>
                      <a:lnTo>
                        <a:pt x="533" y="1785"/>
                      </a:lnTo>
                      <a:lnTo>
                        <a:pt x="527" y="1776"/>
                      </a:lnTo>
                      <a:lnTo>
                        <a:pt x="515" y="1766"/>
                      </a:lnTo>
                      <a:lnTo>
                        <a:pt x="503" y="1763"/>
                      </a:lnTo>
                      <a:lnTo>
                        <a:pt x="493" y="1754"/>
                      </a:lnTo>
                      <a:lnTo>
                        <a:pt x="487" y="1745"/>
                      </a:lnTo>
                      <a:lnTo>
                        <a:pt x="482" y="1743"/>
                      </a:lnTo>
                      <a:lnTo>
                        <a:pt x="462" y="1737"/>
                      </a:lnTo>
                      <a:lnTo>
                        <a:pt x="444" y="1733"/>
                      </a:lnTo>
                      <a:lnTo>
                        <a:pt x="441" y="1732"/>
                      </a:lnTo>
                      <a:lnTo>
                        <a:pt x="425" y="1730"/>
                      </a:lnTo>
                      <a:lnTo>
                        <a:pt x="423" y="1731"/>
                      </a:lnTo>
                      <a:lnTo>
                        <a:pt x="423" y="1732"/>
                      </a:lnTo>
                      <a:lnTo>
                        <a:pt x="423" y="1737"/>
                      </a:lnTo>
                      <a:lnTo>
                        <a:pt x="419" y="1742"/>
                      </a:lnTo>
                      <a:lnTo>
                        <a:pt x="420" y="1744"/>
                      </a:lnTo>
                      <a:lnTo>
                        <a:pt x="419" y="1748"/>
                      </a:lnTo>
                      <a:lnTo>
                        <a:pt x="411" y="1741"/>
                      </a:lnTo>
                      <a:lnTo>
                        <a:pt x="408" y="1736"/>
                      </a:lnTo>
                      <a:lnTo>
                        <a:pt x="406" y="1734"/>
                      </a:lnTo>
                      <a:lnTo>
                        <a:pt x="403" y="1733"/>
                      </a:lnTo>
                      <a:lnTo>
                        <a:pt x="386" y="1728"/>
                      </a:lnTo>
                      <a:lnTo>
                        <a:pt x="384" y="1726"/>
                      </a:lnTo>
                      <a:lnTo>
                        <a:pt x="380" y="1720"/>
                      </a:lnTo>
                      <a:lnTo>
                        <a:pt x="375" y="1718"/>
                      </a:lnTo>
                      <a:lnTo>
                        <a:pt x="363" y="1709"/>
                      </a:lnTo>
                      <a:lnTo>
                        <a:pt x="357" y="1709"/>
                      </a:lnTo>
                      <a:lnTo>
                        <a:pt x="350" y="1705"/>
                      </a:lnTo>
                      <a:lnTo>
                        <a:pt x="348" y="1701"/>
                      </a:lnTo>
                      <a:lnTo>
                        <a:pt x="348" y="1698"/>
                      </a:lnTo>
                      <a:lnTo>
                        <a:pt x="345" y="1694"/>
                      </a:lnTo>
                      <a:lnTo>
                        <a:pt x="341" y="1694"/>
                      </a:lnTo>
                      <a:lnTo>
                        <a:pt x="339" y="1691"/>
                      </a:lnTo>
                      <a:lnTo>
                        <a:pt x="334" y="1689"/>
                      </a:lnTo>
                      <a:lnTo>
                        <a:pt x="326" y="1693"/>
                      </a:lnTo>
                      <a:lnTo>
                        <a:pt x="325" y="1691"/>
                      </a:lnTo>
                      <a:lnTo>
                        <a:pt x="323" y="1685"/>
                      </a:lnTo>
                      <a:lnTo>
                        <a:pt x="322" y="1684"/>
                      </a:lnTo>
                      <a:lnTo>
                        <a:pt x="318" y="1683"/>
                      </a:lnTo>
                      <a:lnTo>
                        <a:pt x="315" y="1684"/>
                      </a:lnTo>
                      <a:lnTo>
                        <a:pt x="306" y="1683"/>
                      </a:lnTo>
                      <a:lnTo>
                        <a:pt x="302" y="1684"/>
                      </a:lnTo>
                      <a:lnTo>
                        <a:pt x="296" y="1688"/>
                      </a:lnTo>
                      <a:lnTo>
                        <a:pt x="293" y="1688"/>
                      </a:lnTo>
                      <a:lnTo>
                        <a:pt x="290" y="1685"/>
                      </a:lnTo>
                      <a:lnTo>
                        <a:pt x="291" y="1675"/>
                      </a:lnTo>
                      <a:lnTo>
                        <a:pt x="287" y="1672"/>
                      </a:lnTo>
                      <a:lnTo>
                        <a:pt x="283" y="1666"/>
                      </a:lnTo>
                      <a:lnTo>
                        <a:pt x="283" y="1663"/>
                      </a:lnTo>
                      <a:lnTo>
                        <a:pt x="278" y="1658"/>
                      </a:lnTo>
                      <a:lnTo>
                        <a:pt x="278" y="1653"/>
                      </a:lnTo>
                      <a:lnTo>
                        <a:pt x="280" y="1646"/>
                      </a:lnTo>
                      <a:lnTo>
                        <a:pt x="277" y="1640"/>
                      </a:lnTo>
                      <a:lnTo>
                        <a:pt x="277" y="1636"/>
                      </a:lnTo>
                      <a:lnTo>
                        <a:pt x="278" y="1629"/>
                      </a:lnTo>
                      <a:lnTo>
                        <a:pt x="280" y="1623"/>
                      </a:lnTo>
                      <a:lnTo>
                        <a:pt x="273" y="1613"/>
                      </a:lnTo>
                      <a:lnTo>
                        <a:pt x="266" y="1605"/>
                      </a:lnTo>
                      <a:lnTo>
                        <a:pt x="266" y="1596"/>
                      </a:lnTo>
                      <a:lnTo>
                        <a:pt x="263" y="1588"/>
                      </a:lnTo>
                      <a:lnTo>
                        <a:pt x="264" y="1585"/>
                      </a:lnTo>
                      <a:lnTo>
                        <a:pt x="275" y="1583"/>
                      </a:lnTo>
                      <a:lnTo>
                        <a:pt x="278" y="1580"/>
                      </a:lnTo>
                      <a:lnTo>
                        <a:pt x="279" y="1581"/>
                      </a:lnTo>
                      <a:lnTo>
                        <a:pt x="280" y="1588"/>
                      </a:lnTo>
                      <a:lnTo>
                        <a:pt x="283" y="1593"/>
                      </a:lnTo>
                      <a:lnTo>
                        <a:pt x="285" y="1596"/>
                      </a:lnTo>
                      <a:lnTo>
                        <a:pt x="293" y="1598"/>
                      </a:lnTo>
                      <a:lnTo>
                        <a:pt x="295" y="1597"/>
                      </a:lnTo>
                      <a:lnTo>
                        <a:pt x="298" y="1596"/>
                      </a:lnTo>
                      <a:lnTo>
                        <a:pt x="301" y="1597"/>
                      </a:lnTo>
                      <a:lnTo>
                        <a:pt x="302" y="1591"/>
                      </a:lnTo>
                      <a:lnTo>
                        <a:pt x="306" y="1588"/>
                      </a:lnTo>
                      <a:lnTo>
                        <a:pt x="310" y="1582"/>
                      </a:lnTo>
                      <a:lnTo>
                        <a:pt x="311" y="1582"/>
                      </a:lnTo>
                      <a:lnTo>
                        <a:pt x="315" y="1587"/>
                      </a:lnTo>
                      <a:lnTo>
                        <a:pt x="317" y="1587"/>
                      </a:lnTo>
                      <a:lnTo>
                        <a:pt x="326" y="1576"/>
                      </a:lnTo>
                      <a:lnTo>
                        <a:pt x="326" y="1574"/>
                      </a:lnTo>
                      <a:lnTo>
                        <a:pt x="322" y="1567"/>
                      </a:lnTo>
                      <a:lnTo>
                        <a:pt x="316" y="1559"/>
                      </a:lnTo>
                      <a:lnTo>
                        <a:pt x="315" y="1554"/>
                      </a:lnTo>
                      <a:lnTo>
                        <a:pt x="316" y="1551"/>
                      </a:lnTo>
                      <a:lnTo>
                        <a:pt x="316" y="1548"/>
                      </a:lnTo>
                      <a:lnTo>
                        <a:pt x="306" y="1543"/>
                      </a:lnTo>
                      <a:lnTo>
                        <a:pt x="301" y="1544"/>
                      </a:lnTo>
                      <a:lnTo>
                        <a:pt x="300" y="1540"/>
                      </a:lnTo>
                      <a:lnTo>
                        <a:pt x="291" y="1533"/>
                      </a:lnTo>
                      <a:lnTo>
                        <a:pt x="291" y="1518"/>
                      </a:lnTo>
                      <a:lnTo>
                        <a:pt x="296" y="1517"/>
                      </a:lnTo>
                      <a:lnTo>
                        <a:pt x="294" y="1511"/>
                      </a:lnTo>
                      <a:lnTo>
                        <a:pt x="295" y="1508"/>
                      </a:lnTo>
                      <a:lnTo>
                        <a:pt x="296" y="1507"/>
                      </a:lnTo>
                      <a:lnTo>
                        <a:pt x="289" y="1500"/>
                      </a:lnTo>
                      <a:lnTo>
                        <a:pt x="290" y="1494"/>
                      </a:lnTo>
                      <a:lnTo>
                        <a:pt x="290" y="1492"/>
                      </a:lnTo>
                      <a:lnTo>
                        <a:pt x="300" y="1492"/>
                      </a:lnTo>
                      <a:lnTo>
                        <a:pt x="304" y="1489"/>
                      </a:lnTo>
                      <a:lnTo>
                        <a:pt x="315" y="1492"/>
                      </a:lnTo>
                      <a:lnTo>
                        <a:pt x="317" y="1490"/>
                      </a:lnTo>
                      <a:lnTo>
                        <a:pt x="322" y="1485"/>
                      </a:lnTo>
                      <a:lnTo>
                        <a:pt x="327" y="1475"/>
                      </a:lnTo>
                      <a:lnTo>
                        <a:pt x="327" y="1464"/>
                      </a:lnTo>
                      <a:lnTo>
                        <a:pt x="337" y="1463"/>
                      </a:lnTo>
                      <a:lnTo>
                        <a:pt x="338" y="1462"/>
                      </a:lnTo>
                      <a:lnTo>
                        <a:pt x="336" y="1459"/>
                      </a:lnTo>
                      <a:lnTo>
                        <a:pt x="337" y="1456"/>
                      </a:lnTo>
                      <a:lnTo>
                        <a:pt x="341" y="1453"/>
                      </a:lnTo>
                      <a:lnTo>
                        <a:pt x="342" y="1451"/>
                      </a:lnTo>
                      <a:lnTo>
                        <a:pt x="345" y="1447"/>
                      </a:lnTo>
                      <a:lnTo>
                        <a:pt x="352" y="1442"/>
                      </a:lnTo>
                      <a:lnTo>
                        <a:pt x="352" y="1436"/>
                      </a:lnTo>
                      <a:lnTo>
                        <a:pt x="358" y="1430"/>
                      </a:lnTo>
                      <a:lnTo>
                        <a:pt x="360" y="1411"/>
                      </a:lnTo>
                      <a:lnTo>
                        <a:pt x="363" y="1409"/>
                      </a:lnTo>
                      <a:lnTo>
                        <a:pt x="363" y="1402"/>
                      </a:lnTo>
                      <a:lnTo>
                        <a:pt x="369" y="1394"/>
                      </a:lnTo>
                      <a:lnTo>
                        <a:pt x="369" y="1391"/>
                      </a:lnTo>
                      <a:lnTo>
                        <a:pt x="365" y="1388"/>
                      </a:lnTo>
                      <a:lnTo>
                        <a:pt x="361" y="1388"/>
                      </a:lnTo>
                      <a:lnTo>
                        <a:pt x="354" y="1397"/>
                      </a:lnTo>
                      <a:lnTo>
                        <a:pt x="352" y="1397"/>
                      </a:lnTo>
                      <a:lnTo>
                        <a:pt x="349" y="1393"/>
                      </a:lnTo>
                      <a:lnTo>
                        <a:pt x="347" y="1382"/>
                      </a:lnTo>
                      <a:lnTo>
                        <a:pt x="342" y="1386"/>
                      </a:lnTo>
                      <a:lnTo>
                        <a:pt x="338" y="1386"/>
                      </a:lnTo>
                      <a:lnTo>
                        <a:pt x="336" y="1381"/>
                      </a:lnTo>
                      <a:lnTo>
                        <a:pt x="333" y="1381"/>
                      </a:lnTo>
                      <a:lnTo>
                        <a:pt x="331" y="1379"/>
                      </a:lnTo>
                      <a:lnTo>
                        <a:pt x="330" y="1370"/>
                      </a:lnTo>
                      <a:lnTo>
                        <a:pt x="326" y="1368"/>
                      </a:lnTo>
                      <a:lnTo>
                        <a:pt x="325" y="1366"/>
                      </a:lnTo>
                      <a:lnTo>
                        <a:pt x="322" y="1365"/>
                      </a:lnTo>
                      <a:lnTo>
                        <a:pt x="318" y="1365"/>
                      </a:lnTo>
                      <a:lnTo>
                        <a:pt x="315" y="1360"/>
                      </a:lnTo>
                      <a:lnTo>
                        <a:pt x="312" y="1359"/>
                      </a:lnTo>
                      <a:lnTo>
                        <a:pt x="309" y="1359"/>
                      </a:lnTo>
                      <a:lnTo>
                        <a:pt x="304" y="1361"/>
                      </a:lnTo>
                      <a:lnTo>
                        <a:pt x="298" y="1361"/>
                      </a:lnTo>
                      <a:lnTo>
                        <a:pt x="293" y="1365"/>
                      </a:lnTo>
                      <a:lnTo>
                        <a:pt x="279" y="1365"/>
                      </a:lnTo>
                      <a:lnTo>
                        <a:pt x="269" y="1372"/>
                      </a:lnTo>
                      <a:lnTo>
                        <a:pt x="258" y="1378"/>
                      </a:lnTo>
                      <a:lnTo>
                        <a:pt x="251" y="1383"/>
                      </a:lnTo>
                      <a:lnTo>
                        <a:pt x="246" y="1388"/>
                      </a:lnTo>
                      <a:lnTo>
                        <a:pt x="241" y="1389"/>
                      </a:lnTo>
                      <a:lnTo>
                        <a:pt x="237" y="1394"/>
                      </a:lnTo>
                      <a:lnTo>
                        <a:pt x="230" y="1391"/>
                      </a:lnTo>
                      <a:lnTo>
                        <a:pt x="225" y="1394"/>
                      </a:lnTo>
                      <a:lnTo>
                        <a:pt x="220" y="1394"/>
                      </a:lnTo>
                      <a:lnTo>
                        <a:pt x="209" y="1393"/>
                      </a:lnTo>
                      <a:lnTo>
                        <a:pt x="202" y="1388"/>
                      </a:lnTo>
                      <a:lnTo>
                        <a:pt x="196" y="1389"/>
                      </a:lnTo>
                      <a:lnTo>
                        <a:pt x="188" y="1384"/>
                      </a:lnTo>
                      <a:lnTo>
                        <a:pt x="171" y="1378"/>
                      </a:lnTo>
                      <a:lnTo>
                        <a:pt x="161" y="1372"/>
                      </a:lnTo>
                      <a:lnTo>
                        <a:pt x="161" y="1366"/>
                      </a:lnTo>
                      <a:lnTo>
                        <a:pt x="160" y="1362"/>
                      </a:lnTo>
                      <a:lnTo>
                        <a:pt x="156" y="1363"/>
                      </a:lnTo>
                      <a:lnTo>
                        <a:pt x="151" y="1367"/>
                      </a:lnTo>
                      <a:lnTo>
                        <a:pt x="148" y="1367"/>
                      </a:lnTo>
                      <a:lnTo>
                        <a:pt x="143" y="1368"/>
                      </a:lnTo>
                      <a:lnTo>
                        <a:pt x="139" y="1367"/>
                      </a:lnTo>
                      <a:lnTo>
                        <a:pt x="133" y="1356"/>
                      </a:lnTo>
                      <a:lnTo>
                        <a:pt x="126" y="1355"/>
                      </a:lnTo>
                      <a:lnTo>
                        <a:pt x="124" y="1351"/>
                      </a:lnTo>
                      <a:lnTo>
                        <a:pt x="124" y="1349"/>
                      </a:lnTo>
                      <a:lnTo>
                        <a:pt x="129" y="1348"/>
                      </a:lnTo>
                      <a:lnTo>
                        <a:pt x="131" y="1344"/>
                      </a:lnTo>
                      <a:lnTo>
                        <a:pt x="129" y="1339"/>
                      </a:lnTo>
                      <a:lnTo>
                        <a:pt x="127" y="1336"/>
                      </a:lnTo>
                      <a:lnTo>
                        <a:pt x="129" y="1330"/>
                      </a:lnTo>
                      <a:lnTo>
                        <a:pt x="129" y="1324"/>
                      </a:lnTo>
                      <a:lnTo>
                        <a:pt x="127" y="1318"/>
                      </a:lnTo>
                      <a:lnTo>
                        <a:pt x="121" y="1312"/>
                      </a:lnTo>
                      <a:lnTo>
                        <a:pt x="110" y="1305"/>
                      </a:lnTo>
                      <a:lnTo>
                        <a:pt x="105" y="1305"/>
                      </a:lnTo>
                      <a:lnTo>
                        <a:pt x="99" y="1309"/>
                      </a:lnTo>
                      <a:lnTo>
                        <a:pt x="97" y="1308"/>
                      </a:lnTo>
                      <a:lnTo>
                        <a:pt x="97" y="1296"/>
                      </a:lnTo>
                      <a:lnTo>
                        <a:pt x="95" y="1293"/>
                      </a:lnTo>
                      <a:lnTo>
                        <a:pt x="88" y="1295"/>
                      </a:lnTo>
                      <a:lnTo>
                        <a:pt x="83" y="1292"/>
                      </a:lnTo>
                      <a:lnTo>
                        <a:pt x="79" y="1291"/>
                      </a:lnTo>
                      <a:lnTo>
                        <a:pt x="65" y="1293"/>
                      </a:lnTo>
                      <a:lnTo>
                        <a:pt x="54" y="1290"/>
                      </a:lnTo>
                      <a:lnTo>
                        <a:pt x="56" y="1289"/>
                      </a:lnTo>
                      <a:lnTo>
                        <a:pt x="53" y="1284"/>
                      </a:lnTo>
                      <a:lnTo>
                        <a:pt x="47" y="1281"/>
                      </a:lnTo>
                      <a:lnTo>
                        <a:pt x="46" y="1278"/>
                      </a:lnTo>
                      <a:lnTo>
                        <a:pt x="53" y="1270"/>
                      </a:lnTo>
                      <a:lnTo>
                        <a:pt x="57" y="1269"/>
                      </a:lnTo>
                      <a:lnTo>
                        <a:pt x="62" y="1271"/>
                      </a:lnTo>
                      <a:lnTo>
                        <a:pt x="65" y="1271"/>
                      </a:lnTo>
                      <a:lnTo>
                        <a:pt x="62" y="1271"/>
                      </a:lnTo>
                      <a:lnTo>
                        <a:pt x="70" y="1274"/>
                      </a:lnTo>
                      <a:lnTo>
                        <a:pt x="73" y="1273"/>
                      </a:lnTo>
                      <a:lnTo>
                        <a:pt x="73" y="1237"/>
                      </a:lnTo>
                      <a:lnTo>
                        <a:pt x="63" y="1212"/>
                      </a:lnTo>
                      <a:lnTo>
                        <a:pt x="63" y="1193"/>
                      </a:lnTo>
                      <a:lnTo>
                        <a:pt x="56" y="1182"/>
                      </a:lnTo>
                      <a:lnTo>
                        <a:pt x="37" y="1180"/>
                      </a:lnTo>
                      <a:lnTo>
                        <a:pt x="17" y="1187"/>
                      </a:lnTo>
                      <a:lnTo>
                        <a:pt x="6" y="1179"/>
                      </a:lnTo>
                      <a:lnTo>
                        <a:pt x="2" y="1162"/>
                      </a:lnTo>
                      <a:lnTo>
                        <a:pt x="0" y="1142"/>
                      </a:lnTo>
                      <a:lnTo>
                        <a:pt x="11" y="1108"/>
                      </a:lnTo>
                      <a:lnTo>
                        <a:pt x="10" y="1097"/>
                      </a:lnTo>
                      <a:lnTo>
                        <a:pt x="19" y="1079"/>
                      </a:lnTo>
                      <a:lnTo>
                        <a:pt x="51" y="1064"/>
                      </a:lnTo>
                      <a:lnTo>
                        <a:pt x="56" y="1059"/>
                      </a:lnTo>
                      <a:lnTo>
                        <a:pt x="63" y="1059"/>
                      </a:lnTo>
                      <a:lnTo>
                        <a:pt x="69" y="1044"/>
                      </a:lnTo>
                      <a:lnTo>
                        <a:pt x="79" y="1048"/>
                      </a:lnTo>
                      <a:lnTo>
                        <a:pt x="94" y="1042"/>
                      </a:lnTo>
                      <a:lnTo>
                        <a:pt x="105" y="1043"/>
                      </a:lnTo>
                      <a:lnTo>
                        <a:pt x="111" y="1056"/>
                      </a:lnTo>
                      <a:lnTo>
                        <a:pt x="122" y="1058"/>
                      </a:lnTo>
                      <a:lnTo>
                        <a:pt x="138" y="1054"/>
                      </a:lnTo>
                      <a:lnTo>
                        <a:pt x="148" y="1055"/>
                      </a:lnTo>
                      <a:lnTo>
                        <a:pt x="161" y="1045"/>
                      </a:lnTo>
                      <a:lnTo>
                        <a:pt x="167" y="1027"/>
                      </a:lnTo>
                      <a:lnTo>
                        <a:pt x="176" y="1016"/>
                      </a:lnTo>
                      <a:lnTo>
                        <a:pt x="193" y="1011"/>
                      </a:lnTo>
                      <a:lnTo>
                        <a:pt x="212" y="1010"/>
                      </a:lnTo>
                      <a:lnTo>
                        <a:pt x="239" y="1005"/>
                      </a:lnTo>
                      <a:lnTo>
                        <a:pt x="251" y="1000"/>
                      </a:lnTo>
                      <a:lnTo>
                        <a:pt x="259" y="986"/>
                      </a:lnTo>
                      <a:lnTo>
                        <a:pt x="274" y="973"/>
                      </a:lnTo>
                      <a:lnTo>
                        <a:pt x="310" y="953"/>
                      </a:lnTo>
                      <a:lnTo>
                        <a:pt x="348" y="941"/>
                      </a:lnTo>
                      <a:lnTo>
                        <a:pt x="358" y="934"/>
                      </a:lnTo>
                      <a:lnTo>
                        <a:pt x="364" y="920"/>
                      </a:lnTo>
                      <a:lnTo>
                        <a:pt x="364" y="892"/>
                      </a:lnTo>
                      <a:lnTo>
                        <a:pt x="366" y="881"/>
                      </a:lnTo>
                      <a:lnTo>
                        <a:pt x="374" y="871"/>
                      </a:lnTo>
                      <a:lnTo>
                        <a:pt x="373" y="859"/>
                      </a:lnTo>
                      <a:lnTo>
                        <a:pt x="386" y="849"/>
                      </a:lnTo>
                      <a:lnTo>
                        <a:pt x="386" y="834"/>
                      </a:lnTo>
                      <a:lnTo>
                        <a:pt x="377" y="807"/>
                      </a:lnTo>
                      <a:lnTo>
                        <a:pt x="370" y="795"/>
                      </a:lnTo>
                      <a:lnTo>
                        <a:pt x="366" y="780"/>
                      </a:lnTo>
                      <a:lnTo>
                        <a:pt x="361" y="742"/>
                      </a:lnTo>
                      <a:lnTo>
                        <a:pt x="354" y="727"/>
                      </a:lnTo>
                      <a:lnTo>
                        <a:pt x="347" y="720"/>
                      </a:lnTo>
                      <a:lnTo>
                        <a:pt x="355" y="712"/>
                      </a:lnTo>
                      <a:lnTo>
                        <a:pt x="375" y="705"/>
                      </a:lnTo>
                      <a:lnTo>
                        <a:pt x="393" y="703"/>
                      </a:lnTo>
                      <a:lnTo>
                        <a:pt x="416" y="695"/>
                      </a:lnTo>
                      <a:lnTo>
                        <a:pt x="471" y="693"/>
                      </a:lnTo>
                      <a:lnTo>
                        <a:pt x="478" y="688"/>
                      </a:lnTo>
                      <a:lnTo>
                        <a:pt x="472" y="670"/>
                      </a:lnTo>
                      <a:lnTo>
                        <a:pt x="470" y="655"/>
                      </a:lnTo>
                      <a:lnTo>
                        <a:pt x="473" y="635"/>
                      </a:lnTo>
                      <a:lnTo>
                        <a:pt x="479" y="611"/>
                      </a:lnTo>
                      <a:lnTo>
                        <a:pt x="492" y="584"/>
                      </a:lnTo>
                      <a:lnTo>
                        <a:pt x="500" y="558"/>
                      </a:lnTo>
                      <a:lnTo>
                        <a:pt x="511" y="537"/>
                      </a:lnTo>
                      <a:lnTo>
                        <a:pt x="535" y="537"/>
                      </a:lnTo>
                      <a:lnTo>
                        <a:pt x="544" y="544"/>
                      </a:lnTo>
                      <a:lnTo>
                        <a:pt x="563" y="550"/>
                      </a:lnTo>
                      <a:lnTo>
                        <a:pt x="597" y="547"/>
                      </a:lnTo>
                      <a:lnTo>
                        <a:pt x="606" y="556"/>
                      </a:lnTo>
                      <a:lnTo>
                        <a:pt x="616" y="563"/>
                      </a:lnTo>
                      <a:lnTo>
                        <a:pt x="630" y="552"/>
                      </a:lnTo>
                      <a:lnTo>
                        <a:pt x="653" y="544"/>
                      </a:lnTo>
                      <a:lnTo>
                        <a:pt x="656" y="507"/>
                      </a:lnTo>
                      <a:lnTo>
                        <a:pt x="654" y="484"/>
                      </a:lnTo>
                      <a:lnTo>
                        <a:pt x="659" y="459"/>
                      </a:lnTo>
                      <a:lnTo>
                        <a:pt x="670" y="439"/>
                      </a:lnTo>
                      <a:lnTo>
                        <a:pt x="686" y="440"/>
                      </a:lnTo>
                      <a:lnTo>
                        <a:pt x="705" y="434"/>
                      </a:lnTo>
                      <a:lnTo>
                        <a:pt x="721" y="418"/>
                      </a:lnTo>
                      <a:lnTo>
                        <a:pt x="731" y="398"/>
                      </a:lnTo>
                      <a:lnTo>
                        <a:pt x="756" y="405"/>
                      </a:lnTo>
                      <a:lnTo>
                        <a:pt x="772" y="389"/>
                      </a:lnTo>
                      <a:lnTo>
                        <a:pt x="777" y="389"/>
                      </a:lnTo>
                      <a:lnTo>
                        <a:pt x="777" y="393"/>
                      </a:lnTo>
                      <a:lnTo>
                        <a:pt x="780" y="404"/>
                      </a:lnTo>
                      <a:lnTo>
                        <a:pt x="791" y="430"/>
                      </a:lnTo>
                      <a:lnTo>
                        <a:pt x="821" y="453"/>
                      </a:lnTo>
                      <a:lnTo>
                        <a:pt x="832" y="474"/>
                      </a:lnTo>
                      <a:lnTo>
                        <a:pt x="847" y="485"/>
                      </a:lnTo>
                      <a:lnTo>
                        <a:pt x="854" y="474"/>
                      </a:lnTo>
                      <a:lnTo>
                        <a:pt x="870" y="477"/>
                      </a:lnTo>
                      <a:lnTo>
                        <a:pt x="885" y="485"/>
                      </a:lnTo>
                      <a:lnTo>
                        <a:pt x="901" y="488"/>
                      </a:lnTo>
                      <a:lnTo>
                        <a:pt x="911" y="504"/>
                      </a:lnTo>
                      <a:lnTo>
                        <a:pt x="918" y="526"/>
                      </a:lnTo>
                      <a:lnTo>
                        <a:pt x="928" y="543"/>
                      </a:lnTo>
                      <a:lnTo>
                        <a:pt x="940" y="586"/>
                      </a:lnTo>
                      <a:lnTo>
                        <a:pt x="940" y="614"/>
                      </a:lnTo>
                      <a:lnTo>
                        <a:pt x="944" y="633"/>
                      </a:lnTo>
                      <a:lnTo>
                        <a:pt x="943" y="652"/>
                      </a:lnTo>
                      <a:lnTo>
                        <a:pt x="935" y="668"/>
                      </a:lnTo>
                      <a:lnTo>
                        <a:pt x="934" y="683"/>
                      </a:lnTo>
                      <a:lnTo>
                        <a:pt x="941" y="690"/>
                      </a:lnTo>
                      <a:lnTo>
                        <a:pt x="957" y="697"/>
                      </a:lnTo>
                      <a:lnTo>
                        <a:pt x="988" y="700"/>
                      </a:lnTo>
                      <a:lnTo>
                        <a:pt x="1022" y="711"/>
                      </a:lnTo>
                      <a:lnTo>
                        <a:pt x="1031" y="711"/>
                      </a:lnTo>
                      <a:lnTo>
                        <a:pt x="1044" y="706"/>
                      </a:lnTo>
                      <a:lnTo>
                        <a:pt x="1057" y="706"/>
                      </a:lnTo>
                      <a:lnTo>
                        <a:pt x="1069" y="712"/>
                      </a:lnTo>
                      <a:lnTo>
                        <a:pt x="1099" y="722"/>
                      </a:lnTo>
                      <a:lnTo>
                        <a:pt x="1114" y="732"/>
                      </a:lnTo>
                      <a:lnTo>
                        <a:pt x="1130" y="741"/>
                      </a:lnTo>
                      <a:lnTo>
                        <a:pt x="1162" y="749"/>
                      </a:lnTo>
                      <a:lnTo>
                        <a:pt x="1175" y="759"/>
                      </a:lnTo>
                      <a:lnTo>
                        <a:pt x="1187" y="760"/>
                      </a:lnTo>
                      <a:lnTo>
                        <a:pt x="1198" y="775"/>
                      </a:lnTo>
                      <a:lnTo>
                        <a:pt x="1209" y="792"/>
                      </a:lnTo>
                      <a:lnTo>
                        <a:pt x="1216" y="812"/>
                      </a:lnTo>
                      <a:lnTo>
                        <a:pt x="1228" y="832"/>
                      </a:lnTo>
                      <a:lnTo>
                        <a:pt x="1240" y="846"/>
                      </a:lnTo>
                      <a:lnTo>
                        <a:pt x="1253" y="862"/>
                      </a:lnTo>
                      <a:lnTo>
                        <a:pt x="1269" y="876"/>
                      </a:lnTo>
                      <a:lnTo>
                        <a:pt x="1283" y="882"/>
                      </a:lnTo>
                      <a:lnTo>
                        <a:pt x="1304" y="882"/>
                      </a:lnTo>
                      <a:lnTo>
                        <a:pt x="1452" y="872"/>
                      </a:lnTo>
                      <a:lnTo>
                        <a:pt x="1470" y="870"/>
                      </a:lnTo>
                      <a:lnTo>
                        <a:pt x="1487" y="872"/>
                      </a:lnTo>
                      <a:lnTo>
                        <a:pt x="1521" y="883"/>
                      </a:lnTo>
                      <a:lnTo>
                        <a:pt x="1531" y="887"/>
                      </a:lnTo>
                      <a:lnTo>
                        <a:pt x="1540" y="898"/>
                      </a:lnTo>
                      <a:lnTo>
                        <a:pt x="1555" y="911"/>
                      </a:lnTo>
                      <a:lnTo>
                        <a:pt x="1578" y="921"/>
                      </a:lnTo>
                      <a:lnTo>
                        <a:pt x="1611" y="931"/>
                      </a:lnTo>
                      <a:lnTo>
                        <a:pt x="1629" y="941"/>
                      </a:lnTo>
                      <a:lnTo>
                        <a:pt x="1651" y="948"/>
                      </a:lnTo>
                      <a:lnTo>
                        <a:pt x="1680" y="950"/>
                      </a:lnTo>
                      <a:lnTo>
                        <a:pt x="1686" y="952"/>
                      </a:lnTo>
                      <a:lnTo>
                        <a:pt x="1697" y="961"/>
                      </a:lnTo>
                      <a:lnTo>
                        <a:pt x="1709" y="964"/>
                      </a:lnTo>
                      <a:lnTo>
                        <a:pt x="1719" y="963"/>
                      </a:lnTo>
                      <a:lnTo>
                        <a:pt x="1737" y="948"/>
                      </a:lnTo>
                      <a:lnTo>
                        <a:pt x="1767" y="937"/>
                      </a:lnTo>
                      <a:lnTo>
                        <a:pt x="1780" y="935"/>
                      </a:lnTo>
                      <a:lnTo>
                        <a:pt x="1791" y="931"/>
                      </a:lnTo>
                      <a:lnTo>
                        <a:pt x="1799" y="921"/>
                      </a:lnTo>
                      <a:lnTo>
                        <a:pt x="1810" y="918"/>
                      </a:lnTo>
                      <a:lnTo>
                        <a:pt x="1847" y="911"/>
                      </a:lnTo>
                      <a:lnTo>
                        <a:pt x="1865" y="904"/>
                      </a:lnTo>
                      <a:lnTo>
                        <a:pt x="1891" y="905"/>
                      </a:lnTo>
                      <a:lnTo>
                        <a:pt x="1907" y="899"/>
                      </a:lnTo>
                      <a:lnTo>
                        <a:pt x="1935" y="908"/>
                      </a:lnTo>
                      <a:lnTo>
                        <a:pt x="1940" y="905"/>
                      </a:lnTo>
                      <a:lnTo>
                        <a:pt x="1968" y="903"/>
                      </a:lnTo>
                      <a:lnTo>
                        <a:pt x="1998" y="892"/>
                      </a:lnTo>
                      <a:lnTo>
                        <a:pt x="2012" y="883"/>
                      </a:lnTo>
                      <a:lnTo>
                        <a:pt x="2032" y="868"/>
                      </a:lnTo>
                      <a:lnTo>
                        <a:pt x="2042" y="854"/>
                      </a:lnTo>
                      <a:lnTo>
                        <a:pt x="2100" y="805"/>
                      </a:lnTo>
                      <a:lnTo>
                        <a:pt x="2097" y="791"/>
                      </a:lnTo>
                      <a:lnTo>
                        <a:pt x="2075" y="762"/>
                      </a:lnTo>
                      <a:lnTo>
                        <a:pt x="2078" y="747"/>
                      </a:lnTo>
                      <a:lnTo>
                        <a:pt x="2091" y="727"/>
                      </a:lnTo>
                      <a:lnTo>
                        <a:pt x="2100" y="710"/>
                      </a:lnTo>
                      <a:lnTo>
                        <a:pt x="2121" y="704"/>
                      </a:lnTo>
                      <a:lnTo>
                        <a:pt x="2137" y="709"/>
                      </a:lnTo>
                      <a:lnTo>
                        <a:pt x="2149" y="722"/>
                      </a:lnTo>
                      <a:lnTo>
                        <a:pt x="2170" y="727"/>
                      </a:lnTo>
                      <a:lnTo>
                        <a:pt x="2188" y="727"/>
                      </a:lnTo>
                      <a:lnTo>
                        <a:pt x="2215" y="710"/>
                      </a:lnTo>
                      <a:lnTo>
                        <a:pt x="2234" y="689"/>
                      </a:lnTo>
                      <a:lnTo>
                        <a:pt x="2254" y="667"/>
                      </a:lnTo>
                      <a:lnTo>
                        <a:pt x="2266" y="667"/>
                      </a:lnTo>
                      <a:lnTo>
                        <a:pt x="2277" y="668"/>
                      </a:lnTo>
                      <a:lnTo>
                        <a:pt x="2284" y="666"/>
                      </a:lnTo>
                      <a:lnTo>
                        <a:pt x="2302" y="654"/>
                      </a:lnTo>
                      <a:lnTo>
                        <a:pt x="2353" y="598"/>
                      </a:lnTo>
                      <a:lnTo>
                        <a:pt x="2369" y="584"/>
                      </a:lnTo>
                      <a:lnTo>
                        <a:pt x="2390" y="580"/>
                      </a:lnTo>
                      <a:lnTo>
                        <a:pt x="2415" y="581"/>
                      </a:lnTo>
                      <a:lnTo>
                        <a:pt x="2440" y="577"/>
                      </a:lnTo>
                      <a:lnTo>
                        <a:pt x="2465" y="572"/>
                      </a:lnTo>
                      <a:lnTo>
                        <a:pt x="2484" y="577"/>
                      </a:lnTo>
                      <a:lnTo>
                        <a:pt x="2501" y="580"/>
                      </a:lnTo>
                      <a:lnTo>
                        <a:pt x="2511" y="574"/>
                      </a:lnTo>
                      <a:lnTo>
                        <a:pt x="2510" y="561"/>
                      </a:lnTo>
                      <a:lnTo>
                        <a:pt x="2496" y="553"/>
                      </a:lnTo>
                      <a:lnTo>
                        <a:pt x="2496" y="544"/>
                      </a:lnTo>
                      <a:lnTo>
                        <a:pt x="2498" y="531"/>
                      </a:lnTo>
                      <a:lnTo>
                        <a:pt x="2492" y="517"/>
                      </a:lnTo>
                      <a:lnTo>
                        <a:pt x="2463" y="493"/>
                      </a:lnTo>
                      <a:lnTo>
                        <a:pt x="2450" y="478"/>
                      </a:lnTo>
                      <a:lnTo>
                        <a:pt x="2444" y="464"/>
                      </a:lnTo>
                      <a:lnTo>
                        <a:pt x="2415" y="485"/>
                      </a:lnTo>
                      <a:lnTo>
                        <a:pt x="2397" y="498"/>
                      </a:lnTo>
                      <a:lnTo>
                        <a:pt x="2372" y="505"/>
                      </a:lnTo>
                      <a:lnTo>
                        <a:pt x="2347" y="507"/>
                      </a:lnTo>
                      <a:lnTo>
                        <a:pt x="2306" y="498"/>
                      </a:lnTo>
                      <a:lnTo>
                        <a:pt x="2297" y="483"/>
                      </a:lnTo>
                      <a:lnTo>
                        <a:pt x="2294" y="463"/>
                      </a:lnTo>
                      <a:lnTo>
                        <a:pt x="2294" y="441"/>
                      </a:lnTo>
                      <a:lnTo>
                        <a:pt x="2302" y="424"/>
                      </a:lnTo>
                      <a:lnTo>
                        <a:pt x="2305" y="404"/>
                      </a:lnTo>
                      <a:lnTo>
                        <a:pt x="2302" y="387"/>
                      </a:lnTo>
                      <a:lnTo>
                        <a:pt x="2302" y="371"/>
                      </a:lnTo>
                      <a:lnTo>
                        <a:pt x="2306" y="362"/>
                      </a:lnTo>
                      <a:lnTo>
                        <a:pt x="2317" y="348"/>
                      </a:lnTo>
                      <a:lnTo>
                        <a:pt x="2333" y="319"/>
                      </a:lnTo>
                      <a:lnTo>
                        <a:pt x="2342" y="311"/>
                      </a:lnTo>
                      <a:lnTo>
                        <a:pt x="2342" y="306"/>
                      </a:lnTo>
                      <a:lnTo>
                        <a:pt x="2353" y="308"/>
                      </a:lnTo>
                      <a:lnTo>
                        <a:pt x="2366" y="318"/>
                      </a:lnTo>
                      <a:lnTo>
                        <a:pt x="2398" y="328"/>
                      </a:lnTo>
                      <a:lnTo>
                        <a:pt x="2423" y="340"/>
                      </a:lnTo>
                      <a:lnTo>
                        <a:pt x="2434" y="338"/>
                      </a:lnTo>
                      <a:lnTo>
                        <a:pt x="2449" y="327"/>
                      </a:lnTo>
                      <a:lnTo>
                        <a:pt x="2499" y="296"/>
                      </a:lnTo>
                      <a:lnTo>
                        <a:pt x="2500" y="289"/>
                      </a:lnTo>
                      <a:lnTo>
                        <a:pt x="2498" y="276"/>
                      </a:lnTo>
                      <a:lnTo>
                        <a:pt x="2501" y="264"/>
                      </a:lnTo>
                      <a:lnTo>
                        <a:pt x="2512" y="251"/>
                      </a:lnTo>
                      <a:lnTo>
                        <a:pt x="2519" y="240"/>
                      </a:lnTo>
                      <a:lnTo>
                        <a:pt x="2526" y="210"/>
                      </a:lnTo>
                      <a:lnTo>
                        <a:pt x="2531" y="188"/>
                      </a:lnTo>
                      <a:lnTo>
                        <a:pt x="2538" y="171"/>
                      </a:lnTo>
                      <a:lnTo>
                        <a:pt x="2557" y="161"/>
                      </a:lnTo>
                      <a:lnTo>
                        <a:pt x="2581" y="134"/>
                      </a:lnTo>
                      <a:lnTo>
                        <a:pt x="2581" y="129"/>
                      </a:lnTo>
                      <a:lnTo>
                        <a:pt x="2576" y="118"/>
                      </a:lnTo>
                      <a:lnTo>
                        <a:pt x="2578" y="91"/>
                      </a:lnTo>
                      <a:lnTo>
                        <a:pt x="2571" y="87"/>
                      </a:lnTo>
                      <a:lnTo>
                        <a:pt x="2560" y="87"/>
                      </a:lnTo>
                      <a:lnTo>
                        <a:pt x="2542" y="92"/>
                      </a:lnTo>
                      <a:lnTo>
                        <a:pt x="2538" y="87"/>
                      </a:lnTo>
                      <a:lnTo>
                        <a:pt x="2543" y="74"/>
                      </a:lnTo>
                      <a:lnTo>
                        <a:pt x="2567" y="50"/>
                      </a:lnTo>
                      <a:lnTo>
                        <a:pt x="2575" y="38"/>
                      </a:lnTo>
                      <a:lnTo>
                        <a:pt x="2591" y="26"/>
                      </a:lnTo>
                      <a:lnTo>
                        <a:pt x="2625" y="20"/>
                      </a:lnTo>
                      <a:lnTo>
                        <a:pt x="2666" y="5"/>
                      </a:lnTo>
                      <a:lnTo>
                        <a:pt x="2691" y="6"/>
                      </a:lnTo>
                      <a:lnTo>
                        <a:pt x="2726" y="0"/>
                      </a:lnTo>
                      <a:lnTo>
                        <a:pt x="2738" y="0"/>
                      </a:lnTo>
                      <a:lnTo>
                        <a:pt x="2757" y="9"/>
                      </a:lnTo>
                      <a:lnTo>
                        <a:pt x="2774" y="21"/>
                      </a:lnTo>
                      <a:lnTo>
                        <a:pt x="2785" y="33"/>
                      </a:lnTo>
                      <a:lnTo>
                        <a:pt x="2801" y="37"/>
                      </a:lnTo>
                      <a:lnTo>
                        <a:pt x="2820" y="34"/>
                      </a:lnTo>
                      <a:lnTo>
                        <a:pt x="2836" y="38"/>
                      </a:lnTo>
                      <a:lnTo>
                        <a:pt x="2850" y="44"/>
                      </a:lnTo>
                      <a:lnTo>
                        <a:pt x="2858" y="58"/>
                      </a:lnTo>
                      <a:lnTo>
                        <a:pt x="2870" y="76"/>
                      </a:lnTo>
                      <a:lnTo>
                        <a:pt x="2871" y="89"/>
                      </a:lnTo>
                      <a:lnTo>
                        <a:pt x="2879" y="96"/>
                      </a:lnTo>
                      <a:lnTo>
                        <a:pt x="2888" y="102"/>
                      </a:lnTo>
                      <a:lnTo>
                        <a:pt x="2890" y="111"/>
                      </a:lnTo>
                      <a:lnTo>
                        <a:pt x="2891" y="106"/>
                      </a:lnTo>
                      <a:lnTo>
                        <a:pt x="2893" y="119"/>
                      </a:lnTo>
                      <a:lnTo>
                        <a:pt x="2898" y="134"/>
                      </a:lnTo>
                      <a:lnTo>
                        <a:pt x="2901" y="155"/>
                      </a:lnTo>
                      <a:lnTo>
                        <a:pt x="2909" y="172"/>
                      </a:lnTo>
                      <a:lnTo>
                        <a:pt x="2914" y="189"/>
                      </a:lnTo>
                      <a:lnTo>
                        <a:pt x="2935" y="229"/>
                      </a:lnTo>
                      <a:lnTo>
                        <a:pt x="2941" y="270"/>
                      </a:lnTo>
                      <a:lnTo>
                        <a:pt x="2950" y="289"/>
                      </a:lnTo>
                      <a:lnTo>
                        <a:pt x="2949" y="294"/>
                      </a:lnTo>
                      <a:lnTo>
                        <a:pt x="2950" y="295"/>
                      </a:lnTo>
                      <a:lnTo>
                        <a:pt x="2952" y="313"/>
                      </a:lnTo>
                      <a:lnTo>
                        <a:pt x="2952" y="334"/>
                      </a:lnTo>
                      <a:lnTo>
                        <a:pt x="2965" y="345"/>
                      </a:lnTo>
                      <a:lnTo>
                        <a:pt x="2988" y="348"/>
                      </a:lnTo>
                      <a:lnTo>
                        <a:pt x="3009" y="340"/>
                      </a:lnTo>
                      <a:lnTo>
                        <a:pt x="3025" y="348"/>
                      </a:lnTo>
                      <a:lnTo>
                        <a:pt x="3044" y="350"/>
                      </a:lnTo>
                      <a:lnTo>
                        <a:pt x="3062" y="359"/>
                      </a:lnTo>
                      <a:lnTo>
                        <a:pt x="3094" y="387"/>
                      </a:lnTo>
                      <a:lnTo>
                        <a:pt x="3109" y="394"/>
                      </a:lnTo>
                      <a:lnTo>
                        <a:pt x="3121" y="396"/>
                      </a:lnTo>
                      <a:lnTo>
                        <a:pt x="3125" y="403"/>
                      </a:lnTo>
                      <a:lnTo>
                        <a:pt x="3125" y="408"/>
                      </a:lnTo>
                      <a:lnTo>
                        <a:pt x="3127" y="407"/>
                      </a:lnTo>
                      <a:lnTo>
                        <a:pt x="3128" y="423"/>
                      </a:lnTo>
                      <a:lnTo>
                        <a:pt x="3135" y="432"/>
                      </a:lnTo>
                      <a:lnTo>
                        <a:pt x="3134" y="448"/>
                      </a:lnTo>
                      <a:lnTo>
                        <a:pt x="3135" y="466"/>
                      </a:lnTo>
                      <a:lnTo>
                        <a:pt x="3145" y="482"/>
                      </a:lnTo>
                      <a:lnTo>
                        <a:pt x="3151" y="495"/>
                      </a:lnTo>
                      <a:lnTo>
                        <a:pt x="3170" y="494"/>
                      </a:lnTo>
                      <a:lnTo>
                        <a:pt x="3189" y="500"/>
                      </a:lnTo>
                      <a:lnTo>
                        <a:pt x="3207" y="498"/>
                      </a:lnTo>
                      <a:lnTo>
                        <a:pt x="3238" y="483"/>
                      </a:lnTo>
                      <a:lnTo>
                        <a:pt x="3272" y="461"/>
                      </a:lnTo>
                      <a:lnTo>
                        <a:pt x="3290" y="459"/>
                      </a:lnTo>
                      <a:lnTo>
                        <a:pt x="3323" y="441"/>
                      </a:lnTo>
                      <a:lnTo>
                        <a:pt x="3355" y="432"/>
                      </a:lnTo>
                      <a:lnTo>
                        <a:pt x="3356" y="435"/>
                      </a:lnTo>
                      <a:lnTo>
                        <a:pt x="3348" y="448"/>
                      </a:lnTo>
                      <a:lnTo>
                        <a:pt x="3348" y="468"/>
                      </a:lnTo>
                      <a:lnTo>
                        <a:pt x="3353" y="484"/>
                      </a:lnTo>
                      <a:lnTo>
                        <a:pt x="3350" y="504"/>
                      </a:lnTo>
                      <a:lnTo>
                        <a:pt x="3338" y="514"/>
                      </a:lnTo>
                      <a:lnTo>
                        <a:pt x="3324" y="527"/>
                      </a:lnTo>
                      <a:lnTo>
                        <a:pt x="3322" y="548"/>
                      </a:lnTo>
                      <a:lnTo>
                        <a:pt x="3308" y="581"/>
                      </a:lnTo>
                      <a:lnTo>
                        <a:pt x="3300" y="623"/>
                      </a:lnTo>
                      <a:lnTo>
                        <a:pt x="3281" y="661"/>
                      </a:lnTo>
                      <a:lnTo>
                        <a:pt x="3268" y="679"/>
                      </a:lnTo>
                      <a:lnTo>
                        <a:pt x="3263" y="699"/>
                      </a:lnTo>
                      <a:lnTo>
                        <a:pt x="3251" y="709"/>
                      </a:lnTo>
                      <a:lnTo>
                        <a:pt x="3246" y="705"/>
                      </a:lnTo>
                      <a:lnTo>
                        <a:pt x="3195" y="693"/>
                      </a:lnTo>
                      <a:lnTo>
                        <a:pt x="3182" y="700"/>
                      </a:lnTo>
                      <a:lnTo>
                        <a:pt x="3146" y="735"/>
                      </a:lnTo>
                      <a:lnTo>
                        <a:pt x="3154" y="748"/>
                      </a:lnTo>
                      <a:lnTo>
                        <a:pt x="3160" y="775"/>
                      </a:lnTo>
                      <a:lnTo>
                        <a:pt x="3160" y="834"/>
                      </a:lnTo>
                      <a:lnTo>
                        <a:pt x="3144" y="859"/>
                      </a:lnTo>
                      <a:lnTo>
                        <a:pt x="3124" y="876"/>
                      </a:lnTo>
                      <a:lnTo>
                        <a:pt x="3124" y="894"/>
                      </a:lnTo>
                      <a:lnTo>
                        <a:pt x="3116" y="893"/>
                      </a:lnTo>
                      <a:lnTo>
                        <a:pt x="3108" y="878"/>
                      </a:lnTo>
                      <a:lnTo>
                        <a:pt x="3097" y="867"/>
                      </a:lnTo>
                      <a:lnTo>
                        <a:pt x="3086" y="876"/>
                      </a:lnTo>
                      <a:lnTo>
                        <a:pt x="3079" y="896"/>
                      </a:lnTo>
                      <a:lnTo>
                        <a:pt x="3069" y="911"/>
                      </a:lnTo>
                      <a:lnTo>
                        <a:pt x="3038" y="935"/>
                      </a:lnTo>
                      <a:lnTo>
                        <a:pt x="3014" y="941"/>
                      </a:lnTo>
                      <a:lnTo>
                        <a:pt x="2994" y="941"/>
                      </a:lnTo>
                      <a:lnTo>
                        <a:pt x="2989" y="950"/>
                      </a:lnTo>
                      <a:lnTo>
                        <a:pt x="2995" y="981"/>
                      </a:lnTo>
                      <a:lnTo>
                        <a:pt x="2953" y="985"/>
                      </a:lnTo>
                      <a:lnTo>
                        <a:pt x="2939" y="975"/>
                      </a:lnTo>
                      <a:lnTo>
                        <a:pt x="2920" y="970"/>
                      </a:lnTo>
                      <a:lnTo>
                        <a:pt x="2908" y="980"/>
                      </a:lnTo>
                      <a:lnTo>
                        <a:pt x="2883" y="1009"/>
                      </a:lnTo>
                      <a:lnTo>
                        <a:pt x="2865" y="1024"/>
                      </a:lnTo>
                      <a:lnTo>
                        <a:pt x="2826" y="1045"/>
                      </a:lnTo>
                      <a:lnTo>
                        <a:pt x="2811" y="1052"/>
                      </a:lnTo>
                      <a:lnTo>
                        <a:pt x="2783" y="1087"/>
                      </a:lnTo>
                      <a:lnTo>
                        <a:pt x="2781" y="1091"/>
                      </a:lnTo>
                      <a:lnTo>
                        <a:pt x="2774" y="1094"/>
                      </a:lnTo>
                      <a:lnTo>
                        <a:pt x="2767" y="1097"/>
                      </a:lnTo>
                      <a:lnTo>
                        <a:pt x="2756" y="1097"/>
                      </a:lnTo>
                      <a:lnTo>
                        <a:pt x="2734" y="1104"/>
                      </a:lnTo>
                      <a:lnTo>
                        <a:pt x="2729" y="1097"/>
                      </a:lnTo>
                      <a:lnTo>
                        <a:pt x="2724" y="1102"/>
                      </a:lnTo>
                      <a:lnTo>
                        <a:pt x="2709" y="1113"/>
                      </a:lnTo>
                      <a:lnTo>
                        <a:pt x="2673" y="1128"/>
                      </a:lnTo>
                      <a:lnTo>
                        <a:pt x="2665" y="1136"/>
                      </a:lnTo>
                      <a:lnTo>
                        <a:pt x="2657" y="1149"/>
                      </a:lnTo>
                      <a:lnTo>
                        <a:pt x="2646" y="1157"/>
                      </a:lnTo>
                      <a:lnTo>
                        <a:pt x="2638" y="1157"/>
                      </a:lnTo>
                      <a:lnTo>
                        <a:pt x="2632" y="1163"/>
                      </a:lnTo>
                      <a:lnTo>
                        <a:pt x="2613" y="1172"/>
                      </a:lnTo>
                      <a:lnTo>
                        <a:pt x="2607" y="1168"/>
                      </a:lnTo>
                      <a:lnTo>
                        <a:pt x="2616" y="1156"/>
                      </a:lnTo>
                      <a:lnTo>
                        <a:pt x="2630" y="1151"/>
                      </a:lnTo>
                      <a:lnTo>
                        <a:pt x="2635" y="1140"/>
                      </a:lnTo>
                      <a:lnTo>
                        <a:pt x="2638" y="1129"/>
                      </a:lnTo>
                      <a:lnTo>
                        <a:pt x="2630" y="1126"/>
                      </a:lnTo>
                      <a:lnTo>
                        <a:pt x="2622" y="1119"/>
                      </a:lnTo>
                      <a:lnTo>
                        <a:pt x="2616" y="1118"/>
                      </a:lnTo>
                      <a:lnTo>
                        <a:pt x="2625" y="1112"/>
                      </a:lnTo>
                      <a:lnTo>
                        <a:pt x="2627" y="1101"/>
                      </a:lnTo>
                      <a:lnTo>
                        <a:pt x="2638" y="1093"/>
                      </a:lnTo>
                      <a:lnTo>
                        <a:pt x="2660" y="1063"/>
                      </a:lnTo>
                      <a:lnTo>
                        <a:pt x="2667" y="1050"/>
                      </a:lnTo>
                      <a:lnTo>
                        <a:pt x="2665" y="1042"/>
                      </a:lnTo>
                      <a:lnTo>
                        <a:pt x="2652" y="1028"/>
                      </a:lnTo>
                      <a:lnTo>
                        <a:pt x="2649" y="1016"/>
                      </a:lnTo>
                      <a:lnTo>
                        <a:pt x="2644" y="1010"/>
                      </a:lnTo>
                      <a:lnTo>
                        <a:pt x="2639" y="1016"/>
                      </a:lnTo>
                      <a:lnTo>
                        <a:pt x="2616" y="1017"/>
                      </a:lnTo>
                      <a:lnTo>
                        <a:pt x="2606" y="1021"/>
                      </a:lnTo>
                      <a:lnTo>
                        <a:pt x="2590" y="1038"/>
                      </a:lnTo>
                      <a:lnTo>
                        <a:pt x="2578" y="1053"/>
                      </a:lnTo>
                      <a:lnTo>
                        <a:pt x="2571" y="1065"/>
                      </a:lnTo>
                      <a:lnTo>
                        <a:pt x="2568" y="1070"/>
                      </a:lnTo>
                      <a:lnTo>
                        <a:pt x="2542" y="1082"/>
                      </a:lnTo>
                      <a:lnTo>
                        <a:pt x="2524" y="1096"/>
                      </a:lnTo>
                      <a:lnTo>
                        <a:pt x="2516" y="1098"/>
                      </a:lnTo>
                      <a:lnTo>
                        <a:pt x="2509" y="1112"/>
                      </a:lnTo>
                      <a:lnTo>
                        <a:pt x="2506" y="1126"/>
                      </a:lnTo>
                      <a:lnTo>
                        <a:pt x="2498" y="1135"/>
                      </a:lnTo>
                      <a:lnTo>
                        <a:pt x="2488" y="1141"/>
                      </a:lnTo>
                      <a:lnTo>
                        <a:pt x="2473" y="1144"/>
                      </a:lnTo>
                      <a:lnTo>
                        <a:pt x="2462" y="1147"/>
                      </a:lnTo>
                      <a:lnTo>
                        <a:pt x="2451" y="1147"/>
                      </a:lnTo>
                      <a:lnTo>
                        <a:pt x="2445" y="1144"/>
                      </a:lnTo>
                      <a:lnTo>
                        <a:pt x="2433" y="1142"/>
                      </a:lnTo>
                      <a:lnTo>
                        <a:pt x="2423" y="1152"/>
                      </a:lnTo>
                      <a:lnTo>
                        <a:pt x="2417" y="1172"/>
                      </a:lnTo>
                      <a:lnTo>
                        <a:pt x="2414" y="1189"/>
                      </a:lnTo>
                      <a:lnTo>
                        <a:pt x="2431" y="1207"/>
                      </a:lnTo>
                      <a:lnTo>
                        <a:pt x="2435" y="1216"/>
                      </a:lnTo>
                      <a:lnTo>
                        <a:pt x="2444" y="1221"/>
                      </a:lnTo>
                      <a:lnTo>
                        <a:pt x="2451" y="1221"/>
                      </a:lnTo>
                      <a:lnTo>
                        <a:pt x="2456" y="1228"/>
                      </a:lnTo>
                      <a:lnTo>
                        <a:pt x="2465" y="1228"/>
                      </a:lnTo>
                      <a:lnTo>
                        <a:pt x="2469" y="1239"/>
                      </a:lnTo>
                      <a:lnTo>
                        <a:pt x="2479" y="1247"/>
                      </a:lnTo>
                      <a:lnTo>
                        <a:pt x="2482" y="1255"/>
                      </a:lnTo>
                      <a:lnTo>
                        <a:pt x="2482" y="1265"/>
                      </a:lnTo>
                      <a:lnTo>
                        <a:pt x="2490" y="1276"/>
                      </a:lnTo>
                      <a:lnTo>
                        <a:pt x="2517" y="1286"/>
                      </a:lnTo>
                      <a:lnTo>
                        <a:pt x="2531" y="1285"/>
                      </a:lnTo>
                      <a:lnTo>
                        <a:pt x="2543" y="1269"/>
                      </a:lnTo>
                      <a:lnTo>
                        <a:pt x="2554" y="1260"/>
                      </a:lnTo>
                      <a:lnTo>
                        <a:pt x="2562" y="1249"/>
                      </a:lnTo>
                      <a:lnTo>
                        <a:pt x="2584" y="1239"/>
                      </a:lnTo>
                      <a:lnTo>
                        <a:pt x="2591" y="1238"/>
                      </a:lnTo>
                      <a:lnTo>
                        <a:pt x="2602" y="1249"/>
                      </a:lnTo>
                      <a:lnTo>
                        <a:pt x="2611" y="1254"/>
                      </a:lnTo>
                      <a:lnTo>
                        <a:pt x="2622" y="1255"/>
                      </a:lnTo>
                      <a:lnTo>
                        <a:pt x="2629" y="1264"/>
                      </a:lnTo>
                      <a:lnTo>
                        <a:pt x="2637" y="1265"/>
                      </a:lnTo>
                      <a:lnTo>
                        <a:pt x="2649" y="1263"/>
                      </a:lnTo>
                      <a:lnTo>
                        <a:pt x="2657" y="1258"/>
                      </a:lnTo>
                      <a:lnTo>
                        <a:pt x="2671" y="1264"/>
                      </a:lnTo>
                      <a:lnTo>
                        <a:pt x="2683" y="1266"/>
                      </a:lnTo>
                      <a:lnTo>
                        <a:pt x="2687" y="1268"/>
                      </a:lnTo>
                      <a:lnTo>
                        <a:pt x="2684" y="1281"/>
                      </a:lnTo>
                      <a:lnTo>
                        <a:pt x="2680" y="1290"/>
                      </a:lnTo>
                      <a:lnTo>
                        <a:pt x="2680" y="1295"/>
                      </a:lnTo>
                      <a:lnTo>
                        <a:pt x="2670" y="1307"/>
                      </a:lnTo>
                      <a:lnTo>
                        <a:pt x="2666" y="1303"/>
                      </a:lnTo>
                      <a:lnTo>
                        <a:pt x="2662" y="1293"/>
                      </a:lnTo>
                      <a:lnTo>
                        <a:pt x="2656" y="1297"/>
                      </a:lnTo>
                      <a:lnTo>
                        <a:pt x="2650" y="1295"/>
                      </a:lnTo>
                      <a:lnTo>
                        <a:pt x="2643" y="1301"/>
                      </a:lnTo>
                      <a:lnTo>
                        <a:pt x="2637" y="1311"/>
                      </a:lnTo>
                      <a:lnTo>
                        <a:pt x="2614" y="1313"/>
                      </a:lnTo>
                      <a:lnTo>
                        <a:pt x="2602" y="1319"/>
                      </a:lnTo>
                      <a:lnTo>
                        <a:pt x="2591" y="1319"/>
                      </a:lnTo>
                      <a:lnTo>
                        <a:pt x="2594" y="1333"/>
                      </a:lnTo>
                      <a:lnTo>
                        <a:pt x="2590" y="1333"/>
                      </a:lnTo>
                      <a:lnTo>
                        <a:pt x="2585" y="1338"/>
                      </a:lnTo>
                      <a:lnTo>
                        <a:pt x="2578" y="1355"/>
                      </a:lnTo>
                      <a:lnTo>
                        <a:pt x="2568" y="1356"/>
                      </a:lnTo>
                      <a:lnTo>
                        <a:pt x="2564" y="1345"/>
                      </a:lnTo>
                      <a:lnTo>
                        <a:pt x="2555" y="1345"/>
                      </a:lnTo>
                      <a:lnTo>
                        <a:pt x="2548" y="1354"/>
                      </a:lnTo>
                      <a:lnTo>
                        <a:pt x="2555" y="1362"/>
                      </a:lnTo>
                      <a:lnTo>
                        <a:pt x="2552" y="1371"/>
                      </a:lnTo>
                      <a:lnTo>
                        <a:pt x="2544" y="1381"/>
                      </a:lnTo>
                      <a:lnTo>
                        <a:pt x="2526" y="1391"/>
                      </a:lnTo>
                      <a:lnTo>
                        <a:pt x="2521" y="1404"/>
                      </a:lnTo>
                      <a:lnTo>
                        <a:pt x="2509" y="1421"/>
                      </a:lnTo>
                      <a:lnTo>
                        <a:pt x="2500" y="1437"/>
                      </a:lnTo>
                      <a:lnTo>
                        <a:pt x="2503" y="1446"/>
                      </a:lnTo>
                      <a:lnTo>
                        <a:pt x="2514" y="1448"/>
                      </a:lnTo>
                      <a:lnTo>
                        <a:pt x="2522" y="1456"/>
                      </a:lnTo>
                      <a:lnTo>
                        <a:pt x="2555" y="1473"/>
                      </a:lnTo>
                      <a:lnTo>
                        <a:pt x="2562" y="1483"/>
                      </a:lnTo>
                      <a:lnTo>
                        <a:pt x="2567" y="1499"/>
                      </a:lnTo>
                      <a:lnTo>
                        <a:pt x="2574" y="1508"/>
                      </a:lnTo>
                      <a:lnTo>
                        <a:pt x="2584" y="1548"/>
                      </a:lnTo>
                      <a:lnTo>
                        <a:pt x="2590" y="1561"/>
                      </a:lnTo>
                      <a:lnTo>
                        <a:pt x="2594" y="1578"/>
                      </a:lnTo>
                      <a:lnTo>
                        <a:pt x="2603" y="1592"/>
                      </a:lnTo>
                      <a:lnTo>
                        <a:pt x="2617" y="1598"/>
                      </a:lnTo>
                      <a:lnTo>
                        <a:pt x="2618" y="1608"/>
                      </a:lnTo>
                      <a:lnTo>
                        <a:pt x="2635" y="1625"/>
                      </a:lnTo>
                      <a:lnTo>
                        <a:pt x="2646" y="1642"/>
                      </a:lnTo>
                      <a:lnTo>
                        <a:pt x="2646" y="1646"/>
                      </a:lnTo>
                      <a:lnTo>
                        <a:pt x="2628" y="1637"/>
                      </a:lnTo>
                      <a:lnTo>
                        <a:pt x="2613" y="1632"/>
                      </a:lnTo>
                      <a:lnTo>
                        <a:pt x="2602" y="1632"/>
                      </a:lnTo>
                      <a:lnTo>
                        <a:pt x="2590" y="1624"/>
                      </a:lnTo>
                      <a:lnTo>
                        <a:pt x="2576" y="1620"/>
                      </a:lnTo>
                      <a:lnTo>
                        <a:pt x="2551" y="1625"/>
                      </a:lnTo>
                      <a:lnTo>
                        <a:pt x="2551" y="1631"/>
                      </a:lnTo>
                      <a:lnTo>
                        <a:pt x="2576" y="1626"/>
                      </a:lnTo>
                      <a:lnTo>
                        <a:pt x="2581" y="1630"/>
                      </a:lnTo>
                      <a:lnTo>
                        <a:pt x="2584" y="1637"/>
                      </a:lnTo>
                      <a:lnTo>
                        <a:pt x="2595" y="1639"/>
                      </a:lnTo>
                      <a:lnTo>
                        <a:pt x="2607" y="1647"/>
                      </a:lnTo>
                      <a:lnTo>
                        <a:pt x="2618" y="1660"/>
                      </a:lnTo>
                      <a:lnTo>
                        <a:pt x="2627" y="1664"/>
                      </a:lnTo>
                      <a:lnTo>
                        <a:pt x="2632" y="1667"/>
                      </a:lnTo>
                      <a:lnTo>
                        <a:pt x="2640" y="1677"/>
                      </a:lnTo>
                      <a:lnTo>
                        <a:pt x="2648" y="1690"/>
                      </a:lnTo>
                      <a:lnTo>
                        <a:pt x="2646" y="1695"/>
                      </a:lnTo>
                      <a:lnTo>
                        <a:pt x="2633" y="1696"/>
                      </a:lnTo>
                      <a:lnTo>
                        <a:pt x="2622" y="1706"/>
                      </a:lnTo>
                      <a:lnTo>
                        <a:pt x="2611" y="1710"/>
                      </a:lnTo>
                      <a:lnTo>
                        <a:pt x="2603" y="1715"/>
                      </a:lnTo>
                      <a:lnTo>
                        <a:pt x="2600" y="1720"/>
                      </a:lnTo>
                      <a:lnTo>
                        <a:pt x="2589" y="1727"/>
                      </a:lnTo>
                      <a:lnTo>
                        <a:pt x="2573" y="1727"/>
                      </a:lnTo>
                      <a:lnTo>
                        <a:pt x="2562" y="1730"/>
                      </a:lnTo>
                      <a:lnTo>
                        <a:pt x="2551" y="1734"/>
                      </a:lnTo>
                      <a:lnTo>
                        <a:pt x="2563" y="1733"/>
                      </a:lnTo>
                      <a:lnTo>
                        <a:pt x="2575" y="1737"/>
                      </a:lnTo>
                      <a:lnTo>
                        <a:pt x="2586" y="1742"/>
                      </a:lnTo>
                      <a:lnTo>
                        <a:pt x="2607" y="1733"/>
                      </a:lnTo>
                      <a:lnTo>
                        <a:pt x="2616" y="1736"/>
                      </a:lnTo>
                      <a:lnTo>
                        <a:pt x="2624" y="1743"/>
                      </a:lnTo>
                      <a:lnTo>
                        <a:pt x="2628" y="1749"/>
                      </a:lnTo>
                      <a:lnTo>
                        <a:pt x="2633" y="1753"/>
                      </a:lnTo>
                      <a:lnTo>
                        <a:pt x="2640" y="1755"/>
                      </a:lnTo>
                      <a:lnTo>
                        <a:pt x="2648" y="1755"/>
                      </a:lnTo>
                      <a:lnTo>
                        <a:pt x="2652" y="1758"/>
                      </a:lnTo>
                      <a:lnTo>
                        <a:pt x="2646" y="1761"/>
                      </a:lnTo>
                      <a:lnTo>
                        <a:pt x="2633" y="1776"/>
                      </a:lnTo>
                      <a:lnTo>
                        <a:pt x="2623" y="1781"/>
                      </a:lnTo>
                      <a:lnTo>
                        <a:pt x="2627" y="1782"/>
                      </a:lnTo>
                      <a:lnTo>
                        <a:pt x="2643" y="1775"/>
                      </a:lnTo>
                      <a:lnTo>
                        <a:pt x="2643" y="1788"/>
                      </a:lnTo>
                      <a:lnTo>
                        <a:pt x="2641" y="1798"/>
                      </a:lnTo>
                      <a:lnTo>
                        <a:pt x="2640" y="1795"/>
                      </a:lnTo>
                      <a:lnTo>
                        <a:pt x="2635" y="1798"/>
                      </a:lnTo>
                      <a:lnTo>
                        <a:pt x="2623" y="1802"/>
                      </a:lnTo>
                      <a:lnTo>
                        <a:pt x="2623" y="1804"/>
                      </a:lnTo>
                      <a:lnTo>
                        <a:pt x="2628" y="1814"/>
                      </a:lnTo>
                      <a:lnTo>
                        <a:pt x="2625" y="1829"/>
                      </a:lnTo>
                      <a:lnTo>
                        <a:pt x="2622" y="1833"/>
                      </a:lnTo>
                      <a:lnTo>
                        <a:pt x="2622" y="1850"/>
                      </a:lnTo>
                      <a:lnTo>
                        <a:pt x="2616" y="1865"/>
                      </a:lnTo>
                      <a:lnTo>
                        <a:pt x="2611" y="1862"/>
                      </a:lnTo>
                      <a:lnTo>
                        <a:pt x="2606" y="1856"/>
                      </a:lnTo>
                      <a:lnTo>
                        <a:pt x="2601" y="1860"/>
                      </a:lnTo>
                      <a:lnTo>
                        <a:pt x="2594" y="1871"/>
                      </a:lnTo>
                      <a:lnTo>
                        <a:pt x="2587" y="1879"/>
                      </a:lnTo>
                      <a:lnTo>
                        <a:pt x="2582" y="1887"/>
                      </a:lnTo>
                      <a:lnTo>
                        <a:pt x="2578" y="1890"/>
                      </a:lnTo>
                      <a:lnTo>
                        <a:pt x="2574" y="1897"/>
                      </a:lnTo>
                      <a:lnTo>
                        <a:pt x="2571" y="1904"/>
                      </a:lnTo>
                      <a:lnTo>
                        <a:pt x="2571" y="1911"/>
                      </a:lnTo>
                      <a:lnTo>
                        <a:pt x="2567" y="1921"/>
                      </a:lnTo>
                      <a:lnTo>
                        <a:pt x="2560" y="1930"/>
                      </a:lnTo>
                      <a:lnTo>
                        <a:pt x="2555" y="1933"/>
                      </a:lnTo>
                      <a:lnTo>
                        <a:pt x="2546" y="1943"/>
                      </a:lnTo>
                      <a:lnTo>
                        <a:pt x="2543" y="1957"/>
                      </a:lnTo>
                      <a:lnTo>
                        <a:pt x="2537" y="1964"/>
                      </a:lnTo>
                      <a:lnTo>
                        <a:pt x="2535" y="1962"/>
                      </a:lnTo>
                      <a:lnTo>
                        <a:pt x="2533" y="1948"/>
                      </a:lnTo>
                      <a:lnTo>
                        <a:pt x="2525" y="1949"/>
                      </a:lnTo>
                      <a:lnTo>
                        <a:pt x="2517" y="1956"/>
                      </a:lnTo>
                      <a:lnTo>
                        <a:pt x="2526" y="1973"/>
                      </a:lnTo>
                      <a:lnTo>
                        <a:pt x="2526" y="1976"/>
                      </a:lnTo>
                      <a:lnTo>
                        <a:pt x="2521" y="1992"/>
                      </a:lnTo>
                      <a:lnTo>
                        <a:pt x="2521" y="1997"/>
                      </a:lnTo>
                      <a:lnTo>
                        <a:pt x="2520" y="2003"/>
                      </a:lnTo>
                      <a:lnTo>
                        <a:pt x="2517" y="2010"/>
                      </a:lnTo>
                      <a:lnTo>
                        <a:pt x="2515" y="2013"/>
                      </a:lnTo>
                      <a:lnTo>
                        <a:pt x="2511" y="2014"/>
                      </a:lnTo>
                      <a:lnTo>
                        <a:pt x="2511" y="2021"/>
                      </a:lnTo>
                      <a:lnTo>
                        <a:pt x="2512" y="2028"/>
                      </a:lnTo>
                      <a:lnTo>
                        <a:pt x="2511" y="2030"/>
                      </a:lnTo>
                      <a:lnTo>
                        <a:pt x="2506" y="2028"/>
                      </a:lnTo>
                      <a:lnTo>
                        <a:pt x="2500" y="2028"/>
                      </a:lnTo>
                      <a:lnTo>
                        <a:pt x="2495" y="2033"/>
                      </a:lnTo>
                      <a:lnTo>
                        <a:pt x="2498" y="2040"/>
                      </a:lnTo>
                      <a:lnTo>
                        <a:pt x="2494" y="2046"/>
                      </a:lnTo>
                      <a:lnTo>
                        <a:pt x="2490" y="2044"/>
                      </a:lnTo>
                      <a:lnTo>
                        <a:pt x="2484" y="2045"/>
                      </a:lnTo>
                      <a:lnTo>
                        <a:pt x="2478" y="2060"/>
                      </a:lnTo>
                      <a:lnTo>
                        <a:pt x="2471" y="2065"/>
                      </a:lnTo>
                      <a:lnTo>
                        <a:pt x="2469" y="2075"/>
                      </a:lnTo>
                      <a:lnTo>
                        <a:pt x="2465" y="2081"/>
                      </a:lnTo>
                      <a:lnTo>
                        <a:pt x="2447" y="2083"/>
                      </a:lnTo>
                      <a:lnTo>
                        <a:pt x="2440" y="2081"/>
                      </a:lnTo>
                      <a:lnTo>
                        <a:pt x="2431" y="2088"/>
                      </a:lnTo>
                      <a:lnTo>
                        <a:pt x="2433" y="2091"/>
                      </a:lnTo>
                      <a:lnTo>
                        <a:pt x="2435" y="2097"/>
                      </a:lnTo>
                      <a:lnTo>
                        <a:pt x="2433" y="2105"/>
                      </a:lnTo>
                      <a:lnTo>
                        <a:pt x="2418" y="2119"/>
                      </a:lnTo>
                      <a:lnTo>
                        <a:pt x="2413" y="2119"/>
                      </a:lnTo>
                      <a:lnTo>
                        <a:pt x="2410" y="2131"/>
                      </a:lnTo>
                      <a:lnTo>
                        <a:pt x="2408" y="2123"/>
                      </a:lnTo>
                      <a:lnTo>
                        <a:pt x="2402" y="2127"/>
                      </a:lnTo>
                      <a:lnTo>
                        <a:pt x="2401" y="2135"/>
                      </a:lnTo>
                      <a:lnTo>
                        <a:pt x="2398" y="2134"/>
                      </a:lnTo>
                      <a:lnTo>
                        <a:pt x="2395" y="2134"/>
                      </a:lnTo>
                      <a:lnTo>
                        <a:pt x="2385" y="2141"/>
                      </a:lnTo>
                      <a:lnTo>
                        <a:pt x="2380" y="2140"/>
                      </a:lnTo>
                      <a:lnTo>
                        <a:pt x="2372" y="2141"/>
                      </a:lnTo>
                      <a:lnTo>
                        <a:pt x="2365" y="2152"/>
                      </a:lnTo>
                      <a:lnTo>
                        <a:pt x="2361" y="2159"/>
                      </a:lnTo>
                      <a:lnTo>
                        <a:pt x="2356" y="2164"/>
                      </a:lnTo>
                      <a:lnTo>
                        <a:pt x="2354" y="2170"/>
                      </a:lnTo>
                      <a:lnTo>
                        <a:pt x="2344" y="2177"/>
                      </a:lnTo>
                      <a:lnTo>
                        <a:pt x="2328" y="2183"/>
                      </a:lnTo>
                      <a:lnTo>
                        <a:pt x="2316" y="2189"/>
                      </a:lnTo>
                      <a:lnTo>
                        <a:pt x="2309" y="2186"/>
                      </a:lnTo>
                      <a:lnTo>
                        <a:pt x="2302" y="2184"/>
                      </a:lnTo>
                      <a:lnTo>
                        <a:pt x="2299" y="2189"/>
                      </a:lnTo>
                      <a:lnTo>
                        <a:pt x="2297" y="2193"/>
                      </a:lnTo>
                      <a:lnTo>
                        <a:pt x="2291" y="2195"/>
                      </a:lnTo>
                      <a:lnTo>
                        <a:pt x="2285" y="2193"/>
                      </a:lnTo>
                      <a:lnTo>
                        <a:pt x="2285" y="2188"/>
                      </a:lnTo>
                      <a:lnTo>
                        <a:pt x="2277" y="2184"/>
                      </a:lnTo>
                      <a:lnTo>
                        <a:pt x="2268" y="2190"/>
                      </a:lnTo>
                      <a:lnTo>
                        <a:pt x="2263" y="2199"/>
                      </a:lnTo>
                      <a:lnTo>
                        <a:pt x="2256" y="2199"/>
                      </a:lnTo>
                      <a:lnTo>
                        <a:pt x="2253" y="2193"/>
                      </a:lnTo>
                      <a:lnTo>
                        <a:pt x="2253" y="2189"/>
                      </a:lnTo>
                      <a:lnTo>
                        <a:pt x="2245" y="2191"/>
                      </a:lnTo>
                      <a:lnTo>
                        <a:pt x="2245" y="2202"/>
                      </a:lnTo>
                      <a:lnTo>
                        <a:pt x="2243" y="2202"/>
                      </a:lnTo>
                      <a:close/>
                    </a:path>
                  </a:pathLst>
                </a:custGeom>
                <a:solidFill>
                  <a:schemeClr val="bg2">
                    <a:lumMod val="60000"/>
                    <a:lumOff val="40000"/>
                  </a:schemeClr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48" name="Freeform 164"/>
                <p:cNvSpPr>
                  <a:spLocks/>
                </p:cNvSpPr>
                <p:nvPr/>
              </p:nvSpPr>
              <p:spPr bwMode="gray">
                <a:xfrm>
                  <a:off x="6761313" y="2111804"/>
                  <a:ext cx="120547" cy="134537"/>
                </a:xfrm>
                <a:custGeom>
                  <a:avLst/>
                  <a:gdLst>
                    <a:gd name="T0" fmla="*/ 18934 w 349"/>
                    <a:gd name="T1" fmla="*/ 25697 h 377"/>
                    <a:gd name="T2" fmla="*/ 16292 w 349"/>
                    <a:gd name="T3" fmla="*/ 23210 h 377"/>
                    <a:gd name="T4" fmla="*/ 14531 w 349"/>
                    <a:gd name="T5" fmla="*/ 22381 h 377"/>
                    <a:gd name="T6" fmla="*/ 14971 w 349"/>
                    <a:gd name="T7" fmla="*/ 21967 h 377"/>
                    <a:gd name="T8" fmla="*/ 14971 w 349"/>
                    <a:gd name="T9" fmla="*/ 19895 h 377"/>
                    <a:gd name="T10" fmla="*/ 16292 w 349"/>
                    <a:gd name="T11" fmla="*/ 19066 h 377"/>
                    <a:gd name="T12" fmla="*/ 17173 w 349"/>
                    <a:gd name="T13" fmla="*/ 17822 h 377"/>
                    <a:gd name="T14" fmla="*/ 20255 w 349"/>
                    <a:gd name="T15" fmla="*/ 16579 h 377"/>
                    <a:gd name="T16" fmla="*/ 22457 w 349"/>
                    <a:gd name="T17" fmla="*/ 14921 h 377"/>
                    <a:gd name="T18" fmla="*/ 25099 w 349"/>
                    <a:gd name="T19" fmla="*/ 12849 h 377"/>
                    <a:gd name="T20" fmla="*/ 25980 w 349"/>
                    <a:gd name="T21" fmla="*/ 9947 h 377"/>
                    <a:gd name="T22" fmla="*/ 25539 w 349"/>
                    <a:gd name="T23" fmla="*/ 8289 h 377"/>
                    <a:gd name="T24" fmla="*/ 26860 w 349"/>
                    <a:gd name="T25" fmla="*/ 6632 h 377"/>
                    <a:gd name="T26" fmla="*/ 29943 w 349"/>
                    <a:gd name="T27" fmla="*/ 3730 h 377"/>
                    <a:gd name="T28" fmla="*/ 30383 w 349"/>
                    <a:gd name="T29" fmla="*/ 3316 h 377"/>
                    <a:gd name="T30" fmla="*/ 29943 w 349"/>
                    <a:gd name="T31" fmla="*/ 2072 h 377"/>
                    <a:gd name="T32" fmla="*/ 28622 w 349"/>
                    <a:gd name="T33" fmla="*/ 829 h 377"/>
                    <a:gd name="T34" fmla="*/ 26420 w 349"/>
                    <a:gd name="T35" fmla="*/ 829 h 377"/>
                    <a:gd name="T36" fmla="*/ 25099 w 349"/>
                    <a:gd name="T37" fmla="*/ 3730 h 377"/>
                    <a:gd name="T38" fmla="*/ 20255 w 349"/>
                    <a:gd name="T39" fmla="*/ 6217 h 377"/>
                    <a:gd name="T40" fmla="*/ 18054 w 349"/>
                    <a:gd name="T41" fmla="*/ 7046 h 377"/>
                    <a:gd name="T42" fmla="*/ 14971 w 349"/>
                    <a:gd name="T43" fmla="*/ 9947 h 377"/>
                    <a:gd name="T44" fmla="*/ 11889 w 349"/>
                    <a:gd name="T45" fmla="*/ 8704 h 377"/>
                    <a:gd name="T46" fmla="*/ 8807 w 349"/>
                    <a:gd name="T47" fmla="*/ 12020 h 377"/>
                    <a:gd name="T48" fmla="*/ 3963 w 349"/>
                    <a:gd name="T49" fmla="*/ 14921 h 377"/>
                    <a:gd name="T50" fmla="*/ 0 w 349"/>
                    <a:gd name="T51" fmla="*/ 18237 h 377"/>
                    <a:gd name="T52" fmla="*/ 1321 w 349"/>
                    <a:gd name="T53" fmla="*/ 19480 h 377"/>
                    <a:gd name="T54" fmla="*/ 2642 w 349"/>
                    <a:gd name="T55" fmla="*/ 19895 h 377"/>
                    <a:gd name="T56" fmla="*/ 4844 w 349"/>
                    <a:gd name="T57" fmla="*/ 20309 h 377"/>
                    <a:gd name="T58" fmla="*/ 5284 w 349"/>
                    <a:gd name="T59" fmla="*/ 21552 h 377"/>
                    <a:gd name="T60" fmla="*/ 4403 w 349"/>
                    <a:gd name="T61" fmla="*/ 25283 h 377"/>
                    <a:gd name="T62" fmla="*/ 5284 w 349"/>
                    <a:gd name="T63" fmla="*/ 25697 h 377"/>
                    <a:gd name="T64" fmla="*/ 3963 w 349"/>
                    <a:gd name="T65" fmla="*/ 26941 h 377"/>
                    <a:gd name="T66" fmla="*/ 2642 w 349"/>
                    <a:gd name="T67" fmla="*/ 28184 h 377"/>
                    <a:gd name="T68" fmla="*/ 3523 w 349"/>
                    <a:gd name="T69" fmla="*/ 29427 h 377"/>
                    <a:gd name="T70" fmla="*/ 3963 w 349"/>
                    <a:gd name="T71" fmla="*/ 29842 h 377"/>
                    <a:gd name="T72" fmla="*/ 3523 w 349"/>
                    <a:gd name="T73" fmla="*/ 30256 h 377"/>
                    <a:gd name="T74" fmla="*/ 3963 w 349"/>
                    <a:gd name="T75" fmla="*/ 30671 h 377"/>
                    <a:gd name="T76" fmla="*/ 4403 w 349"/>
                    <a:gd name="T77" fmla="*/ 31500 h 377"/>
                    <a:gd name="T78" fmla="*/ 5724 w 349"/>
                    <a:gd name="T79" fmla="*/ 31085 h 377"/>
                    <a:gd name="T80" fmla="*/ 6605 w 349"/>
                    <a:gd name="T81" fmla="*/ 30256 h 377"/>
                    <a:gd name="T82" fmla="*/ 6605 w 349"/>
                    <a:gd name="T83" fmla="*/ 29842 h 377"/>
                    <a:gd name="T84" fmla="*/ 7926 w 349"/>
                    <a:gd name="T85" fmla="*/ 30671 h 377"/>
                    <a:gd name="T86" fmla="*/ 8807 w 349"/>
                    <a:gd name="T87" fmla="*/ 30671 h 377"/>
                    <a:gd name="T88" fmla="*/ 10568 w 349"/>
                    <a:gd name="T89" fmla="*/ 31085 h 377"/>
                    <a:gd name="T90" fmla="*/ 13650 w 349"/>
                    <a:gd name="T91" fmla="*/ 28598 h 377"/>
                    <a:gd name="T92" fmla="*/ 16733 w 349"/>
                    <a:gd name="T93" fmla="*/ 28598 h 377"/>
                    <a:gd name="T94" fmla="*/ 19375 w 349"/>
                    <a:gd name="T95" fmla="*/ 26526 h 377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349"/>
                    <a:gd name="T145" fmla="*/ 0 h 377"/>
                    <a:gd name="T146" fmla="*/ 349 w 349"/>
                    <a:gd name="T147" fmla="*/ 377 h 377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349" h="377">
                      <a:moveTo>
                        <a:pt x="223" y="318"/>
                      </a:moveTo>
                      <a:lnTo>
                        <a:pt x="220" y="310"/>
                      </a:lnTo>
                      <a:lnTo>
                        <a:pt x="196" y="290"/>
                      </a:lnTo>
                      <a:lnTo>
                        <a:pt x="185" y="277"/>
                      </a:lnTo>
                      <a:lnTo>
                        <a:pt x="171" y="272"/>
                      </a:lnTo>
                      <a:lnTo>
                        <a:pt x="169" y="266"/>
                      </a:lnTo>
                      <a:lnTo>
                        <a:pt x="174" y="253"/>
                      </a:lnTo>
                      <a:lnTo>
                        <a:pt x="174" y="262"/>
                      </a:lnTo>
                      <a:lnTo>
                        <a:pt x="175" y="255"/>
                      </a:lnTo>
                      <a:lnTo>
                        <a:pt x="174" y="236"/>
                      </a:lnTo>
                      <a:lnTo>
                        <a:pt x="175" y="229"/>
                      </a:lnTo>
                      <a:lnTo>
                        <a:pt x="186" y="226"/>
                      </a:lnTo>
                      <a:lnTo>
                        <a:pt x="196" y="220"/>
                      </a:lnTo>
                      <a:lnTo>
                        <a:pt x="199" y="212"/>
                      </a:lnTo>
                      <a:lnTo>
                        <a:pt x="223" y="209"/>
                      </a:lnTo>
                      <a:lnTo>
                        <a:pt x="235" y="200"/>
                      </a:lnTo>
                      <a:lnTo>
                        <a:pt x="239" y="194"/>
                      </a:lnTo>
                      <a:lnTo>
                        <a:pt x="257" y="181"/>
                      </a:lnTo>
                      <a:lnTo>
                        <a:pt x="274" y="162"/>
                      </a:lnTo>
                      <a:lnTo>
                        <a:pt x="289" y="155"/>
                      </a:lnTo>
                      <a:lnTo>
                        <a:pt x="295" y="150"/>
                      </a:lnTo>
                      <a:lnTo>
                        <a:pt x="297" y="121"/>
                      </a:lnTo>
                      <a:lnTo>
                        <a:pt x="293" y="112"/>
                      </a:lnTo>
                      <a:lnTo>
                        <a:pt x="295" y="101"/>
                      </a:lnTo>
                      <a:lnTo>
                        <a:pt x="304" y="87"/>
                      </a:lnTo>
                      <a:lnTo>
                        <a:pt x="308" y="80"/>
                      </a:lnTo>
                      <a:lnTo>
                        <a:pt x="335" y="49"/>
                      </a:lnTo>
                      <a:lnTo>
                        <a:pt x="342" y="46"/>
                      </a:lnTo>
                      <a:lnTo>
                        <a:pt x="349" y="48"/>
                      </a:lnTo>
                      <a:lnTo>
                        <a:pt x="347" y="41"/>
                      </a:lnTo>
                      <a:lnTo>
                        <a:pt x="343" y="33"/>
                      </a:lnTo>
                      <a:lnTo>
                        <a:pt x="343" y="27"/>
                      </a:lnTo>
                      <a:lnTo>
                        <a:pt x="335" y="26"/>
                      </a:lnTo>
                      <a:lnTo>
                        <a:pt x="327" y="11"/>
                      </a:lnTo>
                      <a:lnTo>
                        <a:pt x="316" y="0"/>
                      </a:lnTo>
                      <a:lnTo>
                        <a:pt x="305" y="9"/>
                      </a:lnTo>
                      <a:lnTo>
                        <a:pt x="298" y="29"/>
                      </a:lnTo>
                      <a:lnTo>
                        <a:pt x="288" y="44"/>
                      </a:lnTo>
                      <a:lnTo>
                        <a:pt x="257" y="68"/>
                      </a:lnTo>
                      <a:lnTo>
                        <a:pt x="233" y="74"/>
                      </a:lnTo>
                      <a:lnTo>
                        <a:pt x="213" y="74"/>
                      </a:lnTo>
                      <a:lnTo>
                        <a:pt x="208" y="83"/>
                      </a:lnTo>
                      <a:lnTo>
                        <a:pt x="214" y="114"/>
                      </a:lnTo>
                      <a:lnTo>
                        <a:pt x="172" y="118"/>
                      </a:lnTo>
                      <a:lnTo>
                        <a:pt x="158" y="108"/>
                      </a:lnTo>
                      <a:lnTo>
                        <a:pt x="139" y="103"/>
                      </a:lnTo>
                      <a:lnTo>
                        <a:pt x="127" y="113"/>
                      </a:lnTo>
                      <a:lnTo>
                        <a:pt x="102" y="142"/>
                      </a:lnTo>
                      <a:lnTo>
                        <a:pt x="84" y="157"/>
                      </a:lnTo>
                      <a:lnTo>
                        <a:pt x="45" y="178"/>
                      </a:lnTo>
                      <a:lnTo>
                        <a:pt x="30" y="185"/>
                      </a:lnTo>
                      <a:lnTo>
                        <a:pt x="2" y="220"/>
                      </a:lnTo>
                      <a:lnTo>
                        <a:pt x="0" y="224"/>
                      </a:lnTo>
                      <a:lnTo>
                        <a:pt x="13" y="235"/>
                      </a:lnTo>
                      <a:lnTo>
                        <a:pt x="16" y="246"/>
                      </a:lnTo>
                      <a:lnTo>
                        <a:pt x="30" y="239"/>
                      </a:lnTo>
                      <a:lnTo>
                        <a:pt x="42" y="243"/>
                      </a:lnTo>
                      <a:lnTo>
                        <a:pt x="57" y="245"/>
                      </a:lnTo>
                      <a:lnTo>
                        <a:pt x="63" y="248"/>
                      </a:lnTo>
                      <a:lnTo>
                        <a:pt x="59" y="258"/>
                      </a:lnTo>
                      <a:lnTo>
                        <a:pt x="56" y="278"/>
                      </a:lnTo>
                      <a:lnTo>
                        <a:pt x="50" y="301"/>
                      </a:lnTo>
                      <a:lnTo>
                        <a:pt x="52" y="307"/>
                      </a:lnTo>
                      <a:lnTo>
                        <a:pt x="59" y="307"/>
                      </a:lnTo>
                      <a:lnTo>
                        <a:pt x="45" y="315"/>
                      </a:lnTo>
                      <a:lnTo>
                        <a:pt x="43" y="320"/>
                      </a:lnTo>
                      <a:lnTo>
                        <a:pt x="37" y="323"/>
                      </a:lnTo>
                      <a:lnTo>
                        <a:pt x="32" y="339"/>
                      </a:lnTo>
                      <a:lnTo>
                        <a:pt x="24" y="352"/>
                      </a:lnTo>
                      <a:lnTo>
                        <a:pt x="40" y="353"/>
                      </a:lnTo>
                      <a:lnTo>
                        <a:pt x="50" y="350"/>
                      </a:lnTo>
                      <a:lnTo>
                        <a:pt x="48" y="355"/>
                      </a:lnTo>
                      <a:lnTo>
                        <a:pt x="45" y="361"/>
                      </a:lnTo>
                      <a:lnTo>
                        <a:pt x="40" y="361"/>
                      </a:lnTo>
                      <a:lnTo>
                        <a:pt x="41" y="368"/>
                      </a:lnTo>
                      <a:lnTo>
                        <a:pt x="47" y="366"/>
                      </a:lnTo>
                      <a:lnTo>
                        <a:pt x="51" y="376"/>
                      </a:lnTo>
                      <a:lnTo>
                        <a:pt x="53" y="377"/>
                      </a:lnTo>
                      <a:lnTo>
                        <a:pt x="61" y="377"/>
                      </a:lnTo>
                      <a:lnTo>
                        <a:pt x="64" y="372"/>
                      </a:lnTo>
                      <a:lnTo>
                        <a:pt x="71" y="370"/>
                      </a:lnTo>
                      <a:lnTo>
                        <a:pt x="74" y="360"/>
                      </a:lnTo>
                      <a:lnTo>
                        <a:pt x="72" y="355"/>
                      </a:lnTo>
                      <a:lnTo>
                        <a:pt x="78" y="356"/>
                      </a:lnTo>
                      <a:lnTo>
                        <a:pt x="84" y="365"/>
                      </a:lnTo>
                      <a:lnTo>
                        <a:pt x="91" y="368"/>
                      </a:lnTo>
                      <a:lnTo>
                        <a:pt x="99" y="374"/>
                      </a:lnTo>
                      <a:lnTo>
                        <a:pt x="102" y="369"/>
                      </a:lnTo>
                      <a:lnTo>
                        <a:pt x="113" y="365"/>
                      </a:lnTo>
                      <a:lnTo>
                        <a:pt x="121" y="374"/>
                      </a:lnTo>
                      <a:lnTo>
                        <a:pt x="134" y="363"/>
                      </a:lnTo>
                      <a:lnTo>
                        <a:pt x="156" y="340"/>
                      </a:lnTo>
                      <a:lnTo>
                        <a:pt x="174" y="339"/>
                      </a:lnTo>
                      <a:lnTo>
                        <a:pt x="191" y="340"/>
                      </a:lnTo>
                      <a:lnTo>
                        <a:pt x="206" y="334"/>
                      </a:lnTo>
                      <a:lnTo>
                        <a:pt x="223" y="318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49" name="Freeform 165"/>
                <p:cNvSpPr>
                  <a:spLocks/>
                </p:cNvSpPr>
                <p:nvPr/>
              </p:nvSpPr>
              <p:spPr bwMode="gray">
                <a:xfrm>
                  <a:off x="3884504" y="1295072"/>
                  <a:ext cx="210958" cy="144050"/>
                </a:xfrm>
                <a:custGeom>
                  <a:avLst/>
                  <a:gdLst>
                    <a:gd name="T0" fmla="*/ 19502 w 603"/>
                    <a:gd name="T1" fmla="*/ 30503 h 409"/>
                    <a:gd name="T2" fmla="*/ 12853 w 603"/>
                    <a:gd name="T3" fmla="*/ 29266 h 409"/>
                    <a:gd name="T4" fmla="*/ 8864 w 603"/>
                    <a:gd name="T5" fmla="*/ 28030 h 409"/>
                    <a:gd name="T6" fmla="*/ 13297 w 603"/>
                    <a:gd name="T7" fmla="*/ 25557 h 409"/>
                    <a:gd name="T8" fmla="*/ 12410 w 603"/>
                    <a:gd name="T9" fmla="*/ 22259 h 409"/>
                    <a:gd name="T10" fmla="*/ 11081 w 603"/>
                    <a:gd name="T11" fmla="*/ 21435 h 409"/>
                    <a:gd name="T12" fmla="*/ 9308 w 603"/>
                    <a:gd name="T13" fmla="*/ 18961 h 409"/>
                    <a:gd name="T14" fmla="*/ 5319 w 603"/>
                    <a:gd name="T15" fmla="*/ 18961 h 409"/>
                    <a:gd name="T16" fmla="*/ 4432 w 603"/>
                    <a:gd name="T17" fmla="*/ 18137 h 409"/>
                    <a:gd name="T18" fmla="*/ 8864 w 603"/>
                    <a:gd name="T19" fmla="*/ 16900 h 409"/>
                    <a:gd name="T20" fmla="*/ 12853 w 603"/>
                    <a:gd name="T21" fmla="*/ 14839 h 409"/>
                    <a:gd name="T22" fmla="*/ 10194 w 603"/>
                    <a:gd name="T23" fmla="*/ 13603 h 409"/>
                    <a:gd name="T24" fmla="*/ 11967 w 603"/>
                    <a:gd name="T25" fmla="*/ 11129 h 409"/>
                    <a:gd name="T26" fmla="*/ 10637 w 603"/>
                    <a:gd name="T27" fmla="*/ 11129 h 409"/>
                    <a:gd name="T28" fmla="*/ 6205 w 603"/>
                    <a:gd name="T29" fmla="*/ 11542 h 409"/>
                    <a:gd name="T30" fmla="*/ 0 w 603"/>
                    <a:gd name="T31" fmla="*/ 11954 h 409"/>
                    <a:gd name="T32" fmla="*/ 3989 w 603"/>
                    <a:gd name="T33" fmla="*/ 10717 h 409"/>
                    <a:gd name="T34" fmla="*/ 1773 w 603"/>
                    <a:gd name="T35" fmla="*/ 7832 h 409"/>
                    <a:gd name="T36" fmla="*/ 6205 w 603"/>
                    <a:gd name="T37" fmla="*/ 9068 h 409"/>
                    <a:gd name="T38" fmla="*/ 4875 w 603"/>
                    <a:gd name="T39" fmla="*/ 7007 h 409"/>
                    <a:gd name="T40" fmla="*/ 4875 w 603"/>
                    <a:gd name="T41" fmla="*/ 5771 h 409"/>
                    <a:gd name="T42" fmla="*/ 6648 w 603"/>
                    <a:gd name="T43" fmla="*/ 4534 h 409"/>
                    <a:gd name="T44" fmla="*/ 8864 w 603"/>
                    <a:gd name="T45" fmla="*/ 6595 h 409"/>
                    <a:gd name="T46" fmla="*/ 9751 w 603"/>
                    <a:gd name="T47" fmla="*/ 5359 h 409"/>
                    <a:gd name="T48" fmla="*/ 8864 w 603"/>
                    <a:gd name="T49" fmla="*/ 3298 h 409"/>
                    <a:gd name="T50" fmla="*/ 8421 w 603"/>
                    <a:gd name="T51" fmla="*/ 2061 h 409"/>
                    <a:gd name="T52" fmla="*/ 6648 w 603"/>
                    <a:gd name="T53" fmla="*/ 824 h 409"/>
                    <a:gd name="T54" fmla="*/ 9751 w 603"/>
                    <a:gd name="T55" fmla="*/ 1237 h 409"/>
                    <a:gd name="T56" fmla="*/ 13740 w 603"/>
                    <a:gd name="T57" fmla="*/ 4946 h 409"/>
                    <a:gd name="T58" fmla="*/ 15513 w 603"/>
                    <a:gd name="T59" fmla="*/ 8244 h 409"/>
                    <a:gd name="T60" fmla="*/ 13740 w 603"/>
                    <a:gd name="T61" fmla="*/ 9481 h 409"/>
                    <a:gd name="T62" fmla="*/ 15069 w 603"/>
                    <a:gd name="T63" fmla="*/ 11954 h 409"/>
                    <a:gd name="T64" fmla="*/ 16842 w 603"/>
                    <a:gd name="T65" fmla="*/ 12366 h 409"/>
                    <a:gd name="T66" fmla="*/ 19058 w 603"/>
                    <a:gd name="T67" fmla="*/ 10305 h 409"/>
                    <a:gd name="T68" fmla="*/ 20388 w 603"/>
                    <a:gd name="T69" fmla="*/ 5771 h 409"/>
                    <a:gd name="T70" fmla="*/ 23491 w 603"/>
                    <a:gd name="T71" fmla="*/ 7832 h 409"/>
                    <a:gd name="T72" fmla="*/ 24820 w 603"/>
                    <a:gd name="T73" fmla="*/ 6183 h 409"/>
                    <a:gd name="T74" fmla="*/ 27923 w 603"/>
                    <a:gd name="T75" fmla="*/ 3710 h 409"/>
                    <a:gd name="T76" fmla="*/ 29253 w 603"/>
                    <a:gd name="T77" fmla="*/ 6183 h 409"/>
                    <a:gd name="T78" fmla="*/ 31469 w 603"/>
                    <a:gd name="T79" fmla="*/ 8656 h 409"/>
                    <a:gd name="T80" fmla="*/ 30582 w 603"/>
                    <a:gd name="T81" fmla="*/ 3710 h 409"/>
                    <a:gd name="T82" fmla="*/ 34571 w 603"/>
                    <a:gd name="T83" fmla="*/ 5359 h 409"/>
                    <a:gd name="T84" fmla="*/ 37231 w 603"/>
                    <a:gd name="T85" fmla="*/ 4534 h 409"/>
                    <a:gd name="T86" fmla="*/ 38560 w 603"/>
                    <a:gd name="T87" fmla="*/ 412 h 409"/>
                    <a:gd name="T88" fmla="*/ 42549 w 603"/>
                    <a:gd name="T89" fmla="*/ 1649 h 409"/>
                    <a:gd name="T90" fmla="*/ 44322 w 603"/>
                    <a:gd name="T91" fmla="*/ 3710 h 409"/>
                    <a:gd name="T92" fmla="*/ 47868 w 603"/>
                    <a:gd name="T93" fmla="*/ 1649 h 409"/>
                    <a:gd name="T94" fmla="*/ 46095 w 603"/>
                    <a:gd name="T95" fmla="*/ 5771 h 409"/>
                    <a:gd name="T96" fmla="*/ 49197 w 603"/>
                    <a:gd name="T97" fmla="*/ 8656 h 409"/>
                    <a:gd name="T98" fmla="*/ 51414 w 603"/>
                    <a:gd name="T99" fmla="*/ 9893 h 409"/>
                    <a:gd name="T100" fmla="*/ 52743 w 603"/>
                    <a:gd name="T101" fmla="*/ 14839 h 409"/>
                    <a:gd name="T102" fmla="*/ 52300 w 603"/>
                    <a:gd name="T103" fmla="*/ 18137 h 409"/>
                    <a:gd name="T104" fmla="*/ 48311 w 603"/>
                    <a:gd name="T105" fmla="*/ 20198 h 409"/>
                    <a:gd name="T106" fmla="*/ 48754 w 603"/>
                    <a:gd name="T107" fmla="*/ 22259 h 409"/>
                    <a:gd name="T108" fmla="*/ 45652 w 603"/>
                    <a:gd name="T109" fmla="*/ 23496 h 409"/>
                    <a:gd name="T110" fmla="*/ 42549 w 603"/>
                    <a:gd name="T111" fmla="*/ 25557 h 409"/>
                    <a:gd name="T112" fmla="*/ 36344 w 603"/>
                    <a:gd name="T113" fmla="*/ 28854 h 409"/>
                    <a:gd name="T114" fmla="*/ 34128 w 603"/>
                    <a:gd name="T115" fmla="*/ 30091 h 409"/>
                    <a:gd name="T116" fmla="*/ 26593 w 603"/>
                    <a:gd name="T117" fmla="*/ 33801 h 409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603"/>
                    <a:gd name="T178" fmla="*/ 0 h 409"/>
                    <a:gd name="T179" fmla="*/ 603 w 603"/>
                    <a:gd name="T180" fmla="*/ 409 h 409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603" h="409">
                      <a:moveTo>
                        <a:pt x="251" y="389"/>
                      </a:moveTo>
                      <a:lnTo>
                        <a:pt x="248" y="390"/>
                      </a:lnTo>
                      <a:lnTo>
                        <a:pt x="240" y="384"/>
                      </a:lnTo>
                      <a:lnTo>
                        <a:pt x="231" y="382"/>
                      </a:lnTo>
                      <a:lnTo>
                        <a:pt x="221" y="370"/>
                      </a:lnTo>
                      <a:lnTo>
                        <a:pt x="202" y="356"/>
                      </a:lnTo>
                      <a:lnTo>
                        <a:pt x="182" y="348"/>
                      </a:lnTo>
                      <a:lnTo>
                        <a:pt x="170" y="353"/>
                      </a:lnTo>
                      <a:lnTo>
                        <a:pt x="151" y="348"/>
                      </a:lnTo>
                      <a:lnTo>
                        <a:pt x="145" y="352"/>
                      </a:lnTo>
                      <a:lnTo>
                        <a:pt x="135" y="352"/>
                      </a:lnTo>
                      <a:lnTo>
                        <a:pt x="118" y="351"/>
                      </a:lnTo>
                      <a:lnTo>
                        <a:pt x="111" y="357"/>
                      </a:lnTo>
                      <a:lnTo>
                        <a:pt x="102" y="355"/>
                      </a:lnTo>
                      <a:lnTo>
                        <a:pt x="103" y="337"/>
                      </a:lnTo>
                      <a:lnTo>
                        <a:pt x="100" y="324"/>
                      </a:lnTo>
                      <a:lnTo>
                        <a:pt x="113" y="334"/>
                      </a:lnTo>
                      <a:lnTo>
                        <a:pt x="119" y="325"/>
                      </a:lnTo>
                      <a:lnTo>
                        <a:pt x="135" y="319"/>
                      </a:lnTo>
                      <a:lnTo>
                        <a:pt x="150" y="308"/>
                      </a:lnTo>
                      <a:lnTo>
                        <a:pt x="150" y="288"/>
                      </a:lnTo>
                      <a:lnTo>
                        <a:pt x="131" y="293"/>
                      </a:lnTo>
                      <a:lnTo>
                        <a:pt x="141" y="283"/>
                      </a:lnTo>
                      <a:lnTo>
                        <a:pt x="143" y="278"/>
                      </a:lnTo>
                      <a:lnTo>
                        <a:pt x="141" y="270"/>
                      </a:lnTo>
                      <a:lnTo>
                        <a:pt x="150" y="259"/>
                      </a:lnTo>
                      <a:lnTo>
                        <a:pt x="140" y="260"/>
                      </a:lnTo>
                      <a:lnTo>
                        <a:pt x="134" y="271"/>
                      </a:lnTo>
                      <a:lnTo>
                        <a:pt x="128" y="266"/>
                      </a:lnTo>
                      <a:lnTo>
                        <a:pt x="127" y="259"/>
                      </a:lnTo>
                      <a:lnTo>
                        <a:pt x="122" y="260"/>
                      </a:lnTo>
                      <a:lnTo>
                        <a:pt x="120" y="255"/>
                      </a:lnTo>
                      <a:lnTo>
                        <a:pt x="119" y="245"/>
                      </a:lnTo>
                      <a:lnTo>
                        <a:pt x="116" y="228"/>
                      </a:lnTo>
                      <a:lnTo>
                        <a:pt x="108" y="227"/>
                      </a:lnTo>
                      <a:lnTo>
                        <a:pt x="95" y="232"/>
                      </a:lnTo>
                      <a:lnTo>
                        <a:pt x="90" y="227"/>
                      </a:lnTo>
                      <a:lnTo>
                        <a:pt x="81" y="226"/>
                      </a:lnTo>
                      <a:lnTo>
                        <a:pt x="69" y="226"/>
                      </a:lnTo>
                      <a:lnTo>
                        <a:pt x="59" y="228"/>
                      </a:lnTo>
                      <a:lnTo>
                        <a:pt x="49" y="235"/>
                      </a:lnTo>
                      <a:lnTo>
                        <a:pt x="37" y="238"/>
                      </a:lnTo>
                      <a:lnTo>
                        <a:pt x="32" y="232"/>
                      </a:lnTo>
                      <a:lnTo>
                        <a:pt x="33" y="219"/>
                      </a:lnTo>
                      <a:lnTo>
                        <a:pt x="48" y="218"/>
                      </a:lnTo>
                      <a:lnTo>
                        <a:pt x="66" y="213"/>
                      </a:lnTo>
                      <a:lnTo>
                        <a:pt x="73" y="207"/>
                      </a:lnTo>
                      <a:lnTo>
                        <a:pt x="85" y="207"/>
                      </a:lnTo>
                      <a:lnTo>
                        <a:pt x="96" y="197"/>
                      </a:lnTo>
                      <a:lnTo>
                        <a:pt x="102" y="205"/>
                      </a:lnTo>
                      <a:lnTo>
                        <a:pt x="111" y="196"/>
                      </a:lnTo>
                      <a:lnTo>
                        <a:pt x="122" y="200"/>
                      </a:lnTo>
                      <a:lnTo>
                        <a:pt x="144" y="201"/>
                      </a:lnTo>
                      <a:lnTo>
                        <a:pt x="152" y="178"/>
                      </a:lnTo>
                      <a:lnTo>
                        <a:pt x="146" y="180"/>
                      </a:lnTo>
                      <a:lnTo>
                        <a:pt x="140" y="191"/>
                      </a:lnTo>
                      <a:lnTo>
                        <a:pt x="133" y="187"/>
                      </a:lnTo>
                      <a:lnTo>
                        <a:pt x="111" y="184"/>
                      </a:lnTo>
                      <a:lnTo>
                        <a:pt x="111" y="176"/>
                      </a:lnTo>
                      <a:lnTo>
                        <a:pt x="118" y="167"/>
                      </a:lnTo>
                      <a:lnTo>
                        <a:pt x="125" y="165"/>
                      </a:lnTo>
                      <a:lnTo>
                        <a:pt x="130" y="159"/>
                      </a:lnTo>
                      <a:lnTo>
                        <a:pt x="147" y="147"/>
                      </a:lnTo>
                      <a:lnTo>
                        <a:pt x="147" y="144"/>
                      </a:lnTo>
                      <a:lnTo>
                        <a:pt x="138" y="137"/>
                      </a:lnTo>
                      <a:lnTo>
                        <a:pt x="131" y="143"/>
                      </a:lnTo>
                      <a:lnTo>
                        <a:pt x="124" y="143"/>
                      </a:lnTo>
                      <a:lnTo>
                        <a:pt x="124" y="137"/>
                      </a:lnTo>
                      <a:lnTo>
                        <a:pt x="119" y="133"/>
                      </a:lnTo>
                      <a:lnTo>
                        <a:pt x="119" y="136"/>
                      </a:lnTo>
                      <a:lnTo>
                        <a:pt x="116" y="127"/>
                      </a:lnTo>
                      <a:lnTo>
                        <a:pt x="112" y="126"/>
                      </a:lnTo>
                      <a:lnTo>
                        <a:pt x="90" y="124"/>
                      </a:lnTo>
                      <a:lnTo>
                        <a:pt x="82" y="127"/>
                      </a:lnTo>
                      <a:lnTo>
                        <a:pt x="71" y="138"/>
                      </a:lnTo>
                      <a:lnTo>
                        <a:pt x="64" y="138"/>
                      </a:lnTo>
                      <a:lnTo>
                        <a:pt x="48" y="147"/>
                      </a:lnTo>
                      <a:lnTo>
                        <a:pt x="42" y="147"/>
                      </a:lnTo>
                      <a:lnTo>
                        <a:pt x="25" y="137"/>
                      </a:lnTo>
                      <a:lnTo>
                        <a:pt x="0" y="144"/>
                      </a:lnTo>
                      <a:lnTo>
                        <a:pt x="4" y="132"/>
                      </a:lnTo>
                      <a:lnTo>
                        <a:pt x="9" y="122"/>
                      </a:lnTo>
                      <a:lnTo>
                        <a:pt x="15" y="127"/>
                      </a:lnTo>
                      <a:lnTo>
                        <a:pt x="34" y="136"/>
                      </a:lnTo>
                      <a:lnTo>
                        <a:pt x="43" y="130"/>
                      </a:lnTo>
                      <a:lnTo>
                        <a:pt x="31" y="125"/>
                      </a:lnTo>
                      <a:lnTo>
                        <a:pt x="34" y="124"/>
                      </a:lnTo>
                      <a:lnTo>
                        <a:pt x="36" y="116"/>
                      </a:lnTo>
                      <a:lnTo>
                        <a:pt x="26" y="110"/>
                      </a:lnTo>
                      <a:lnTo>
                        <a:pt x="21" y="97"/>
                      </a:lnTo>
                      <a:lnTo>
                        <a:pt x="44" y="108"/>
                      </a:lnTo>
                      <a:lnTo>
                        <a:pt x="53" y="120"/>
                      </a:lnTo>
                      <a:lnTo>
                        <a:pt x="70" y="116"/>
                      </a:lnTo>
                      <a:lnTo>
                        <a:pt x="63" y="111"/>
                      </a:lnTo>
                      <a:lnTo>
                        <a:pt x="68" y="108"/>
                      </a:lnTo>
                      <a:lnTo>
                        <a:pt x="69" y="100"/>
                      </a:lnTo>
                      <a:lnTo>
                        <a:pt x="50" y="103"/>
                      </a:lnTo>
                      <a:lnTo>
                        <a:pt x="41" y="92"/>
                      </a:lnTo>
                      <a:lnTo>
                        <a:pt x="42" y="88"/>
                      </a:lnTo>
                      <a:lnTo>
                        <a:pt x="53" y="86"/>
                      </a:lnTo>
                      <a:lnTo>
                        <a:pt x="44" y="78"/>
                      </a:lnTo>
                      <a:lnTo>
                        <a:pt x="37" y="65"/>
                      </a:lnTo>
                      <a:lnTo>
                        <a:pt x="38" y="67"/>
                      </a:lnTo>
                      <a:lnTo>
                        <a:pt x="52" y="73"/>
                      </a:lnTo>
                      <a:lnTo>
                        <a:pt x="54" y="71"/>
                      </a:lnTo>
                      <a:lnTo>
                        <a:pt x="47" y="59"/>
                      </a:lnTo>
                      <a:lnTo>
                        <a:pt x="58" y="63"/>
                      </a:lnTo>
                      <a:lnTo>
                        <a:pt x="50" y="51"/>
                      </a:lnTo>
                      <a:lnTo>
                        <a:pt x="58" y="47"/>
                      </a:lnTo>
                      <a:lnTo>
                        <a:pt x="77" y="57"/>
                      </a:lnTo>
                      <a:lnTo>
                        <a:pt x="77" y="73"/>
                      </a:lnTo>
                      <a:lnTo>
                        <a:pt x="80" y="74"/>
                      </a:lnTo>
                      <a:lnTo>
                        <a:pt x="87" y="77"/>
                      </a:lnTo>
                      <a:lnTo>
                        <a:pt x="93" y="70"/>
                      </a:lnTo>
                      <a:lnTo>
                        <a:pt x="102" y="79"/>
                      </a:lnTo>
                      <a:lnTo>
                        <a:pt x="104" y="93"/>
                      </a:lnTo>
                      <a:lnTo>
                        <a:pt x="108" y="81"/>
                      </a:lnTo>
                      <a:lnTo>
                        <a:pt x="113" y="93"/>
                      </a:lnTo>
                      <a:lnTo>
                        <a:pt x="119" y="79"/>
                      </a:lnTo>
                      <a:lnTo>
                        <a:pt x="112" y="66"/>
                      </a:lnTo>
                      <a:lnTo>
                        <a:pt x="113" y="60"/>
                      </a:lnTo>
                      <a:lnTo>
                        <a:pt x="97" y="51"/>
                      </a:lnTo>
                      <a:lnTo>
                        <a:pt x="89" y="44"/>
                      </a:lnTo>
                      <a:lnTo>
                        <a:pt x="95" y="33"/>
                      </a:lnTo>
                      <a:lnTo>
                        <a:pt x="103" y="40"/>
                      </a:lnTo>
                      <a:lnTo>
                        <a:pt x="108" y="40"/>
                      </a:lnTo>
                      <a:lnTo>
                        <a:pt x="112" y="38"/>
                      </a:lnTo>
                      <a:lnTo>
                        <a:pt x="103" y="29"/>
                      </a:lnTo>
                      <a:lnTo>
                        <a:pt x="101" y="24"/>
                      </a:lnTo>
                      <a:lnTo>
                        <a:pt x="95" y="24"/>
                      </a:lnTo>
                      <a:lnTo>
                        <a:pt x="85" y="30"/>
                      </a:lnTo>
                      <a:lnTo>
                        <a:pt x="76" y="27"/>
                      </a:lnTo>
                      <a:lnTo>
                        <a:pt x="76" y="25"/>
                      </a:lnTo>
                      <a:lnTo>
                        <a:pt x="80" y="18"/>
                      </a:lnTo>
                      <a:lnTo>
                        <a:pt x="77" y="9"/>
                      </a:lnTo>
                      <a:lnTo>
                        <a:pt x="87" y="11"/>
                      </a:lnTo>
                      <a:lnTo>
                        <a:pt x="87" y="6"/>
                      </a:lnTo>
                      <a:lnTo>
                        <a:pt x="97" y="16"/>
                      </a:lnTo>
                      <a:lnTo>
                        <a:pt x="103" y="13"/>
                      </a:lnTo>
                      <a:lnTo>
                        <a:pt x="109" y="17"/>
                      </a:lnTo>
                      <a:lnTo>
                        <a:pt x="114" y="14"/>
                      </a:lnTo>
                      <a:lnTo>
                        <a:pt x="124" y="33"/>
                      </a:lnTo>
                      <a:lnTo>
                        <a:pt x="139" y="36"/>
                      </a:lnTo>
                      <a:lnTo>
                        <a:pt x="145" y="47"/>
                      </a:lnTo>
                      <a:lnTo>
                        <a:pt x="155" y="60"/>
                      </a:lnTo>
                      <a:lnTo>
                        <a:pt x="166" y="63"/>
                      </a:lnTo>
                      <a:lnTo>
                        <a:pt x="173" y="71"/>
                      </a:lnTo>
                      <a:lnTo>
                        <a:pt x="163" y="78"/>
                      </a:lnTo>
                      <a:lnTo>
                        <a:pt x="174" y="86"/>
                      </a:lnTo>
                      <a:lnTo>
                        <a:pt x="176" y="100"/>
                      </a:lnTo>
                      <a:lnTo>
                        <a:pt x="171" y="104"/>
                      </a:lnTo>
                      <a:lnTo>
                        <a:pt x="170" y="109"/>
                      </a:lnTo>
                      <a:lnTo>
                        <a:pt x="166" y="114"/>
                      </a:lnTo>
                      <a:lnTo>
                        <a:pt x="152" y="106"/>
                      </a:lnTo>
                      <a:lnTo>
                        <a:pt x="156" y="117"/>
                      </a:lnTo>
                      <a:lnTo>
                        <a:pt x="170" y="124"/>
                      </a:lnTo>
                      <a:lnTo>
                        <a:pt x="168" y="133"/>
                      </a:lnTo>
                      <a:lnTo>
                        <a:pt x="174" y="126"/>
                      </a:lnTo>
                      <a:lnTo>
                        <a:pt x="177" y="140"/>
                      </a:lnTo>
                      <a:lnTo>
                        <a:pt x="172" y="146"/>
                      </a:lnTo>
                      <a:lnTo>
                        <a:pt x="181" y="149"/>
                      </a:lnTo>
                      <a:lnTo>
                        <a:pt x="182" y="157"/>
                      </a:lnTo>
                      <a:lnTo>
                        <a:pt x="182" y="175"/>
                      </a:lnTo>
                      <a:lnTo>
                        <a:pt x="189" y="162"/>
                      </a:lnTo>
                      <a:lnTo>
                        <a:pt x="189" y="152"/>
                      </a:lnTo>
                      <a:lnTo>
                        <a:pt x="202" y="151"/>
                      </a:lnTo>
                      <a:lnTo>
                        <a:pt x="202" y="127"/>
                      </a:lnTo>
                      <a:lnTo>
                        <a:pt x="206" y="116"/>
                      </a:lnTo>
                      <a:lnTo>
                        <a:pt x="215" y="117"/>
                      </a:lnTo>
                      <a:lnTo>
                        <a:pt x="217" y="127"/>
                      </a:lnTo>
                      <a:lnTo>
                        <a:pt x="222" y="137"/>
                      </a:lnTo>
                      <a:lnTo>
                        <a:pt x="229" y="127"/>
                      </a:lnTo>
                      <a:lnTo>
                        <a:pt x="232" y="113"/>
                      </a:lnTo>
                      <a:lnTo>
                        <a:pt x="233" y="97"/>
                      </a:lnTo>
                      <a:lnTo>
                        <a:pt x="229" y="72"/>
                      </a:lnTo>
                      <a:lnTo>
                        <a:pt x="227" y="59"/>
                      </a:lnTo>
                      <a:lnTo>
                        <a:pt x="233" y="56"/>
                      </a:lnTo>
                      <a:lnTo>
                        <a:pt x="240" y="59"/>
                      </a:lnTo>
                      <a:lnTo>
                        <a:pt x="256" y="76"/>
                      </a:lnTo>
                      <a:lnTo>
                        <a:pt x="265" y="95"/>
                      </a:lnTo>
                      <a:lnTo>
                        <a:pt x="269" y="106"/>
                      </a:lnTo>
                      <a:lnTo>
                        <a:pt x="275" y="106"/>
                      </a:lnTo>
                      <a:lnTo>
                        <a:pt x="281" y="104"/>
                      </a:lnTo>
                      <a:lnTo>
                        <a:pt x="284" y="88"/>
                      </a:lnTo>
                      <a:lnTo>
                        <a:pt x="283" y="76"/>
                      </a:lnTo>
                      <a:lnTo>
                        <a:pt x="280" y="66"/>
                      </a:lnTo>
                      <a:lnTo>
                        <a:pt x="292" y="61"/>
                      </a:lnTo>
                      <a:lnTo>
                        <a:pt x="299" y="65"/>
                      </a:lnTo>
                      <a:lnTo>
                        <a:pt x="305" y="54"/>
                      </a:lnTo>
                      <a:lnTo>
                        <a:pt x="318" y="45"/>
                      </a:lnTo>
                      <a:lnTo>
                        <a:pt x="318" y="55"/>
                      </a:lnTo>
                      <a:lnTo>
                        <a:pt x="321" y="55"/>
                      </a:lnTo>
                      <a:lnTo>
                        <a:pt x="323" y="61"/>
                      </a:lnTo>
                      <a:lnTo>
                        <a:pt x="331" y="63"/>
                      </a:lnTo>
                      <a:lnTo>
                        <a:pt x="333" y="77"/>
                      </a:lnTo>
                      <a:lnTo>
                        <a:pt x="340" y="84"/>
                      </a:lnTo>
                      <a:lnTo>
                        <a:pt x="346" y="95"/>
                      </a:lnTo>
                      <a:lnTo>
                        <a:pt x="349" y="111"/>
                      </a:lnTo>
                      <a:lnTo>
                        <a:pt x="353" y="117"/>
                      </a:lnTo>
                      <a:lnTo>
                        <a:pt x="355" y="103"/>
                      </a:lnTo>
                      <a:lnTo>
                        <a:pt x="355" y="89"/>
                      </a:lnTo>
                      <a:lnTo>
                        <a:pt x="353" y="81"/>
                      </a:lnTo>
                      <a:lnTo>
                        <a:pt x="344" y="60"/>
                      </a:lnTo>
                      <a:lnTo>
                        <a:pt x="344" y="50"/>
                      </a:lnTo>
                      <a:lnTo>
                        <a:pt x="349" y="47"/>
                      </a:lnTo>
                      <a:lnTo>
                        <a:pt x="360" y="50"/>
                      </a:lnTo>
                      <a:lnTo>
                        <a:pt x="370" y="59"/>
                      </a:lnTo>
                      <a:lnTo>
                        <a:pt x="377" y="72"/>
                      </a:lnTo>
                      <a:lnTo>
                        <a:pt x="387" y="70"/>
                      </a:lnTo>
                      <a:lnTo>
                        <a:pt x="392" y="65"/>
                      </a:lnTo>
                      <a:lnTo>
                        <a:pt x="397" y="55"/>
                      </a:lnTo>
                      <a:lnTo>
                        <a:pt x="397" y="49"/>
                      </a:lnTo>
                      <a:lnTo>
                        <a:pt x="410" y="46"/>
                      </a:lnTo>
                      <a:lnTo>
                        <a:pt x="412" y="56"/>
                      </a:lnTo>
                      <a:lnTo>
                        <a:pt x="424" y="57"/>
                      </a:lnTo>
                      <a:lnTo>
                        <a:pt x="432" y="51"/>
                      </a:lnTo>
                      <a:lnTo>
                        <a:pt x="444" y="50"/>
                      </a:lnTo>
                      <a:lnTo>
                        <a:pt x="444" y="28"/>
                      </a:lnTo>
                      <a:lnTo>
                        <a:pt x="441" y="16"/>
                      </a:lnTo>
                      <a:lnTo>
                        <a:pt x="437" y="7"/>
                      </a:lnTo>
                      <a:lnTo>
                        <a:pt x="448" y="8"/>
                      </a:lnTo>
                      <a:lnTo>
                        <a:pt x="456" y="0"/>
                      </a:lnTo>
                      <a:lnTo>
                        <a:pt x="464" y="1"/>
                      </a:lnTo>
                      <a:lnTo>
                        <a:pt x="468" y="13"/>
                      </a:lnTo>
                      <a:lnTo>
                        <a:pt x="480" y="19"/>
                      </a:lnTo>
                      <a:lnTo>
                        <a:pt x="482" y="31"/>
                      </a:lnTo>
                      <a:lnTo>
                        <a:pt x="479" y="36"/>
                      </a:lnTo>
                      <a:lnTo>
                        <a:pt x="495" y="49"/>
                      </a:lnTo>
                      <a:lnTo>
                        <a:pt x="501" y="49"/>
                      </a:lnTo>
                      <a:lnTo>
                        <a:pt x="504" y="44"/>
                      </a:lnTo>
                      <a:lnTo>
                        <a:pt x="502" y="36"/>
                      </a:lnTo>
                      <a:lnTo>
                        <a:pt x="518" y="36"/>
                      </a:lnTo>
                      <a:lnTo>
                        <a:pt x="523" y="23"/>
                      </a:lnTo>
                      <a:lnTo>
                        <a:pt x="530" y="20"/>
                      </a:lnTo>
                      <a:lnTo>
                        <a:pt x="543" y="19"/>
                      </a:lnTo>
                      <a:lnTo>
                        <a:pt x="547" y="23"/>
                      </a:lnTo>
                      <a:lnTo>
                        <a:pt x="532" y="30"/>
                      </a:lnTo>
                      <a:lnTo>
                        <a:pt x="515" y="59"/>
                      </a:lnTo>
                      <a:lnTo>
                        <a:pt x="518" y="67"/>
                      </a:lnTo>
                      <a:lnTo>
                        <a:pt x="523" y="72"/>
                      </a:lnTo>
                      <a:lnTo>
                        <a:pt x="538" y="63"/>
                      </a:lnTo>
                      <a:lnTo>
                        <a:pt x="542" y="82"/>
                      </a:lnTo>
                      <a:lnTo>
                        <a:pt x="536" y="99"/>
                      </a:lnTo>
                      <a:lnTo>
                        <a:pt x="536" y="109"/>
                      </a:lnTo>
                      <a:lnTo>
                        <a:pt x="560" y="106"/>
                      </a:lnTo>
                      <a:lnTo>
                        <a:pt x="559" y="115"/>
                      </a:lnTo>
                      <a:lnTo>
                        <a:pt x="560" y="124"/>
                      </a:lnTo>
                      <a:lnTo>
                        <a:pt x="576" y="129"/>
                      </a:lnTo>
                      <a:lnTo>
                        <a:pt x="577" y="115"/>
                      </a:lnTo>
                      <a:lnTo>
                        <a:pt x="582" y="120"/>
                      </a:lnTo>
                      <a:lnTo>
                        <a:pt x="593" y="147"/>
                      </a:lnTo>
                      <a:lnTo>
                        <a:pt x="592" y="159"/>
                      </a:lnTo>
                      <a:lnTo>
                        <a:pt x="586" y="165"/>
                      </a:lnTo>
                      <a:lnTo>
                        <a:pt x="592" y="180"/>
                      </a:lnTo>
                      <a:lnTo>
                        <a:pt x="600" y="179"/>
                      </a:lnTo>
                      <a:lnTo>
                        <a:pt x="603" y="174"/>
                      </a:lnTo>
                      <a:lnTo>
                        <a:pt x="603" y="189"/>
                      </a:lnTo>
                      <a:lnTo>
                        <a:pt x="600" y="202"/>
                      </a:lnTo>
                      <a:lnTo>
                        <a:pt x="591" y="206"/>
                      </a:lnTo>
                      <a:lnTo>
                        <a:pt x="591" y="217"/>
                      </a:lnTo>
                      <a:lnTo>
                        <a:pt x="587" y="219"/>
                      </a:lnTo>
                      <a:lnTo>
                        <a:pt x="580" y="229"/>
                      </a:lnTo>
                      <a:lnTo>
                        <a:pt x="560" y="234"/>
                      </a:lnTo>
                      <a:lnTo>
                        <a:pt x="560" y="244"/>
                      </a:lnTo>
                      <a:lnTo>
                        <a:pt x="550" y="243"/>
                      </a:lnTo>
                      <a:lnTo>
                        <a:pt x="553" y="246"/>
                      </a:lnTo>
                      <a:lnTo>
                        <a:pt x="548" y="253"/>
                      </a:lnTo>
                      <a:lnTo>
                        <a:pt x="555" y="254"/>
                      </a:lnTo>
                      <a:lnTo>
                        <a:pt x="565" y="246"/>
                      </a:lnTo>
                      <a:lnTo>
                        <a:pt x="555" y="270"/>
                      </a:lnTo>
                      <a:lnTo>
                        <a:pt x="545" y="282"/>
                      </a:lnTo>
                      <a:lnTo>
                        <a:pt x="532" y="287"/>
                      </a:lnTo>
                      <a:lnTo>
                        <a:pt x="528" y="299"/>
                      </a:lnTo>
                      <a:lnTo>
                        <a:pt x="516" y="292"/>
                      </a:lnTo>
                      <a:lnTo>
                        <a:pt x="516" y="285"/>
                      </a:lnTo>
                      <a:lnTo>
                        <a:pt x="510" y="278"/>
                      </a:lnTo>
                      <a:lnTo>
                        <a:pt x="504" y="277"/>
                      </a:lnTo>
                      <a:lnTo>
                        <a:pt x="501" y="291"/>
                      </a:lnTo>
                      <a:lnTo>
                        <a:pt x="488" y="300"/>
                      </a:lnTo>
                      <a:lnTo>
                        <a:pt x="483" y="309"/>
                      </a:lnTo>
                      <a:lnTo>
                        <a:pt x="467" y="325"/>
                      </a:lnTo>
                      <a:lnTo>
                        <a:pt x="450" y="337"/>
                      </a:lnTo>
                      <a:lnTo>
                        <a:pt x="437" y="345"/>
                      </a:lnTo>
                      <a:lnTo>
                        <a:pt x="423" y="343"/>
                      </a:lnTo>
                      <a:lnTo>
                        <a:pt x="413" y="347"/>
                      </a:lnTo>
                      <a:lnTo>
                        <a:pt x="410" y="341"/>
                      </a:lnTo>
                      <a:lnTo>
                        <a:pt x="404" y="346"/>
                      </a:lnTo>
                      <a:lnTo>
                        <a:pt x="401" y="351"/>
                      </a:lnTo>
                      <a:lnTo>
                        <a:pt x="401" y="359"/>
                      </a:lnTo>
                      <a:lnTo>
                        <a:pt x="385" y="364"/>
                      </a:lnTo>
                      <a:lnTo>
                        <a:pt x="356" y="394"/>
                      </a:lnTo>
                      <a:lnTo>
                        <a:pt x="332" y="402"/>
                      </a:lnTo>
                      <a:lnTo>
                        <a:pt x="324" y="409"/>
                      </a:lnTo>
                      <a:lnTo>
                        <a:pt x="310" y="404"/>
                      </a:lnTo>
                      <a:lnTo>
                        <a:pt x="302" y="407"/>
                      </a:lnTo>
                      <a:lnTo>
                        <a:pt x="291" y="399"/>
                      </a:lnTo>
                      <a:lnTo>
                        <a:pt x="279" y="396"/>
                      </a:lnTo>
                      <a:lnTo>
                        <a:pt x="260" y="388"/>
                      </a:lnTo>
                      <a:lnTo>
                        <a:pt x="251" y="389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grpSp>
              <p:nvGrpSpPr>
                <p:cNvPr id="450" name="Group 166"/>
                <p:cNvGrpSpPr>
                  <a:grpSpLocks/>
                </p:cNvGrpSpPr>
                <p:nvPr/>
              </p:nvGrpSpPr>
              <p:grpSpPr bwMode="auto">
                <a:xfrm>
                  <a:off x="4734612" y="339725"/>
                  <a:ext cx="3299981" cy="1816925"/>
                  <a:chOff x="2730" y="960"/>
                  <a:chExt cx="1873" cy="1032"/>
                </a:xfrm>
                <a:solidFill>
                  <a:srgbClr val="D9D9D9"/>
                </a:solidFill>
              </p:grpSpPr>
              <p:grpSp>
                <p:nvGrpSpPr>
                  <p:cNvPr id="498" name="Group 167"/>
                  <p:cNvGrpSpPr>
                    <a:grpSpLocks/>
                  </p:cNvGrpSpPr>
                  <p:nvPr/>
                </p:nvGrpSpPr>
                <p:grpSpPr bwMode="auto">
                  <a:xfrm>
                    <a:off x="3044" y="960"/>
                    <a:ext cx="1473" cy="481"/>
                    <a:chOff x="3044" y="960"/>
                    <a:chExt cx="1473" cy="481"/>
                  </a:xfrm>
                  <a:grpFill/>
                </p:grpSpPr>
                <p:sp>
                  <p:nvSpPr>
                    <p:cNvPr id="502" name="Freeform 168"/>
                    <p:cNvSpPr>
                      <a:spLocks/>
                    </p:cNvSpPr>
                    <p:nvPr/>
                  </p:nvSpPr>
                  <p:spPr bwMode="gray">
                    <a:xfrm>
                      <a:off x="3044" y="1416"/>
                      <a:ext cx="23" cy="25"/>
                    </a:xfrm>
                    <a:custGeom>
                      <a:avLst/>
                      <a:gdLst>
                        <a:gd name="T0" fmla="*/ 1 w 116"/>
                        <a:gd name="T1" fmla="*/ 0 h 126"/>
                        <a:gd name="T2" fmla="*/ 1 w 116"/>
                        <a:gd name="T3" fmla="*/ 0 h 126"/>
                        <a:gd name="T4" fmla="*/ 1 w 116"/>
                        <a:gd name="T5" fmla="*/ 0 h 126"/>
                        <a:gd name="T6" fmla="*/ 2 w 116"/>
                        <a:gd name="T7" fmla="*/ 0 h 126"/>
                        <a:gd name="T8" fmla="*/ 2 w 116"/>
                        <a:gd name="T9" fmla="*/ 0 h 126"/>
                        <a:gd name="T10" fmla="*/ 2 w 116"/>
                        <a:gd name="T11" fmla="*/ 0 h 126"/>
                        <a:gd name="T12" fmla="*/ 4 w 116"/>
                        <a:gd name="T13" fmla="*/ 1 h 126"/>
                        <a:gd name="T14" fmla="*/ 4 w 116"/>
                        <a:gd name="T15" fmla="*/ 2 h 126"/>
                        <a:gd name="T16" fmla="*/ 4 w 116"/>
                        <a:gd name="T17" fmla="*/ 2 h 126"/>
                        <a:gd name="T18" fmla="*/ 4 w 116"/>
                        <a:gd name="T19" fmla="*/ 1 h 126"/>
                        <a:gd name="T20" fmla="*/ 4 w 116"/>
                        <a:gd name="T21" fmla="*/ 2 h 126"/>
                        <a:gd name="T22" fmla="*/ 5 w 116"/>
                        <a:gd name="T23" fmla="*/ 3 h 126"/>
                        <a:gd name="T24" fmla="*/ 5 w 116"/>
                        <a:gd name="T25" fmla="*/ 3 h 126"/>
                        <a:gd name="T26" fmla="*/ 4 w 116"/>
                        <a:gd name="T27" fmla="*/ 3 h 126"/>
                        <a:gd name="T28" fmla="*/ 4 w 116"/>
                        <a:gd name="T29" fmla="*/ 3 h 126"/>
                        <a:gd name="T30" fmla="*/ 3 w 116"/>
                        <a:gd name="T31" fmla="*/ 4 h 126"/>
                        <a:gd name="T32" fmla="*/ 2 w 116"/>
                        <a:gd name="T33" fmla="*/ 4 h 126"/>
                        <a:gd name="T34" fmla="*/ 2 w 116"/>
                        <a:gd name="T35" fmla="*/ 4 h 126"/>
                        <a:gd name="T36" fmla="*/ 2 w 116"/>
                        <a:gd name="T37" fmla="*/ 5 h 126"/>
                        <a:gd name="T38" fmla="*/ 1 w 116"/>
                        <a:gd name="T39" fmla="*/ 5 h 126"/>
                        <a:gd name="T40" fmla="*/ 1 w 116"/>
                        <a:gd name="T41" fmla="*/ 5 h 126"/>
                        <a:gd name="T42" fmla="*/ 1 w 116"/>
                        <a:gd name="T43" fmla="*/ 5 h 126"/>
                        <a:gd name="T44" fmla="*/ 1 w 116"/>
                        <a:gd name="T45" fmla="*/ 5 h 126"/>
                        <a:gd name="T46" fmla="*/ 0 w 116"/>
                        <a:gd name="T47" fmla="*/ 4 h 126"/>
                        <a:gd name="T48" fmla="*/ 0 w 116"/>
                        <a:gd name="T49" fmla="*/ 4 h 126"/>
                        <a:gd name="T50" fmla="*/ 0 w 116"/>
                        <a:gd name="T51" fmla="*/ 5 h 126"/>
                        <a:gd name="T52" fmla="*/ 0 w 116"/>
                        <a:gd name="T53" fmla="*/ 5 h 126"/>
                        <a:gd name="T54" fmla="*/ 0 w 116"/>
                        <a:gd name="T55" fmla="*/ 5 h 126"/>
                        <a:gd name="T56" fmla="*/ 0 w 116"/>
                        <a:gd name="T57" fmla="*/ 4 h 126"/>
                        <a:gd name="T58" fmla="*/ 0 w 116"/>
                        <a:gd name="T59" fmla="*/ 4 h 126"/>
                        <a:gd name="T60" fmla="*/ 0 w 116"/>
                        <a:gd name="T61" fmla="*/ 2 h 126"/>
                        <a:gd name="T62" fmla="*/ 0 w 116"/>
                        <a:gd name="T63" fmla="*/ 2 h 126"/>
                        <a:gd name="T64" fmla="*/ 1 w 116"/>
                        <a:gd name="T65" fmla="*/ 1 h 126"/>
                        <a:gd name="T66" fmla="*/ 1 w 116"/>
                        <a:gd name="T67" fmla="*/ 0 h 12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w 116"/>
                        <a:gd name="T103" fmla="*/ 0 h 126"/>
                        <a:gd name="T104" fmla="*/ 116 w 116"/>
                        <a:gd name="T105" fmla="*/ 126 h 126"/>
                      </a:gdLst>
                      <a:ahLst/>
                      <a:cxnLst>
                        <a:cxn ang="T68">
                          <a:pos x="T0" y="T1"/>
                        </a:cxn>
                        <a:cxn ang="T69">
                          <a:pos x="T2" y="T3"/>
                        </a:cxn>
                        <a:cxn ang="T70">
                          <a:pos x="T4" y="T5"/>
                        </a:cxn>
                        <a:cxn ang="T71">
                          <a:pos x="T6" y="T7"/>
                        </a:cxn>
                        <a:cxn ang="T72">
                          <a:pos x="T8" y="T9"/>
                        </a:cxn>
                        <a:cxn ang="T73">
                          <a:pos x="T10" y="T11"/>
                        </a:cxn>
                        <a:cxn ang="T74">
                          <a:pos x="T12" y="T13"/>
                        </a:cxn>
                        <a:cxn ang="T75">
                          <a:pos x="T14" y="T15"/>
                        </a:cxn>
                        <a:cxn ang="T76">
                          <a:pos x="T16" y="T17"/>
                        </a:cxn>
                        <a:cxn ang="T77">
                          <a:pos x="T18" y="T19"/>
                        </a:cxn>
                        <a:cxn ang="T78">
                          <a:pos x="T20" y="T21"/>
                        </a:cxn>
                        <a:cxn ang="T79">
                          <a:pos x="T22" y="T23"/>
                        </a:cxn>
                        <a:cxn ang="T80">
                          <a:pos x="T24" y="T25"/>
                        </a:cxn>
                        <a:cxn ang="T81">
                          <a:pos x="T26" y="T27"/>
                        </a:cxn>
                        <a:cxn ang="T82">
                          <a:pos x="T28" y="T29"/>
                        </a:cxn>
                        <a:cxn ang="T83">
                          <a:pos x="T30" y="T31"/>
                        </a:cxn>
                        <a:cxn ang="T84">
                          <a:pos x="T32" y="T33"/>
                        </a:cxn>
                        <a:cxn ang="T85">
                          <a:pos x="T34" y="T35"/>
                        </a:cxn>
                        <a:cxn ang="T86">
                          <a:pos x="T36" y="T37"/>
                        </a:cxn>
                        <a:cxn ang="T87">
                          <a:pos x="T38" y="T39"/>
                        </a:cxn>
                        <a:cxn ang="T88">
                          <a:pos x="T40" y="T41"/>
                        </a:cxn>
                        <a:cxn ang="T89">
                          <a:pos x="T42" y="T43"/>
                        </a:cxn>
                        <a:cxn ang="T90">
                          <a:pos x="T44" y="T45"/>
                        </a:cxn>
                        <a:cxn ang="T91">
                          <a:pos x="T46" y="T47"/>
                        </a:cxn>
                        <a:cxn ang="T92">
                          <a:pos x="T48" y="T49"/>
                        </a:cxn>
                        <a:cxn ang="T93">
                          <a:pos x="T50" y="T51"/>
                        </a:cxn>
                        <a:cxn ang="T94">
                          <a:pos x="T52" y="T53"/>
                        </a:cxn>
                        <a:cxn ang="T95">
                          <a:pos x="T54" y="T55"/>
                        </a:cxn>
                        <a:cxn ang="T96">
                          <a:pos x="T56" y="T57"/>
                        </a:cxn>
                        <a:cxn ang="T97">
                          <a:pos x="T58" y="T59"/>
                        </a:cxn>
                        <a:cxn ang="T98">
                          <a:pos x="T60" y="T61"/>
                        </a:cxn>
                        <a:cxn ang="T99">
                          <a:pos x="T62" y="T63"/>
                        </a:cxn>
                        <a:cxn ang="T100">
                          <a:pos x="T64" y="T65"/>
                        </a:cxn>
                        <a:cxn ang="T101">
                          <a:pos x="T66" y="T67"/>
                        </a:cxn>
                      </a:cxnLst>
                      <a:rect l="T102" t="T103" r="T104" b="T105"/>
                      <a:pathLst>
                        <a:path w="116" h="126">
                          <a:moveTo>
                            <a:pt x="27" y="8"/>
                          </a:moveTo>
                          <a:lnTo>
                            <a:pt x="29" y="5"/>
                          </a:lnTo>
                          <a:lnTo>
                            <a:pt x="34" y="3"/>
                          </a:lnTo>
                          <a:lnTo>
                            <a:pt x="38" y="7"/>
                          </a:lnTo>
                          <a:lnTo>
                            <a:pt x="49" y="0"/>
                          </a:lnTo>
                          <a:lnTo>
                            <a:pt x="54" y="0"/>
                          </a:lnTo>
                          <a:lnTo>
                            <a:pt x="94" y="37"/>
                          </a:lnTo>
                          <a:lnTo>
                            <a:pt x="100" y="51"/>
                          </a:lnTo>
                          <a:lnTo>
                            <a:pt x="105" y="53"/>
                          </a:lnTo>
                          <a:lnTo>
                            <a:pt x="105" y="34"/>
                          </a:lnTo>
                          <a:lnTo>
                            <a:pt x="109" y="49"/>
                          </a:lnTo>
                          <a:lnTo>
                            <a:pt x="116" y="65"/>
                          </a:lnTo>
                          <a:lnTo>
                            <a:pt x="115" y="78"/>
                          </a:lnTo>
                          <a:lnTo>
                            <a:pt x="109" y="64"/>
                          </a:lnTo>
                          <a:lnTo>
                            <a:pt x="97" y="76"/>
                          </a:lnTo>
                          <a:lnTo>
                            <a:pt x="77" y="105"/>
                          </a:lnTo>
                          <a:lnTo>
                            <a:pt x="63" y="113"/>
                          </a:lnTo>
                          <a:lnTo>
                            <a:pt x="55" y="113"/>
                          </a:lnTo>
                          <a:lnTo>
                            <a:pt x="45" y="124"/>
                          </a:lnTo>
                          <a:lnTo>
                            <a:pt x="35" y="125"/>
                          </a:lnTo>
                          <a:lnTo>
                            <a:pt x="30" y="118"/>
                          </a:lnTo>
                          <a:lnTo>
                            <a:pt x="28" y="126"/>
                          </a:lnTo>
                          <a:lnTo>
                            <a:pt x="19" y="118"/>
                          </a:lnTo>
                          <a:lnTo>
                            <a:pt x="12" y="105"/>
                          </a:lnTo>
                          <a:lnTo>
                            <a:pt x="6" y="105"/>
                          </a:lnTo>
                          <a:lnTo>
                            <a:pt x="4" y="118"/>
                          </a:lnTo>
                          <a:lnTo>
                            <a:pt x="8" y="125"/>
                          </a:lnTo>
                          <a:lnTo>
                            <a:pt x="2" y="115"/>
                          </a:lnTo>
                          <a:lnTo>
                            <a:pt x="0" y="104"/>
                          </a:lnTo>
                          <a:lnTo>
                            <a:pt x="2" y="91"/>
                          </a:lnTo>
                          <a:lnTo>
                            <a:pt x="3" y="56"/>
                          </a:lnTo>
                          <a:lnTo>
                            <a:pt x="7" y="41"/>
                          </a:lnTo>
                          <a:lnTo>
                            <a:pt x="19" y="17"/>
                          </a:lnTo>
                          <a:lnTo>
                            <a:pt x="27" y="8"/>
                          </a:ln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6350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txBody>
                    <a:bodyPr/>
                    <a:lstStyle/>
                    <a:p>
                      <a:endParaRPr lang="ru-RU" sz="1400"/>
                    </a:p>
                  </p:txBody>
                </p:sp>
                <p:sp>
                  <p:nvSpPr>
                    <p:cNvPr id="503" name="Freeform 169"/>
                    <p:cNvSpPr>
                      <a:spLocks/>
                    </p:cNvSpPr>
                    <p:nvPr/>
                  </p:nvSpPr>
                  <p:spPr bwMode="gray">
                    <a:xfrm>
                      <a:off x="3605" y="995"/>
                      <a:ext cx="67" cy="84"/>
                    </a:xfrm>
                    <a:custGeom>
                      <a:avLst/>
                      <a:gdLst>
                        <a:gd name="T0" fmla="*/ 2 w 337"/>
                        <a:gd name="T1" fmla="*/ 11 h 418"/>
                        <a:gd name="T2" fmla="*/ 2 w 337"/>
                        <a:gd name="T3" fmla="*/ 10 h 418"/>
                        <a:gd name="T4" fmla="*/ 3 w 337"/>
                        <a:gd name="T5" fmla="*/ 7 h 418"/>
                        <a:gd name="T6" fmla="*/ 4 w 337"/>
                        <a:gd name="T7" fmla="*/ 8 h 418"/>
                        <a:gd name="T8" fmla="*/ 3 w 337"/>
                        <a:gd name="T9" fmla="*/ 6 h 418"/>
                        <a:gd name="T10" fmla="*/ 4 w 337"/>
                        <a:gd name="T11" fmla="*/ 5 h 418"/>
                        <a:gd name="T12" fmla="*/ 4 w 337"/>
                        <a:gd name="T13" fmla="*/ 5 h 418"/>
                        <a:gd name="T14" fmla="*/ 4 w 337"/>
                        <a:gd name="T15" fmla="*/ 4 h 418"/>
                        <a:gd name="T16" fmla="*/ 4 w 337"/>
                        <a:gd name="T17" fmla="*/ 4 h 418"/>
                        <a:gd name="T18" fmla="*/ 5 w 337"/>
                        <a:gd name="T19" fmla="*/ 2 h 418"/>
                        <a:gd name="T20" fmla="*/ 5 w 337"/>
                        <a:gd name="T21" fmla="*/ 1 h 418"/>
                        <a:gd name="T22" fmla="*/ 5 w 337"/>
                        <a:gd name="T23" fmla="*/ 2 h 418"/>
                        <a:gd name="T24" fmla="*/ 6 w 337"/>
                        <a:gd name="T25" fmla="*/ 2 h 418"/>
                        <a:gd name="T26" fmla="*/ 6 w 337"/>
                        <a:gd name="T27" fmla="*/ 1 h 418"/>
                        <a:gd name="T28" fmla="*/ 8 w 337"/>
                        <a:gd name="T29" fmla="*/ 0 h 418"/>
                        <a:gd name="T30" fmla="*/ 8 w 337"/>
                        <a:gd name="T31" fmla="*/ 1 h 418"/>
                        <a:gd name="T32" fmla="*/ 8 w 337"/>
                        <a:gd name="T33" fmla="*/ 1 h 418"/>
                        <a:gd name="T34" fmla="*/ 8 w 337"/>
                        <a:gd name="T35" fmla="*/ 3 h 418"/>
                        <a:gd name="T36" fmla="*/ 8 w 337"/>
                        <a:gd name="T37" fmla="*/ 4 h 418"/>
                        <a:gd name="T38" fmla="*/ 8 w 337"/>
                        <a:gd name="T39" fmla="*/ 4 h 418"/>
                        <a:gd name="T40" fmla="*/ 9 w 337"/>
                        <a:gd name="T41" fmla="*/ 3 h 418"/>
                        <a:gd name="T42" fmla="*/ 9 w 337"/>
                        <a:gd name="T43" fmla="*/ 3 h 418"/>
                        <a:gd name="T44" fmla="*/ 9 w 337"/>
                        <a:gd name="T45" fmla="*/ 4 h 418"/>
                        <a:gd name="T46" fmla="*/ 10 w 337"/>
                        <a:gd name="T47" fmla="*/ 3 h 418"/>
                        <a:gd name="T48" fmla="*/ 10 w 337"/>
                        <a:gd name="T49" fmla="*/ 4 h 418"/>
                        <a:gd name="T50" fmla="*/ 10 w 337"/>
                        <a:gd name="T51" fmla="*/ 5 h 418"/>
                        <a:gd name="T52" fmla="*/ 11 w 337"/>
                        <a:gd name="T53" fmla="*/ 5 h 418"/>
                        <a:gd name="T54" fmla="*/ 11 w 337"/>
                        <a:gd name="T55" fmla="*/ 4 h 418"/>
                        <a:gd name="T56" fmla="*/ 12 w 337"/>
                        <a:gd name="T57" fmla="*/ 7 h 418"/>
                        <a:gd name="T58" fmla="*/ 13 w 337"/>
                        <a:gd name="T59" fmla="*/ 8 h 418"/>
                        <a:gd name="T60" fmla="*/ 13 w 337"/>
                        <a:gd name="T61" fmla="*/ 9 h 418"/>
                        <a:gd name="T62" fmla="*/ 13 w 337"/>
                        <a:gd name="T63" fmla="*/ 10 h 418"/>
                        <a:gd name="T64" fmla="*/ 13 w 337"/>
                        <a:gd name="T65" fmla="*/ 13 h 418"/>
                        <a:gd name="T66" fmla="*/ 12 w 337"/>
                        <a:gd name="T67" fmla="*/ 13 h 418"/>
                        <a:gd name="T68" fmla="*/ 10 w 337"/>
                        <a:gd name="T69" fmla="*/ 14 h 418"/>
                        <a:gd name="T70" fmla="*/ 9 w 337"/>
                        <a:gd name="T71" fmla="*/ 14 h 418"/>
                        <a:gd name="T72" fmla="*/ 8 w 337"/>
                        <a:gd name="T73" fmla="*/ 14 h 418"/>
                        <a:gd name="T74" fmla="*/ 8 w 337"/>
                        <a:gd name="T75" fmla="*/ 14 h 418"/>
                        <a:gd name="T76" fmla="*/ 6 w 337"/>
                        <a:gd name="T77" fmla="*/ 14 h 418"/>
                        <a:gd name="T78" fmla="*/ 5 w 337"/>
                        <a:gd name="T79" fmla="*/ 14 h 418"/>
                        <a:gd name="T80" fmla="*/ 4 w 337"/>
                        <a:gd name="T81" fmla="*/ 15 h 418"/>
                        <a:gd name="T82" fmla="*/ 3 w 337"/>
                        <a:gd name="T83" fmla="*/ 15 h 418"/>
                        <a:gd name="T84" fmla="*/ 2 w 337"/>
                        <a:gd name="T85" fmla="*/ 16 h 418"/>
                        <a:gd name="T86" fmla="*/ 0 w 337"/>
                        <a:gd name="T87" fmla="*/ 17 h 418"/>
                        <a:gd name="T88" fmla="*/ 0 w 337"/>
                        <a:gd name="T89" fmla="*/ 16 h 418"/>
                        <a:gd name="T90" fmla="*/ 0 w 337"/>
                        <a:gd name="T91" fmla="*/ 16 h 418"/>
                        <a:gd name="T92" fmla="*/ 0 w 337"/>
                        <a:gd name="T93" fmla="*/ 14 h 418"/>
                        <a:gd name="T94" fmla="*/ 1 w 337"/>
                        <a:gd name="T95" fmla="*/ 12 h 418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w 337"/>
                        <a:gd name="T145" fmla="*/ 0 h 418"/>
                        <a:gd name="T146" fmla="*/ 337 w 337"/>
                        <a:gd name="T147" fmla="*/ 418 h 418"/>
                      </a:gdLst>
                      <a:ahLst/>
                      <a:cxnLst>
                        <a:cxn ang="T96">
                          <a:pos x="T0" y="T1"/>
                        </a:cxn>
                        <a:cxn ang="T97">
                          <a:pos x="T2" y="T3"/>
                        </a:cxn>
                        <a:cxn ang="T98">
                          <a:pos x="T4" y="T5"/>
                        </a:cxn>
                        <a:cxn ang="T99">
                          <a:pos x="T6" y="T7"/>
                        </a:cxn>
                        <a:cxn ang="T100">
                          <a:pos x="T8" y="T9"/>
                        </a:cxn>
                        <a:cxn ang="T101">
                          <a:pos x="T10" y="T11"/>
                        </a:cxn>
                        <a:cxn ang="T102">
                          <a:pos x="T12" y="T13"/>
                        </a:cxn>
                        <a:cxn ang="T103">
                          <a:pos x="T14" y="T15"/>
                        </a:cxn>
                        <a:cxn ang="T104">
                          <a:pos x="T16" y="T17"/>
                        </a:cxn>
                        <a:cxn ang="T105">
                          <a:pos x="T18" y="T19"/>
                        </a:cxn>
                        <a:cxn ang="T106">
                          <a:pos x="T20" y="T21"/>
                        </a:cxn>
                        <a:cxn ang="T107">
                          <a:pos x="T22" y="T23"/>
                        </a:cxn>
                        <a:cxn ang="T108">
                          <a:pos x="T24" y="T25"/>
                        </a:cxn>
                        <a:cxn ang="T109">
                          <a:pos x="T26" y="T27"/>
                        </a:cxn>
                        <a:cxn ang="T110">
                          <a:pos x="T28" y="T29"/>
                        </a:cxn>
                        <a:cxn ang="T111">
                          <a:pos x="T30" y="T31"/>
                        </a:cxn>
                        <a:cxn ang="T112">
                          <a:pos x="T32" y="T33"/>
                        </a:cxn>
                        <a:cxn ang="T113">
                          <a:pos x="T34" y="T35"/>
                        </a:cxn>
                        <a:cxn ang="T114">
                          <a:pos x="T36" y="T37"/>
                        </a:cxn>
                        <a:cxn ang="T115">
                          <a:pos x="T38" y="T39"/>
                        </a:cxn>
                        <a:cxn ang="T116">
                          <a:pos x="T40" y="T41"/>
                        </a:cxn>
                        <a:cxn ang="T117">
                          <a:pos x="T42" y="T43"/>
                        </a:cxn>
                        <a:cxn ang="T118">
                          <a:pos x="T44" y="T45"/>
                        </a:cxn>
                        <a:cxn ang="T119">
                          <a:pos x="T46" y="T47"/>
                        </a:cxn>
                        <a:cxn ang="T120">
                          <a:pos x="T48" y="T49"/>
                        </a:cxn>
                        <a:cxn ang="T121">
                          <a:pos x="T50" y="T51"/>
                        </a:cxn>
                        <a:cxn ang="T122">
                          <a:pos x="T52" y="T53"/>
                        </a:cxn>
                        <a:cxn ang="T123">
                          <a:pos x="T54" y="T55"/>
                        </a:cxn>
                        <a:cxn ang="T124">
                          <a:pos x="T56" y="T57"/>
                        </a:cxn>
                        <a:cxn ang="T125">
                          <a:pos x="T58" y="T59"/>
                        </a:cxn>
                        <a:cxn ang="T126">
                          <a:pos x="T60" y="T61"/>
                        </a:cxn>
                        <a:cxn ang="T127">
                          <a:pos x="T62" y="T63"/>
                        </a:cxn>
                        <a:cxn ang="T128">
                          <a:pos x="T64" y="T65"/>
                        </a:cxn>
                        <a:cxn ang="T129">
                          <a:pos x="T66" y="T67"/>
                        </a:cxn>
                        <a:cxn ang="T130">
                          <a:pos x="T68" y="T69"/>
                        </a:cxn>
                        <a:cxn ang="T131">
                          <a:pos x="T70" y="T71"/>
                        </a:cxn>
                        <a:cxn ang="T132">
                          <a:pos x="T72" y="T73"/>
                        </a:cxn>
                        <a:cxn ang="T133">
                          <a:pos x="T74" y="T75"/>
                        </a:cxn>
                        <a:cxn ang="T134">
                          <a:pos x="T76" y="T77"/>
                        </a:cxn>
                        <a:cxn ang="T135">
                          <a:pos x="T78" y="T79"/>
                        </a:cxn>
                        <a:cxn ang="T136">
                          <a:pos x="T80" y="T81"/>
                        </a:cxn>
                        <a:cxn ang="T137">
                          <a:pos x="T82" y="T83"/>
                        </a:cxn>
                        <a:cxn ang="T138">
                          <a:pos x="T84" y="T85"/>
                        </a:cxn>
                        <a:cxn ang="T139">
                          <a:pos x="T86" y="T87"/>
                        </a:cxn>
                        <a:cxn ang="T140">
                          <a:pos x="T88" y="T89"/>
                        </a:cxn>
                        <a:cxn ang="T141">
                          <a:pos x="T90" y="T91"/>
                        </a:cxn>
                        <a:cxn ang="T142">
                          <a:pos x="T92" y="T93"/>
                        </a:cxn>
                        <a:cxn ang="T143">
                          <a:pos x="T94" y="T95"/>
                        </a:cxn>
                      </a:cxnLst>
                      <a:rect l="T144" t="T145" r="T146" b="T147"/>
                      <a:pathLst>
                        <a:path w="337" h="418">
                          <a:moveTo>
                            <a:pt x="33" y="286"/>
                          </a:moveTo>
                          <a:lnTo>
                            <a:pt x="42" y="277"/>
                          </a:lnTo>
                          <a:lnTo>
                            <a:pt x="42" y="269"/>
                          </a:lnTo>
                          <a:lnTo>
                            <a:pt x="52" y="238"/>
                          </a:lnTo>
                          <a:lnTo>
                            <a:pt x="49" y="228"/>
                          </a:lnTo>
                          <a:lnTo>
                            <a:pt x="66" y="185"/>
                          </a:lnTo>
                          <a:lnTo>
                            <a:pt x="85" y="202"/>
                          </a:lnTo>
                          <a:lnTo>
                            <a:pt x="96" y="201"/>
                          </a:lnTo>
                          <a:lnTo>
                            <a:pt x="80" y="183"/>
                          </a:lnTo>
                          <a:lnTo>
                            <a:pt x="80" y="149"/>
                          </a:lnTo>
                          <a:lnTo>
                            <a:pt x="81" y="131"/>
                          </a:lnTo>
                          <a:lnTo>
                            <a:pt x="92" y="119"/>
                          </a:lnTo>
                          <a:lnTo>
                            <a:pt x="100" y="118"/>
                          </a:lnTo>
                          <a:lnTo>
                            <a:pt x="93" y="115"/>
                          </a:lnTo>
                          <a:lnTo>
                            <a:pt x="93" y="103"/>
                          </a:lnTo>
                          <a:lnTo>
                            <a:pt x="100" y="94"/>
                          </a:lnTo>
                          <a:lnTo>
                            <a:pt x="109" y="92"/>
                          </a:lnTo>
                          <a:lnTo>
                            <a:pt x="105" y="88"/>
                          </a:lnTo>
                          <a:lnTo>
                            <a:pt x="105" y="73"/>
                          </a:lnTo>
                          <a:lnTo>
                            <a:pt x="124" y="52"/>
                          </a:lnTo>
                          <a:lnTo>
                            <a:pt x="125" y="44"/>
                          </a:lnTo>
                          <a:lnTo>
                            <a:pt x="124" y="29"/>
                          </a:lnTo>
                          <a:lnTo>
                            <a:pt x="130" y="24"/>
                          </a:lnTo>
                          <a:lnTo>
                            <a:pt x="136" y="39"/>
                          </a:lnTo>
                          <a:lnTo>
                            <a:pt x="139" y="56"/>
                          </a:lnTo>
                          <a:lnTo>
                            <a:pt x="155" y="62"/>
                          </a:lnTo>
                          <a:lnTo>
                            <a:pt x="157" y="48"/>
                          </a:lnTo>
                          <a:lnTo>
                            <a:pt x="155" y="16"/>
                          </a:lnTo>
                          <a:lnTo>
                            <a:pt x="166" y="0"/>
                          </a:lnTo>
                          <a:lnTo>
                            <a:pt x="194" y="12"/>
                          </a:lnTo>
                          <a:lnTo>
                            <a:pt x="194" y="36"/>
                          </a:lnTo>
                          <a:lnTo>
                            <a:pt x="195" y="29"/>
                          </a:lnTo>
                          <a:lnTo>
                            <a:pt x="200" y="23"/>
                          </a:lnTo>
                          <a:lnTo>
                            <a:pt x="208" y="30"/>
                          </a:lnTo>
                          <a:lnTo>
                            <a:pt x="208" y="43"/>
                          </a:lnTo>
                          <a:lnTo>
                            <a:pt x="195" y="73"/>
                          </a:lnTo>
                          <a:lnTo>
                            <a:pt x="197" y="94"/>
                          </a:lnTo>
                          <a:lnTo>
                            <a:pt x="194" y="108"/>
                          </a:lnTo>
                          <a:lnTo>
                            <a:pt x="194" y="122"/>
                          </a:lnTo>
                          <a:lnTo>
                            <a:pt x="209" y="103"/>
                          </a:lnTo>
                          <a:lnTo>
                            <a:pt x="219" y="84"/>
                          </a:lnTo>
                          <a:lnTo>
                            <a:pt x="219" y="66"/>
                          </a:lnTo>
                          <a:lnTo>
                            <a:pt x="224" y="65"/>
                          </a:lnTo>
                          <a:lnTo>
                            <a:pt x="233" y="79"/>
                          </a:lnTo>
                          <a:lnTo>
                            <a:pt x="236" y="94"/>
                          </a:lnTo>
                          <a:lnTo>
                            <a:pt x="238" y="99"/>
                          </a:lnTo>
                          <a:lnTo>
                            <a:pt x="245" y="88"/>
                          </a:lnTo>
                          <a:lnTo>
                            <a:pt x="249" y="72"/>
                          </a:lnTo>
                          <a:lnTo>
                            <a:pt x="258" y="77"/>
                          </a:lnTo>
                          <a:lnTo>
                            <a:pt x="262" y="95"/>
                          </a:lnTo>
                          <a:lnTo>
                            <a:pt x="259" y="110"/>
                          </a:lnTo>
                          <a:lnTo>
                            <a:pt x="261" y="119"/>
                          </a:lnTo>
                          <a:lnTo>
                            <a:pt x="267" y="131"/>
                          </a:lnTo>
                          <a:lnTo>
                            <a:pt x="273" y="131"/>
                          </a:lnTo>
                          <a:lnTo>
                            <a:pt x="272" y="118"/>
                          </a:lnTo>
                          <a:lnTo>
                            <a:pt x="279" y="110"/>
                          </a:lnTo>
                          <a:lnTo>
                            <a:pt x="284" y="137"/>
                          </a:lnTo>
                          <a:lnTo>
                            <a:pt x="292" y="163"/>
                          </a:lnTo>
                          <a:lnTo>
                            <a:pt x="326" y="184"/>
                          </a:lnTo>
                          <a:lnTo>
                            <a:pt x="334" y="195"/>
                          </a:lnTo>
                          <a:lnTo>
                            <a:pt x="337" y="217"/>
                          </a:lnTo>
                          <a:lnTo>
                            <a:pt x="337" y="234"/>
                          </a:lnTo>
                          <a:lnTo>
                            <a:pt x="333" y="245"/>
                          </a:lnTo>
                          <a:lnTo>
                            <a:pt x="337" y="259"/>
                          </a:lnTo>
                          <a:lnTo>
                            <a:pt x="337" y="276"/>
                          </a:lnTo>
                          <a:lnTo>
                            <a:pt x="318" y="312"/>
                          </a:lnTo>
                          <a:lnTo>
                            <a:pt x="307" y="323"/>
                          </a:lnTo>
                          <a:lnTo>
                            <a:pt x="301" y="317"/>
                          </a:lnTo>
                          <a:lnTo>
                            <a:pt x="280" y="321"/>
                          </a:lnTo>
                          <a:lnTo>
                            <a:pt x="242" y="344"/>
                          </a:lnTo>
                          <a:lnTo>
                            <a:pt x="226" y="341"/>
                          </a:lnTo>
                          <a:lnTo>
                            <a:pt x="216" y="347"/>
                          </a:lnTo>
                          <a:lnTo>
                            <a:pt x="205" y="344"/>
                          </a:lnTo>
                          <a:lnTo>
                            <a:pt x="200" y="346"/>
                          </a:lnTo>
                          <a:lnTo>
                            <a:pt x="199" y="355"/>
                          </a:lnTo>
                          <a:lnTo>
                            <a:pt x="190" y="360"/>
                          </a:lnTo>
                          <a:lnTo>
                            <a:pt x="176" y="342"/>
                          </a:lnTo>
                          <a:lnTo>
                            <a:pt x="149" y="352"/>
                          </a:lnTo>
                          <a:lnTo>
                            <a:pt x="143" y="346"/>
                          </a:lnTo>
                          <a:lnTo>
                            <a:pt x="133" y="352"/>
                          </a:lnTo>
                          <a:lnTo>
                            <a:pt x="98" y="350"/>
                          </a:lnTo>
                          <a:lnTo>
                            <a:pt x="92" y="368"/>
                          </a:lnTo>
                          <a:lnTo>
                            <a:pt x="86" y="371"/>
                          </a:lnTo>
                          <a:lnTo>
                            <a:pt x="77" y="385"/>
                          </a:lnTo>
                          <a:lnTo>
                            <a:pt x="53" y="396"/>
                          </a:lnTo>
                          <a:lnTo>
                            <a:pt x="41" y="409"/>
                          </a:lnTo>
                          <a:lnTo>
                            <a:pt x="33" y="418"/>
                          </a:lnTo>
                          <a:lnTo>
                            <a:pt x="6" y="416"/>
                          </a:lnTo>
                          <a:lnTo>
                            <a:pt x="7" y="409"/>
                          </a:lnTo>
                          <a:lnTo>
                            <a:pt x="12" y="398"/>
                          </a:lnTo>
                          <a:lnTo>
                            <a:pt x="11" y="387"/>
                          </a:lnTo>
                          <a:lnTo>
                            <a:pt x="0" y="393"/>
                          </a:lnTo>
                          <a:lnTo>
                            <a:pt x="4" y="366"/>
                          </a:lnTo>
                          <a:lnTo>
                            <a:pt x="9" y="355"/>
                          </a:lnTo>
                          <a:lnTo>
                            <a:pt x="38" y="302"/>
                          </a:lnTo>
                          <a:lnTo>
                            <a:pt x="33" y="297"/>
                          </a:lnTo>
                          <a:lnTo>
                            <a:pt x="33" y="286"/>
                          </a:ln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6350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txBody>
                    <a:bodyPr/>
                    <a:lstStyle/>
                    <a:p>
                      <a:endParaRPr lang="ru-RU" sz="1400"/>
                    </a:p>
                  </p:txBody>
                </p:sp>
                <p:sp>
                  <p:nvSpPr>
                    <p:cNvPr id="504" name="Freeform 170"/>
                    <p:cNvSpPr>
                      <a:spLocks/>
                    </p:cNvSpPr>
                    <p:nvPr/>
                  </p:nvSpPr>
                  <p:spPr bwMode="gray">
                    <a:xfrm>
                      <a:off x="4015" y="1163"/>
                      <a:ext cx="73" cy="67"/>
                    </a:xfrm>
                    <a:custGeom>
                      <a:avLst/>
                      <a:gdLst>
                        <a:gd name="T0" fmla="*/ 7 w 365"/>
                        <a:gd name="T1" fmla="*/ 4 h 334"/>
                        <a:gd name="T2" fmla="*/ 7 w 365"/>
                        <a:gd name="T3" fmla="*/ 4 h 334"/>
                        <a:gd name="T4" fmla="*/ 8 w 365"/>
                        <a:gd name="T5" fmla="*/ 4 h 334"/>
                        <a:gd name="T6" fmla="*/ 8 w 365"/>
                        <a:gd name="T7" fmla="*/ 5 h 334"/>
                        <a:gd name="T8" fmla="*/ 8 w 365"/>
                        <a:gd name="T9" fmla="*/ 5 h 334"/>
                        <a:gd name="T10" fmla="*/ 8 w 365"/>
                        <a:gd name="T11" fmla="*/ 5 h 334"/>
                        <a:gd name="T12" fmla="*/ 9 w 365"/>
                        <a:gd name="T13" fmla="*/ 5 h 334"/>
                        <a:gd name="T14" fmla="*/ 9 w 365"/>
                        <a:gd name="T15" fmla="*/ 5 h 334"/>
                        <a:gd name="T16" fmla="*/ 9 w 365"/>
                        <a:gd name="T17" fmla="*/ 4 h 334"/>
                        <a:gd name="T18" fmla="*/ 9 w 365"/>
                        <a:gd name="T19" fmla="*/ 2 h 334"/>
                        <a:gd name="T20" fmla="*/ 9 w 365"/>
                        <a:gd name="T21" fmla="*/ 1 h 334"/>
                        <a:gd name="T22" fmla="*/ 11 w 365"/>
                        <a:gd name="T23" fmla="*/ 2 h 334"/>
                        <a:gd name="T24" fmla="*/ 12 w 365"/>
                        <a:gd name="T25" fmla="*/ 4 h 334"/>
                        <a:gd name="T26" fmla="*/ 12 w 365"/>
                        <a:gd name="T27" fmla="*/ 4 h 334"/>
                        <a:gd name="T28" fmla="*/ 13 w 365"/>
                        <a:gd name="T29" fmla="*/ 5 h 334"/>
                        <a:gd name="T30" fmla="*/ 12 w 365"/>
                        <a:gd name="T31" fmla="*/ 6 h 334"/>
                        <a:gd name="T32" fmla="*/ 12 w 365"/>
                        <a:gd name="T33" fmla="*/ 7 h 334"/>
                        <a:gd name="T34" fmla="*/ 12 w 365"/>
                        <a:gd name="T35" fmla="*/ 8 h 334"/>
                        <a:gd name="T36" fmla="*/ 12 w 365"/>
                        <a:gd name="T37" fmla="*/ 9 h 334"/>
                        <a:gd name="T38" fmla="*/ 14 w 365"/>
                        <a:gd name="T39" fmla="*/ 10 h 334"/>
                        <a:gd name="T40" fmla="*/ 15 w 365"/>
                        <a:gd name="T41" fmla="*/ 11 h 334"/>
                        <a:gd name="T42" fmla="*/ 14 w 365"/>
                        <a:gd name="T43" fmla="*/ 12 h 334"/>
                        <a:gd name="T44" fmla="*/ 13 w 365"/>
                        <a:gd name="T45" fmla="*/ 12 h 334"/>
                        <a:gd name="T46" fmla="*/ 12 w 365"/>
                        <a:gd name="T47" fmla="*/ 12 h 334"/>
                        <a:gd name="T48" fmla="*/ 11 w 365"/>
                        <a:gd name="T49" fmla="*/ 11 h 334"/>
                        <a:gd name="T50" fmla="*/ 11 w 365"/>
                        <a:gd name="T51" fmla="*/ 10 h 334"/>
                        <a:gd name="T52" fmla="*/ 10 w 365"/>
                        <a:gd name="T53" fmla="*/ 11 h 334"/>
                        <a:gd name="T54" fmla="*/ 8 w 365"/>
                        <a:gd name="T55" fmla="*/ 12 h 334"/>
                        <a:gd name="T56" fmla="*/ 7 w 365"/>
                        <a:gd name="T57" fmla="*/ 12 h 334"/>
                        <a:gd name="T58" fmla="*/ 7 w 365"/>
                        <a:gd name="T59" fmla="*/ 12 h 334"/>
                        <a:gd name="T60" fmla="*/ 7 w 365"/>
                        <a:gd name="T61" fmla="*/ 12 h 334"/>
                        <a:gd name="T62" fmla="*/ 6 w 365"/>
                        <a:gd name="T63" fmla="*/ 10 h 334"/>
                        <a:gd name="T64" fmla="*/ 6 w 365"/>
                        <a:gd name="T65" fmla="*/ 12 h 334"/>
                        <a:gd name="T66" fmla="*/ 6 w 365"/>
                        <a:gd name="T67" fmla="*/ 12 h 334"/>
                        <a:gd name="T68" fmla="*/ 6 w 365"/>
                        <a:gd name="T69" fmla="*/ 13 h 334"/>
                        <a:gd name="T70" fmla="*/ 5 w 365"/>
                        <a:gd name="T71" fmla="*/ 13 h 334"/>
                        <a:gd name="T72" fmla="*/ 3 w 365"/>
                        <a:gd name="T73" fmla="*/ 12 h 334"/>
                        <a:gd name="T74" fmla="*/ 2 w 365"/>
                        <a:gd name="T75" fmla="*/ 10 h 334"/>
                        <a:gd name="T76" fmla="*/ 1 w 365"/>
                        <a:gd name="T77" fmla="*/ 10 h 334"/>
                        <a:gd name="T78" fmla="*/ 0 w 365"/>
                        <a:gd name="T79" fmla="*/ 8 h 334"/>
                        <a:gd name="T80" fmla="*/ 1 w 365"/>
                        <a:gd name="T81" fmla="*/ 8 h 334"/>
                        <a:gd name="T82" fmla="*/ 1 w 365"/>
                        <a:gd name="T83" fmla="*/ 7 h 334"/>
                        <a:gd name="T84" fmla="*/ 1 w 365"/>
                        <a:gd name="T85" fmla="*/ 7 h 334"/>
                        <a:gd name="T86" fmla="*/ 1 w 365"/>
                        <a:gd name="T87" fmla="*/ 7 h 334"/>
                        <a:gd name="T88" fmla="*/ 1 w 365"/>
                        <a:gd name="T89" fmla="*/ 6 h 334"/>
                        <a:gd name="T90" fmla="*/ 0 w 365"/>
                        <a:gd name="T91" fmla="*/ 6 h 334"/>
                        <a:gd name="T92" fmla="*/ 1 w 365"/>
                        <a:gd name="T93" fmla="*/ 6 h 334"/>
                        <a:gd name="T94" fmla="*/ 1 w 365"/>
                        <a:gd name="T95" fmla="*/ 5 h 334"/>
                        <a:gd name="T96" fmla="*/ 1 w 365"/>
                        <a:gd name="T97" fmla="*/ 4 h 334"/>
                        <a:gd name="T98" fmla="*/ 2 w 365"/>
                        <a:gd name="T99" fmla="*/ 4 h 334"/>
                        <a:gd name="T100" fmla="*/ 1 w 365"/>
                        <a:gd name="T101" fmla="*/ 4 h 334"/>
                        <a:gd name="T102" fmla="*/ 1 w 365"/>
                        <a:gd name="T103" fmla="*/ 3 h 334"/>
                        <a:gd name="T104" fmla="*/ 1 w 365"/>
                        <a:gd name="T105" fmla="*/ 2 h 334"/>
                        <a:gd name="T106" fmla="*/ 3 w 365"/>
                        <a:gd name="T107" fmla="*/ 2 h 334"/>
                        <a:gd name="T108" fmla="*/ 3 w 365"/>
                        <a:gd name="T109" fmla="*/ 1 h 334"/>
                        <a:gd name="T110" fmla="*/ 5 w 365"/>
                        <a:gd name="T111" fmla="*/ 0 h 334"/>
                        <a:gd name="T112" fmla="*/ 5 w 365"/>
                        <a:gd name="T113" fmla="*/ 1 h 334"/>
                        <a:gd name="T114" fmla="*/ 6 w 365"/>
                        <a:gd name="T115" fmla="*/ 2 h 334"/>
                        <a:gd name="T116" fmla="*/ 6 w 365"/>
                        <a:gd name="T117" fmla="*/ 2 h 334"/>
                        <a:gd name="T118" fmla="*/ 7 w 365"/>
                        <a:gd name="T119" fmla="*/ 3 h 334"/>
                        <a:gd name="T120" fmla="*/ 7 w 365"/>
                        <a:gd name="T121" fmla="*/ 3 h 334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60000 65536"/>
                        <a:gd name="T157" fmla="*/ 0 60000 65536"/>
                        <a:gd name="T158" fmla="*/ 0 60000 65536"/>
                        <a:gd name="T159" fmla="*/ 0 60000 65536"/>
                        <a:gd name="T160" fmla="*/ 0 60000 65536"/>
                        <a:gd name="T161" fmla="*/ 0 60000 65536"/>
                        <a:gd name="T162" fmla="*/ 0 60000 65536"/>
                        <a:gd name="T163" fmla="*/ 0 60000 65536"/>
                        <a:gd name="T164" fmla="*/ 0 60000 65536"/>
                        <a:gd name="T165" fmla="*/ 0 60000 65536"/>
                        <a:gd name="T166" fmla="*/ 0 60000 65536"/>
                        <a:gd name="T167" fmla="*/ 0 60000 65536"/>
                        <a:gd name="T168" fmla="*/ 0 60000 65536"/>
                        <a:gd name="T169" fmla="*/ 0 60000 65536"/>
                        <a:gd name="T170" fmla="*/ 0 60000 65536"/>
                        <a:gd name="T171" fmla="*/ 0 60000 65536"/>
                        <a:gd name="T172" fmla="*/ 0 60000 65536"/>
                        <a:gd name="T173" fmla="*/ 0 60000 65536"/>
                        <a:gd name="T174" fmla="*/ 0 60000 65536"/>
                        <a:gd name="T175" fmla="*/ 0 60000 65536"/>
                        <a:gd name="T176" fmla="*/ 0 60000 65536"/>
                        <a:gd name="T177" fmla="*/ 0 60000 65536"/>
                        <a:gd name="T178" fmla="*/ 0 60000 65536"/>
                        <a:gd name="T179" fmla="*/ 0 60000 65536"/>
                        <a:gd name="T180" fmla="*/ 0 60000 65536"/>
                        <a:gd name="T181" fmla="*/ 0 60000 65536"/>
                        <a:gd name="T182" fmla="*/ 0 60000 65536"/>
                        <a:gd name="T183" fmla="*/ 0 w 365"/>
                        <a:gd name="T184" fmla="*/ 0 h 334"/>
                        <a:gd name="T185" fmla="*/ 365 w 365"/>
                        <a:gd name="T186" fmla="*/ 334 h 334"/>
                      </a:gdLst>
                      <a:ahLst/>
                      <a:cxnLst>
                        <a:cxn ang="T122">
                          <a:pos x="T0" y="T1"/>
                        </a:cxn>
                        <a:cxn ang="T123">
                          <a:pos x="T2" y="T3"/>
                        </a:cxn>
                        <a:cxn ang="T124">
                          <a:pos x="T4" y="T5"/>
                        </a:cxn>
                        <a:cxn ang="T125">
                          <a:pos x="T6" y="T7"/>
                        </a:cxn>
                        <a:cxn ang="T126">
                          <a:pos x="T8" y="T9"/>
                        </a:cxn>
                        <a:cxn ang="T127">
                          <a:pos x="T10" y="T11"/>
                        </a:cxn>
                        <a:cxn ang="T128">
                          <a:pos x="T12" y="T13"/>
                        </a:cxn>
                        <a:cxn ang="T129">
                          <a:pos x="T14" y="T15"/>
                        </a:cxn>
                        <a:cxn ang="T130">
                          <a:pos x="T16" y="T17"/>
                        </a:cxn>
                        <a:cxn ang="T131">
                          <a:pos x="T18" y="T19"/>
                        </a:cxn>
                        <a:cxn ang="T132">
                          <a:pos x="T20" y="T21"/>
                        </a:cxn>
                        <a:cxn ang="T133">
                          <a:pos x="T22" y="T23"/>
                        </a:cxn>
                        <a:cxn ang="T134">
                          <a:pos x="T24" y="T25"/>
                        </a:cxn>
                        <a:cxn ang="T135">
                          <a:pos x="T26" y="T27"/>
                        </a:cxn>
                        <a:cxn ang="T136">
                          <a:pos x="T28" y="T29"/>
                        </a:cxn>
                        <a:cxn ang="T137">
                          <a:pos x="T30" y="T31"/>
                        </a:cxn>
                        <a:cxn ang="T138">
                          <a:pos x="T32" y="T33"/>
                        </a:cxn>
                        <a:cxn ang="T139">
                          <a:pos x="T34" y="T35"/>
                        </a:cxn>
                        <a:cxn ang="T140">
                          <a:pos x="T36" y="T37"/>
                        </a:cxn>
                        <a:cxn ang="T141">
                          <a:pos x="T38" y="T39"/>
                        </a:cxn>
                        <a:cxn ang="T142">
                          <a:pos x="T40" y="T41"/>
                        </a:cxn>
                        <a:cxn ang="T143">
                          <a:pos x="T42" y="T43"/>
                        </a:cxn>
                        <a:cxn ang="T144">
                          <a:pos x="T44" y="T45"/>
                        </a:cxn>
                        <a:cxn ang="T145">
                          <a:pos x="T46" y="T47"/>
                        </a:cxn>
                        <a:cxn ang="T146">
                          <a:pos x="T48" y="T49"/>
                        </a:cxn>
                        <a:cxn ang="T147">
                          <a:pos x="T50" y="T51"/>
                        </a:cxn>
                        <a:cxn ang="T148">
                          <a:pos x="T52" y="T53"/>
                        </a:cxn>
                        <a:cxn ang="T149">
                          <a:pos x="T54" y="T55"/>
                        </a:cxn>
                        <a:cxn ang="T150">
                          <a:pos x="T56" y="T57"/>
                        </a:cxn>
                        <a:cxn ang="T151">
                          <a:pos x="T58" y="T59"/>
                        </a:cxn>
                        <a:cxn ang="T152">
                          <a:pos x="T60" y="T61"/>
                        </a:cxn>
                        <a:cxn ang="T153">
                          <a:pos x="T62" y="T63"/>
                        </a:cxn>
                        <a:cxn ang="T154">
                          <a:pos x="T64" y="T65"/>
                        </a:cxn>
                        <a:cxn ang="T155">
                          <a:pos x="T66" y="T67"/>
                        </a:cxn>
                        <a:cxn ang="T156">
                          <a:pos x="T68" y="T69"/>
                        </a:cxn>
                        <a:cxn ang="T157">
                          <a:pos x="T70" y="T71"/>
                        </a:cxn>
                        <a:cxn ang="T158">
                          <a:pos x="T72" y="T73"/>
                        </a:cxn>
                        <a:cxn ang="T159">
                          <a:pos x="T74" y="T75"/>
                        </a:cxn>
                        <a:cxn ang="T160">
                          <a:pos x="T76" y="T77"/>
                        </a:cxn>
                        <a:cxn ang="T161">
                          <a:pos x="T78" y="T79"/>
                        </a:cxn>
                        <a:cxn ang="T162">
                          <a:pos x="T80" y="T81"/>
                        </a:cxn>
                        <a:cxn ang="T163">
                          <a:pos x="T82" y="T83"/>
                        </a:cxn>
                        <a:cxn ang="T164">
                          <a:pos x="T84" y="T85"/>
                        </a:cxn>
                        <a:cxn ang="T165">
                          <a:pos x="T86" y="T87"/>
                        </a:cxn>
                        <a:cxn ang="T166">
                          <a:pos x="T88" y="T89"/>
                        </a:cxn>
                        <a:cxn ang="T167">
                          <a:pos x="T90" y="T91"/>
                        </a:cxn>
                        <a:cxn ang="T168">
                          <a:pos x="T92" y="T93"/>
                        </a:cxn>
                        <a:cxn ang="T169">
                          <a:pos x="T94" y="T95"/>
                        </a:cxn>
                        <a:cxn ang="T170">
                          <a:pos x="T96" y="T97"/>
                        </a:cxn>
                        <a:cxn ang="T171">
                          <a:pos x="T98" y="T99"/>
                        </a:cxn>
                        <a:cxn ang="T172">
                          <a:pos x="T100" y="T101"/>
                        </a:cxn>
                        <a:cxn ang="T173">
                          <a:pos x="T102" y="T103"/>
                        </a:cxn>
                        <a:cxn ang="T174">
                          <a:pos x="T104" y="T105"/>
                        </a:cxn>
                        <a:cxn ang="T175">
                          <a:pos x="T106" y="T107"/>
                        </a:cxn>
                        <a:cxn ang="T176">
                          <a:pos x="T108" y="T109"/>
                        </a:cxn>
                        <a:cxn ang="T177">
                          <a:pos x="T110" y="T111"/>
                        </a:cxn>
                        <a:cxn ang="T178">
                          <a:pos x="T112" y="T113"/>
                        </a:cxn>
                        <a:cxn ang="T179">
                          <a:pos x="T114" y="T115"/>
                        </a:cxn>
                        <a:cxn ang="T180">
                          <a:pos x="T116" y="T117"/>
                        </a:cxn>
                        <a:cxn ang="T181">
                          <a:pos x="T118" y="T119"/>
                        </a:cxn>
                        <a:cxn ang="T182">
                          <a:pos x="T120" y="T121"/>
                        </a:cxn>
                      </a:cxnLst>
                      <a:rect l="T183" t="T184" r="T185" b="T186"/>
                      <a:pathLst>
                        <a:path w="365" h="334">
                          <a:moveTo>
                            <a:pt x="178" y="86"/>
                          </a:moveTo>
                          <a:lnTo>
                            <a:pt x="179" y="89"/>
                          </a:lnTo>
                          <a:lnTo>
                            <a:pt x="180" y="95"/>
                          </a:lnTo>
                          <a:lnTo>
                            <a:pt x="185" y="89"/>
                          </a:lnTo>
                          <a:lnTo>
                            <a:pt x="201" y="94"/>
                          </a:lnTo>
                          <a:lnTo>
                            <a:pt x="200" y="103"/>
                          </a:lnTo>
                          <a:lnTo>
                            <a:pt x="201" y="106"/>
                          </a:lnTo>
                          <a:lnTo>
                            <a:pt x="194" y="120"/>
                          </a:lnTo>
                          <a:lnTo>
                            <a:pt x="196" y="121"/>
                          </a:lnTo>
                          <a:lnTo>
                            <a:pt x="195" y="127"/>
                          </a:lnTo>
                          <a:lnTo>
                            <a:pt x="198" y="135"/>
                          </a:lnTo>
                          <a:lnTo>
                            <a:pt x="205" y="132"/>
                          </a:lnTo>
                          <a:lnTo>
                            <a:pt x="210" y="138"/>
                          </a:lnTo>
                          <a:lnTo>
                            <a:pt x="216" y="133"/>
                          </a:lnTo>
                          <a:lnTo>
                            <a:pt x="226" y="137"/>
                          </a:lnTo>
                          <a:lnTo>
                            <a:pt x="228" y="133"/>
                          </a:lnTo>
                          <a:lnTo>
                            <a:pt x="228" y="109"/>
                          </a:lnTo>
                          <a:lnTo>
                            <a:pt x="233" y="103"/>
                          </a:lnTo>
                          <a:lnTo>
                            <a:pt x="226" y="92"/>
                          </a:lnTo>
                          <a:lnTo>
                            <a:pt x="225" y="60"/>
                          </a:lnTo>
                          <a:lnTo>
                            <a:pt x="225" y="47"/>
                          </a:lnTo>
                          <a:lnTo>
                            <a:pt x="235" y="34"/>
                          </a:lnTo>
                          <a:lnTo>
                            <a:pt x="242" y="30"/>
                          </a:lnTo>
                          <a:lnTo>
                            <a:pt x="268" y="49"/>
                          </a:lnTo>
                          <a:lnTo>
                            <a:pt x="287" y="78"/>
                          </a:lnTo>
                          <a:lnTo>
                            <a:pt x="290" y="89"/>
                          </a:lnTo>
                          <a:lnTo>
                            <a:pt x="297" y="109"/>
                          </a:lnTo>
                          <a:lnTo>
                            <a:pt x="307" y="109"/>
                          </a:lnTo>
                          <a:lnTo>
                            <a:pt x="314" y="115"/>
                          </a:lnTo>
                          <a:lnTo>
                            <a:pt x="314" y="127"/>
                          </a:lnTo>
                          <a:lnTo>
                            <a:pt x="311" y="138"/>
                          </a:lnTo>
                          <a:lnTo>
                            <a:pt x="309" y="151"/>
                          </a:lnTo>
                          <a:lnTo>
                            <a:pt x="305" y="163"/>
                          </a:lnTo>
                          <a:lnTo>
                            <a:pt x="300" y="170"/>
                          </a:lnTo>
                          <a:lnTo>
                            <a:pt x="296" y="181"/>
                          </a:lnTo>
                          <a:lnTo>
                            <a:pt x="296" y="191"/>
                          </a:lnTo>
                          <a:lnTo>
                            <a:pt x="298" y="201"/>
                          </a:lnTo>
                          <a:lnTo>
                            <a:pt x="309" y="234"/>
                          </a:lnTo>
                          <a:lnTo>
                            <a:pt x="323" y="254"/>
                          </a:lnTo>
                          <a:lnTo>
                            <a:pt x="344" y="259"/>
                          </a:lnTo>
                          <a:lnTo>
                            <a:pt x="361" y="272"/>
                          </a:lnTo>
                          <a:lnTo>
                            <a:pt x="365" y="280"/>
                          </a:lnTo>
                          <a:lnTo>
                            <a:pt x="364" y="283"/>
                          </a:lnTo>
                          <a:lnTo>
                            <a:pt x="343" y="289"/>
                          </a:lnTo>
                          <a:lnTo>
                            <a:pt x="317" y="277"/>
                          </a:lnTo>
                          <a:lnTo>
                            <a:pt x="314" y="287"/>
                          </a:lnTo>
                          <a:lnTo>
                            <a:pt x="314" y="296"/>
                          </a:lnTo>
                          <a:lnTo>
                            <a:pt x="305" y="302"/>
                          </a:lnTo>
                          <a:lnTo>
                            <a:pt x="281" y="273"/>
                          </a:lnTo>
                          <a:lnTo>
                            <a:pt x="287" y="272"/>
                          </a:lnTo>
                          <a:lnTo>
                            <a:pt x="289" y="261"/>
                          </a:lnTo>
                          <a:lnTo>
                            <a:pt x="279" y="253"/>
                          </a:lnTo>
                          <a:lnTo>
                            <a:pt x="265" y="272"/>
                          </a:lnTo>
                          <a:lnTo>
                            <a:pt x="238" y="280"/>
                          </a:lnTo>
                          <a:lnTo>
                            <a:pt x="225" y="287"/>
                          </a:lnTo>
                          <a:lnTo>
                            <a:pt x="211" y="301"/>
                          </a:lnTo>
                          <a:lnTo>
                            <a:pt x="183" y="312"/>
                          </a:lnTo>
                          <a:lnTo>
                            <a:pt x="174" y="310"/>
                          </a:lnTo>
                          <a:lnTo>
                            <a:pt x="165" y="302"/>
                          </a:lnTo>
                          <a:lnTo>
                            <a:pt x="172" y="303"/>
                          </a:lnTo>
                          <a:lnTo>
                            <a:pt x="179" y="296"/>
                          </a:lnTo>
                          <a:lnTo>
                            <a:pt x="169" y="289"/>
                          </a:lnTo>
                          <a:lnTo>
                            <a:pt x="162" y="276"/>
                          </a:lnTo>
                          <a:lnTo>
                            <a:pt x="162" y="256"/>
                          </a:lnTo>
                          <a:lnTo>
                            <a:pt x="149" y="265"/>
                          </a:lnTo>
                          <a:lnTo>
                            <a:pt x="146" y="288"/>
                          </a:lnTo>
                          <a:lnTo>
                            <a:pt x="155" y="285"/>
                          </a:lnTo>
                          <a:lnTo>
                            <a:pt x="150" y="298"/>
                          </a:lnTo>
                          <a:lnTo>
                            <a:pt x="146" y="320"/>
                          </a:lnTo>
                          <a:lnTo>
                            <a:pt x="140" y="331"/>
                          </a:lnTo>
                          <a:lnTo>
                            <a:pt x="130" y="334"/>
                          </a:lnTo>
                          <a:lnTo>
                            <a:pt x="113" y="324"/>
                          </a:lnTo>
                          <a:lnTo>
                            <a:pt x="90" y="320"/>
                          </a:lnTo>
                          <a:lnTo>
                            <a:pt x="70" y="307"/>
                          </a:lnTo>
                          <a:lnTo>
                            <a:pt x="61" y="289"/>
                          </a:lnTo>
                          <a:lnTo>
                            <a:pt x="54" y="260"/>
                          </a:lnTo>
                          <a:lnTo>
                            <a:pt x="42" y="262"/>
                          </a:lnTo>
                          <a:lnTo>
                            <a:pt x="15" y="242"/>
                          </a:lnTo>
                          <a:lnTo>
                            <a:pt x="10" y="223"/>
                          </a:lnTo>
                          <a:lnTo>
                            <a:pt x="0" y="196"/>
                          </a:lnTo>
                          <a:lnTo>
                            <a:pt x="10" y="190"/>
                          </a:lnTo>
                          <a:lnTo>
                            <a:pt x="20" y="196"/>
                          </a:lnTo>
                          <a:lnTo>
                            <a:pt x="32" y="190"/>
                          </a:lnTo>
                          <a:lnTo>
                            <a:pt x="27" y="179"/>
                          </a:lnTo>
                          <a:lnTo>
                            <a:pt x="17" y="181"/>
                          </a:lnTo>
                          <a:lnTo>
                            <a:pt x="15" y="176"/>
                          </a:lnTo>
                          <a:lnTo>
                            <a:pt x="17" y="173"/>
                          </a:lnTo>
                          <a:lnTo>
                            <a:pt x="26" y="173"/>
                          </a:lnTo>
                          <a:lnTo>
                            <a:pt x="24" y="159"/>
                          </a:lnTo>
                          <a:lnTo>
                            <a:pt x="13" y="152"/>
                          </a:lnTo>
                          <a:lnTo>
                            <a:pt x="7" y="141"/>
                          </a:lnTo>
                          <a:lnTo>
                            <a:pt x="8" y="140"/>
                          </a:lnTo>
                          <a:lnTo>
                            <a:pt x="17" y="151"/>
                          </a:lnTo>
                          <a:lnTo>
                            <a:pt x="21" y="143"/>
                          </a:lnTo>
                          <a:lnTo>
                            <a:pt x="22" y="132"/>
                          </a:lnTo>
                          <a:lnTo>
                            <a:pt x="17" y="122"/>
                          </a:lnTo>
                          <a:lnTo>
                            <a:pt x="17" y="106"/>
                          </a:lnTo>
                          <a:lnTo>
                            <a:pt x="26" y="99"/>
                          </a:lnTo>
                          <a:lnTo>
                            <a:pt x="39" y="103"/>
                          </a:lnTo>
                          <a:lnTo>
                            <a:pt x="44" y="95"/>
                          </a:lnTo>
                          <a:lnTo>
                            <a:pt x="38" y="83"/>
                          </a:lnTo>
                          <a:lnTo>
                            <a:pt x="33" y="88"/>
                          </a:lnTo>
                          <a:lnTo>
                            <a:pt x="29" y="82"/>
                          </a:lnTo>
                          <a:lnTo>
                            <a:pt x="26" y="67"/>
                          </a:lnTo>
                          <a:lnTo>
                            <a:pt x="28" y="62"/>
                          </a:lnTo>
                          <a:lnTo>
                            <a:pt x="36" y="51"/>
                          </a:lnTo>
                          <a:lnTo>
                            <a:pt x="42" y="55"/>
                          </a:lnTo>
                          <a:lnTo>
                            <a:pt x="67" y="43"/>
                          </a:lnTo>
                          <a:lnTo>
                            <a:pt x="77" y="18"/>
                          </a:lnTo>
                          <a:lnTo>
                            <a:pt x="80" y="22"/>
                          </a:lnTo>
                          <a:lnTo>
                            <a:pt x="103" y="4"/>
                          </a:lnTo>
                          <a:lnTo>
                            <a:pt x="119" y="0"/>
                          </a:lnTo>
                          <a:lnTo>
                            <a:pt x="123" y="1"/>
                          </a:lnTo>
                          <a:lnTo>
                            <a:pt x="117" y="13"/>
                          </a:lnTo>
                          <a:lnTo>
                            <a:pt x="119" y="24"/>
                          </a:lnTo>
                          <a:lnTo>
                            <a:pt x="146" y="54"/>
                          </a:lnTo>
                          <a:lnTo>
                            <a:pt x="151" y="57"/>
                          </a:lnTo>
                          <a:lnTo>
                            <a:pt x="160" y="54"/>
                          </a:lnTo>
                          <a:lnTo>
                            <a:pt x="162" y="62"/>
                          </a:lnTo>
                          <a:lnTo>
                            <a:pt x="169" y="68"/>
                          </a:lnTo>
                          <a:lnTo>
                            <a:pt x="163" y="78"/>
                          </a:lnTo>
                          <a:lnTo>
                            <a:pt x="168" y="87"/>
                          </a:lnTo>
                          <a:lnTo>
                            <a:pt x="178" y="86"/>
                          </a:ln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6350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txBody>
                    <a:bodyPr/>
                    <a:lstStyle/>
                    <a:p>
                      <a:endParaRPr lang="ru-RU" sz="1400"/>
                    </a:p>
                  </p:txBody>
                </p:sp>
                <p:sp>
                  <p:nvSpPr>
                    <p:cNvPr id="505" name="Freeform 171"/>
                    <p:cNvSpPr>
                      <a:spLocks/>
                    </p:cNvSpPr>
                    <p:nvPr/>
                  </p:nvSpPr>
                  <p:spPr bwMode="gray">
                    <a:xfrm>
                      <a:off x="4066" y="1166"/>
                      <a:ext cx="44" cy="50"/>
                    </a:xfrm>
                    <a:custGeom>
                      <a:avLst/>
                      <a:gdLst>
                        <a:gd name="T0" fmla="*/ 0 w 224"/>
                        <a:gd name="T1" fmla="*/ 0 h 248"/>
                        <a:gd name="T2" fmla="*/ 1 w 224"/>
                        <a:gd name="T3" fmla="*/ 0 h 248"/>
                        <a:gd name="T4" fmla="*/ 1 w 224"/>
                        <a:gd name="T5" fmla="*/ 1 h 248"/>
                        <a:gd name="T6" fmla="*/ 2 w 224"/>
                        <a:gd name="T7" fmla="*/ 2 h 248"/>
                        <a:gd name="T8" fmla="*/ 2 w 224"/>
                        <a:gd name="T9" fmla="*/ 2 h 248"/>
                        <a:gd name="T10" fmla="*/ 3 w 224"/>
                        <a:gd name="T11" fmla="*/ 3 h 248"/>
                        <a:gd name="T12" fmla="*/ 3 w 224"/>
                        <a:gd name="T13" fmla="*/ 3 h 248"/>
                        <a:gd name="T14" fmla="*/ 4 w 224"/>
                        <a:gd name="T15" fmla="*/ 2 h 248"/>
                        <a:gd name="T16" fmla="*/ 5 w 224"/>
                        <a:gd name="T17" fmla="*/ 2 h 248"/>
                        <a:gd name="T18" fmla="*/ 5 w 224"/>
                        <a:gd name="T19" fmla="*/ 3 h 248"/>
                        <a:gd name="T20" fmla="*/ 6 w 224"/>
                        <a:gd name="T21" fmla="*/ 4 h 248"/>
                        <a:gd name="T22" fmla="*/ 6 w 224"/>
                        <a:gd name="T23" fmla="*/ 4 h 248"/>
                        <a:gd name="T24" fmla="*/ 7 w 224"/>
                        <a:gd name="T25" fmla="*/ 4 h 248"/>
                        <a:gd name="T26" fmla="*/ 8 w 224"/>
                        <a:gd name="T27" fmla="*/ 5 h 248"/>
                        <a:gd name="T28" fmla="*/ 8 w 224"/>
                        <a:gd name="T29" fmla="*/ 5 h 248"/>
                        <a:gd name="T30" fmla="*/ 9 w 224"/>
                        <a:gd name="T31" fmla="*/ 5 h 248"/>
                        <a:gd name="T32" fmla="*/ 9 w 224"/>
                        <a:gd name="T33" fmla="*/ 6 h 248"/>
                        <a:gd name="T34" fmla="*/ 8 w 224"/>
                        <a:gd name="T35" fmla="*/ 6 h 248"/>
                        <a:gd name="T36" fmla="*/ 8 w 224"/>
                        <a:gd name="T37" fmla="*/ 6 h 248"/>
                        <a:gd name="T38" fmla="*/ 7 w 224"/>
                        <a:gd name="T39" fmla="*/ 6 h 248"/>
                        <a:gd name="T40" fmla="*/ 7 w 224"/>
                        <a:gd name="T41" fmla="*/ 6 h 248"/>
                        <a:gd name="T42" fmla="*/ 7 w 224"/>
                        <a:gd name="T43" fmla="*/ 6 h 248"/>
                        <a:gd name="T44" fmla="*/ 7 w 224"/>
                        <a:gd name="T45" fmla="*/ 7 h 248"/>
                        <a:gd name="T46" fmla="*/ 7 w 224"/>
                        <a:gd name="T47" fmla="*/ 7 h 248"/>
                        <a:gd name="T48" fmla="*/ 7 w 224"/>
                        <a:gd name="T49" fmla="*/ 8 h 248"/>
                        <a:gd name="T50" fmla="*/ 7 w 224"/>
                        <a:gd name="T51" fmla="*/ 8 h 248"/>
                        <a:gd name="T52" fmla="*/ 7 w 224"/>
                        <a:gd name="T53" fmla="*/ 9 h 248"/>
                        <a:gd name="T54" fmla="*/ 6 w 224"/>
                        <a:gd name="T55" fmla="*/ 9 h 248"/>
                        <a:gd name="T56" fmla="*/ 6 w 224"/>
                        <a:gd name="T57" fmla="*/ 9 h 248"/>
                        <a:gd name="T58" fmla="*/ 5 w 224"/>
                        <a:gd name="T59" fmla="*/ 10 h 248"/>
                        <a:gd name="T60" fmla="*/ 5 w 224"/>
                        <a:gd name="T61" fmla="*/ 10 h 248"/>
                        <a:gd name="T62" fmla="*/ 4 w 224"/>
                        <a:gd name="T63" fmla="*/ 9 h 248"/>
                        <a:gd name="T64" fmla="*/ 3 w 224"/>
                        <a:gd name="T65" fmla="*/ 9 h 248"/>
                        <a:gd name="T66" fmla="*/ 2 w 224"/>
                        <a:gd name="T67" fmla="*/ 7 h 248"/>
                        <a:gd name="T68" fmla="*/ 2 w 224"/>
                        <a:gd name="T69" fmla="*/ 6 h 248"/>
                        <a:gd name="T70" fmla="*/ 3 w 224"/>
                        <a:gd name="T71" fmla="*/ 4 h 248"/>
                        <a:gd name="T72" fmla="*/ 3 w 224"/>
                        <a:gd name="T73" fmla="*/ 3 h 248"/>
                        <a:gd name="T74" fmla="*/ 3 w 224"/>
                        <a:gd name="T75" fmla="*/ 3 h 248"/>
                        <a:gd name="T76" fmla="*/ 2 w 224"/>
                        <a:gd name="T77" fmla="*/ 3 h 248"/>
                        <a:gd name="T78" fmla="*/ 1 w 224"/>
                        <a:gd name="T79" fmla="*/ 1 h 248"/>
                        <a:gd name="T80" fmla="*/ 0 w 224"/>
                        <a:gd name="T81" fmla="*/ 0 h 248"/>
                        <a:gd name="T82" fmla="*/ 0 w 224"/>
                        <a:gd name="T83" fmla="*/ 0 h 248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w 224"/>
                        <a:gd name="T127" fmla="*/ 0 h 248"/>
                        <a:gd name="T128" fmla="*/ 224 w 224"/>
                        <a:gd name="T129" fmla="*/ 248 h 248"/>
                      </a:gdLst>
                      <a:ahLst/>
                      <a:cxnLst>
                        <a:cxn ang="T84">
                          <a:pos x="T0" y="T1"/>
                        </a:cxn>
                        <a:cxn ang="T85">
                          <a:pos x="T2" y="T3"/>
                        </a:cxn>
                        <a:cxn ang="T86">
                          <a:pos x="T4" y="T5"/>
                        </a:cxn>
                        <a:cxn ang="T87">
                          <a:pos x="T6" y="T7"/>
                        </a:cxn>
                        <a:cxn ang="T88">
                          <a:pos x="T8" y="T9"/>
                        </a:cxn>
                        <a:cxn ang="T89">
                          <a:pos x="T10" y="T11"/>
                        </a:cxn>
                        <a:cxn ang="T90">
                          <a:pos x="T12" y="T13"/>
                        </a:cxn>
                        <a:cxn ang="T91">
                          <a:pos x="T14" y="T15"/>
                        </a:cxn>
                        <a:cxn ang="T92">
                          <a:pos x="T16" y="T17"/>
                        </a:cxn>
                        <a:cxn ang="T93">
                          <a:pos x="T18" y="T19"/>
                        </a:cxn>
                        <a:cxn ang="T94">
                          <a:pos x="T20" y="T21"/>
                        </a:cxn>
                        <a:cxn ang="T95">
                          <a:pos x="T22" y="T23"/>
                        </a:cxn>
                        <a:cxn ang="T96">
                          <a:pos x="T24" y="T25"/>
                        </a:cxn>
                        <a:cxn ang="T97">
                          <a:pos x="T26" y="T27"/>
                        </a:cxn>
                        <a:cxn ang="T98">
                          <a:pos x="T28" y="T29"/>
                        </a:cxn>
                        <a:cxn ang="T99">
                          <a:pos x="T30" y="T31"/>
                        </a:cxn>
                        <a:cxn ang="T100">
                          <a:pos x="T32" y="T33"/>
                        </a:cxn>
                        <a:cxn ang="T101">
                          <a:pos x="T34" y="T35"/>
                        </a:cxn>
                        <a:cxn ang="T102">
                          <a:pos x="T36" y="T37"/>
                        </a:cxn>
                        <a:cxn ang="T103">
                          <a:pos x="T38" y="T39"/>
                        </a:cxn>
                        <a:cxn ang="T104">
                          <a:pos x="T40" y="T41"/>
                        </a:cxn>
                        <a:cxn ang="T105">
                          <a:pos x="T42" y="T43"/>
                        </a:cxn>
                        <a:cxn ang="T106">
                          <a:pos x="T44" y="T45"/>
                        </a:cxn>
                        <a:cxn ang="T107">
                          <a:pos x="T46" y="T47"/>
                        </a:cxn>
                        <a:cxn ang="T108">
                          <a:pos x="T48" y="T49"/>
                        </a:cxn>
                        <a:cxn ang="T109">
                          <a:pos x="T50" y="T51"/>
                        </a:cxn>
                        <a:cxn ang="T110">
                          <a:pos x="T52" y="T53"/>
                        </a:cxn>
                        <a:cxn ang="T111">
                          <a:pos x="T54" y="T55"/>
                        </a:cxn>
                        <a:cxn ang="T112">
                          <a:pos x="T56" y="T57"/>
                        </a:cxn>
                        <a:cxn ang="T113">
                          <a:pos x="T58" y="T59"/>
                        </a:cxn>
                        <a:cxn ang="T114">
                          <a:pos x="T60" y="T61"/>
                        </a:cxn>
                        <a:cxn ang="T115">
                          <a:pos x="T62" y="T63"/>
                        </a:cxn>
                        <a:cxn ang="T116">
                          <a:pos x="T64" y="T65"/>
                        </a:cxn>
                        <a:cxn ang="T117">
                          <a:pos x="T66" y="T67"/>
                        </a:cxn>
                        <a:cxn ang="T118">
                          <a:pos x="T68" y="T69"/>
                        </a:cxn>
                        <a:cxn ang="T119">
                          <a:pos x="T70" y="T71"/>
                        </a:cxn>
                        <a:cxn ang="T120">
                          <a:pos x="T72" y="T73"/>
                        </a:cxn>
                        <a:cxn ang="T121">
                          <a:pos x="T74" y="T75"/>
                        </a:cxn>
                        <a:cxn ang="T122">
                          <a:pos x="T76" y="T77"/>
                        </a:cxn>
                        <a:cxn ang="T123">
                          <a:pos x="T78" y="T79"/>
                        </a:cxn>
                        <a:cxn ang="T124">
                          <a:pos x="T80" y="T81"/>
                        </a:cxn>
                        <a:cxn ang="T125">
                          <a:pos x="T82" y="T83"/>
                        </a:cxn>
                      </a:cxnLst>
                      <a:rect l="T126" t="T127" r="T128" b="T129"/>
                      <a:pathLst>
                        <a:path w="224" h="248">
                          <a:moveTo>
                            <a:pt x="0" y="0"/>
                          </a:moveTo>
                          <a:lnTo>
                            <a:pt x="16" y="8"/>
                          </a:lnTo>
                          <a:lnTo>
                            <a:pt x="32" y="30"/>
                          </a:lnTo>
                          <a:lnTo>
                            <a:pt x="42" y="38"/>
                          </a:lnTo>
                          <a:lnTo>
                            <a:pt x="56" y="59"/>
                          </a:lnTo>
                          <a:lnTo>
                            <a:pt x="64" y="66"/>
                          </a:lnTo>
                          <a:lnTo>
                            <a:pt x="89" y="71"/>
                          </a:lnTo>
                          <a:lnTo>
                            <a:pt x="106" y="59"/>
                          </a:lnTo>
                          <a:lnTo>
                            <a:pt x="116" y="56"/>
                          </a:lnTo>
                          <a:lnTo>
                            <a:pt x="138" y="64"/>
                          </a:lnTo>
                          <a:lnTo>
                            <a:pt x="152" y="89"/>
                          </a:lnTo>
                          <a:lnTo>
                            <a:pt x="169" y="97"/>
                          </a:lnTo>
                          <a:lnTo>
                            <a:pt x="182" y="110"/>
                          </a:lnTo>
                          <a:lnTo>
                            <a:pt x="201" y="120"/>
                          </a:lnTo>
                          <a:lnTo>
                            <a:pt x="215" y="136"/>
                          </a:lnTo>
                          <a:lnTo>
                            <a:pt x="222" y="136"/>
                          </a:lnTo>
                          <a:lnTo>
                            <a:pt x="224" y="145"/>
                          </a:lnTo>
                          <a:lnTo>
                            <a:pt x="206" y="142"/>
                          </a:lnTo>
                          <a:lnTo>
                            <a:pt x="197" y="146"/>
                          </a:lnTo>
                          <a:lnTo>
                            <a:pt x="193" y="155"/>
                          </a:lnTo>
                          <a:lnTo>
                            <a:pt x="181" y="156"/>
                          </a:lnTo>
                          <a:lnTo>
                            <a:pt x="185" y="161"/>
                          </a:lnTo>
                          <a:lnTo>
                            <a:pt x="182" y="169"/>
                          </a:lnTo>
                          <a:lnTo>
                            <a:pt x="182" y="183"/>
                          </a:lnTo>
                          <a:lnTo>
                            <a:pt x="188" y="194"/>
                          </a:lnTo>
                          <a:lnTo>
                            <a:pt x="183" y="200"/>
                          </a:lnTo>
                          <a:lnTo>
                            <a:pt x="180" y="217"/>
                          </a:lnTo>
                          <a:lnTo>
                            <a:pt x="167" y="226"/>
                          </a:lnTo>
                          <a:lnTo>
                            <a:pt x="163" y="232"/>
                          </a:lnTo>
                          <a:lnTo>
                            <a:pt x="138" y="248"/>
                          </a:lnTo>
                          <a:lnTo>
                            <a:pt x="128" y="241"/>
                          </a:lnTo>
                          <a:lnTo>
                            <a:pt x="91" y="233"/>
                          </a:lnTo>
                          <a:lnTo>
                            <a:pt x="77" y="222"/>
                          </a:lnTo>
                          <a:lnTo>
                            <a:pt x="54" y="164"/>
                          </a:lnTo>
                          <a:lnTo>
                            <a:pt x="56" y="147"/>
                          </a:lnTo>
                          <a:lnTo>
                            <a:pt x="69" y="108"/>
                          </a:lnTo>
                          <a:lnTo>
                            <a:pt x="73" y="85"/>
                          </a:lnTo>
                          <a:lnTo>
                            <a:pt x="64" y="85"/>
                          </a:lnTo>
                          <a:lnTo>
                            <a:pt x="61" y="73"/>
                          </a:lnTo>
                          <a:lnTo>
                            <a:pt x="16" y="19"/>
                          </a:lnTo>
                          <a:lnTo>
                            <a:pt x="8" y="1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6350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txBody>
                    <a:bodyPr/>
                    <a:lstStyle/>
                    <a:p>
                      <a:endParaRPr lang="ru-RU" sz="1400"/>
                    </a:p>
                  </p:txBody>
                </p:sp>
                <p:sp>
                  <p:nvSpPr>
                    <p:cNvPr id="506" name="Freeform 172"/>
                    <p:cNvSpPr>
                      <a:spLocks/>
                    </p:cNvSpPr>
                    <p:nvPr/>
                  </p:nvSpPr>
                  <p:spPr bwMode="gray">
                    <a:xfrm>
                      <a:off x="4119" y="1193"/>
                      <a:ext cx="54" cy="36"/>
                    </a:xfrm>
                    <a:custGeom>
                      <a:avLst/>
                      <a:gdLst>
                        <a:gd name="T0" fmla="*/ 0 w 266"/>
                        <a:gd name="T1" fmla="*/ 0 h 180"/>
                        <a:gd name="T2" fmla="*/ 0 w 266"/>
                        <a:gd name="T3" fmla="*/ 0 h 180"/>
                        <a:gd name="T4" fmla="*/ 1 w 266"/>
                        <a:gd name="T5" fmla="*/ 0 h 180"/>
                        <a:gd name="T6" fmla="*/ 1 w 266"/>
                        <a:gd name="T7" fmla="*/ 1 h 180"/>
                        <a:gd name="T8" fmla="*/ 1 w 266"/>
                        <a:gd name="T9" fmla="*/ 1 h 180"/>
                        <a:gd name="T10" fmla="*/ 1 w 266"/>
                        <a:gd name="T11" fmla="*/ 1 h 180"/>
                        <a:gd name="T12" fmla="*/ 2 w 266"/>
                        <a:gd name="T13" fmla="*/ 1 h 180"/>
                        <a:gd name="T14" fmla="*/ 3 w 266"/>
                        <a:gd name="T15" fmla="*/ 1 h 180"/>
                        <a:gd name="T16" fmla="*/ 3 w 266"/>
                        <a:gd name="T17" fmla="*/ 1 h 180"/>
                        <a:gd name="T18" fmla="*/ 5 w 266"/>
                        <a:gd name="T19" fmla="*/ 2 h 180"/>
                        <a:gd name="T20" fmla="*/ 5 w 266"/>
                        <a:gd name="T21" fmla="*/ 2 h 180"/>
                        <a:gd name="T22" fmla="*/ 5 w 266"/>
                        <a:gd name="T23" fmla="*/ 2 h 180"/>
                        <a:gd name="T24" fmla="*/ 5 w 266"/>
                        <a:gd name="T25" fmla="*/ 2 h 180"/>
                        <a:gd name="T26" fmla="*/ 4 w 266"/>
                        <a:gd name="T27" fmla="*/ 3 h 180"/>
                        <a:gd name="T28" fmla="*/ 5 w 266"/>
                        <a:gd name="T29" fmla="*/ 3 h 180"/>
                        <a:gd name="T30" fmla="*/ 6 w 266"/>
                        <a:gd name="T31" fmla="*/ 3 h 180"/>
                        <a:gd name="T32" fmla="*/ 7 w 266"/>
                        <a:gd name="T33" fmla="*/ 2 h 180"/>
                        <a:gd name="T34" fmla="*/ 7 w 266"/>
                        <a:gd name="T35" fmla="*/ 2 h 180"/>
                        <a:gd name="T36" fmla="*/ 8 w 266"/>
                        <a:gd name="T37" fmla="*/ 3 h 180"/>
                        <a:gd name="T38" fmla="*/ 8 w 266"/>
                        <a:gd name="T39" fmla="*/ 3 h 180"/>
                        <a:gd name="T40" fmla="*/ 9 w 266"/>
                        <a:gd name="T41" fmla="*/ 3 h 180"/>
                        <a:gd name="T42" fmla="*/ 9 w 266"/>
                        <a:gd name="T43" fmla="*/ 3 h 180"/>
                        <a:gd name="T44" fmla="*/ 9 w 266"/>
                        <a:gd name="T45" fmla="*/ 4 h 180"/>
                        <a:gd name="T46" fmla="*/ 11 w 266"/>
                        <a:gd name="T47" fmla="*/ 4 h 180"/>
                        <a:gd name="T48" fmla="*/ 11 w 266"/>
                        <a:gd name="T49" fmla="*/ 4 h 180"/>
                        <a:gd name="T50" fmla="*/ 11 w 266"/>
                        <a:gd name="T51" fmla="*/ 5 h 180"/>
                        <a:gd name="T52" fmla="*/ 10 w 266"/>
                        <a:gd name="T53" fmla="*/ 6 h 180"/>
                        <a:gd name="T54" fmla="*/ 9 w 266"/>
                        <a:gd name="T55" fmla="*/ 7 h 180"/>
                        <a:gd name="T56" fmla="*/ 8 w 266"/>
                        <a:gd name="T57" fmla="*/ 7 h 180"/>
                        <a:gd name="T58" fmla="*/ 8 w 266"/>
                        <a:gd name="T59" fmla="*/ 7 h 180"/>
                        <a:gd name="T60" fmla="*/ 8 w 266"/>
                        <a:gd name="T61" fmla="*/ 7 h 180"/>
                        <a:gd name="T62" fmla="*/ 7 w 266"/>
                        <a:gd name="T63" fmla="*/ 7 h 180"/>
                        <a:gd name="T64" fmla="*/ 7 w 266"/>
                        <a:gd name="T65" fmla="*/ 7 h 180"/>
                        <a:gd name="T66" fmla="*/ 7 w 266"/>
                        <a:gd name="T67" fmla="*/ 7 h 180"/>
                        <a:gd name="T68" fmla="*/ 6 w 266"/>
                        <a:gd name="T69" fmla="*/ 7 h 180"/>
                        <a:gd name="T70" fmla="*/ 6 w 266"/>
                        <a:gd name="T71" fmla="*/ 7 h 180"/>
                        <a:gd name="T72" fmla="*/ 5 w 266"/>
                        <a:gd name="T73" fmla="*/ 6 h 180"/>
                        <a:gd name="T74" fmla="*/ 5 w 266"/>
                        <a:gd name="T75" fmla="*/ 6 h 180"/>
                        <a:gd name="T76" fmla="*/ 4 w 266"/>
                        <a:gd name="T77" fmla="*/ 6 h 180"/>
                        <a:gd name="T78" fmla="*/ 4 w 266"/>
                        <a:gd name="T79" fmla="*/ 6 h 180"/>
                        <a:gd name="T80" fmla="*/ 3 w 266"/>
                        <a:gd name="T81" fmla="*/ 5 h 180"/>
                        <a:gd name="T82" fmla="*/ 3 w 266"/>
                        <a:gd name="T83" fmla="*/ 5 h 180"/>
                        <a:gd name="T84" fmla="*/ 2 w 266"/>
                        <a:gd name="T85" fmla="*/ 5 h 180"/>
                        <a:gd name="T86" fmla="*/ 2 w 266"/>
                        <a:gd name="T87" fmla="*/ 4 h 180"/>
                        <a:gd name="T88" fmla="*/ 2 w 266"/>
                        <a:gd name="T89" fmla="*/ 3 h 180"/>
                        <a:gd name="T90" fmla="*/ 1 w 266"/>
                        <a:gd name="T91" fmla="*/ 3 h 180"/>
                        <a:gd name="T92" fmla="*/ 1 w 266"/>
                        <a:gd name="T93" fmla="*/ 2 h 180"/>
                        <a:gd name="T94" fmla="*/ 0 w 266"/>
                        <a:gd name="T95" fmla="*/ 1 h 180"/>
                        <a:gd name="T96" fmla="*/ 0 w 266"/>
                        <a:gd name="T97" fmla="*/ 0 h 180"/>
                        <a:gd name="T98" fmla="*/ 0 w 266"/>
                        <a:gd name="T99" fmla="*/ 0 h 180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w 266"/>
                        <a:gd name="T151" fmla="*/ 0 h 180"/>
                        <a:gd name="T152" fmla="*/ 266 w 266"/>
                        <a:gd name="T153" fmla="*/ 180 h 180"/>
                      </a:gdLst>
                      <a:ahLst/>
                      <a:cxnLst>
                        <a:cxn ang="T100">
                          <a:pos x="T0" y="T1"/>
                        </a:cxn>
                        <a:cxn ang="T101">
                          <a:pos x="T2" y="T3"/>
                        </a:cxn>
                        <a:cxn ang="T102">
                          <a:pos x="T4" y="T5"/>
                        </a:cxn>
                        <a:cxn ang="T103">
                          <a:pos x="T6" y="T7"/>
                        </a:cxn>
                        <a:cxn ang="T104">
                          <a:pos x="T8" y="T9"/>
                        </a:cxn>
                        <a:cxn ang="T105">
                          <a:pos x="T10" y="T11"/>
                        </a:cxn>
                        <a:cxn ang="T106">
                          <a:pos x="T12" y="T13"/>
                        </a:cxn>
                        <a:cxn ang="T107">
                          <a:pos x="T14" y="T15"/>
                        </a:cxn>
                        <a:cxn ang="T108">
                          <a:pos x="T16" y="T17"/>
                        </a:cxn>
                        <a:cxn ang="T109">
                          <a:pos x="T18" y="T19"/>
                        </a:cxn>
                        <a:cxn ang="T110">
                          <a:pos x="T20" y="T21"/>
                        </a:cxn>
                        <a:cxn ang="T111">
                          <a:pos x="T22" y="T23"/>
                        </a:cxn>
                        <a:cxn ang="T112">
                          <a:pos x="T24" y="T25"/>
                        </a:cxn>
                        <a:cxn ang="T113">
                          <a:pos x="T26" y="T27"/>
                        </a:cxn>
                        <a:cxn ang="T114">
                          <a:pos x="T28" y="T29"/>
                        </a:cxn>
                        <a:cxn ang="T115">
                          <a:pos x="T30" y="T31"/>
                        </a:cxn>
                        <a:cxn ang="T116">
                          <a:pos x="T32" y="T33"/>
                        </a:cxn>
                        <a:cxn ang="T117">
                          <a:pos x="T34" y="T35"/>
                        </a:cxn>
                        <a:cxn ang="T118">
                          <a:pos x="T36" y="T37"/>
                        </a:cxn>
                        <a:cxn ang="T119">
                          <a:pos x="T38" y="T39"/>
                        </a:cxn>
                        <a:cxn ang="T120">
                          <a:pos x="T40" y="T41"/>
                        </a:cxn>
                        <a:cxn ang="T121">
                          <a:pos x="T42" y="T43"/>
                        </a:cxn>
                        <a:cxn ang="T122">
                          <a:pos x="T44" y="T45"/>
                        </a:cxn>
                        <a:cxn ang="T123">
                          <a:pos x="T46" y="T47"/>
                        </a:cxn>
                        <a:cxn ang="T124">
                          <a:pos x="T48" y="T49"/>
                        </a:cxn>
                        <a:cxn ang="T125">
                          <a:pos x="T50" y="T51"/>
                        </a:cxn>
                        <a:cxn ang="T126">
                          <a:pos x="T52" y="T53"/>
                        </a:cxn>
                        <a:cxn ang="T127">
                          <a:pos x="T54" y="T55"/>
                        </a:cxn>
                        <a:cxn ang="T128">
                          <a:pos x="T56" y="T57"/>
                        </a:cxn>
                        <a:cxn ang="T129">
                          <a:pos x="T58" y="T59"/>
                        </a:cxn>
                        <a:cxn ang="T130">
                          <a:pos x="T60" y="T61"/>
                        </a:cxn>
                        <a:cxn ang="T131">
                          <a:pos x="T62" y="T63"/>
                        </a:cxn>
                        <a:cxn ang="T132">
                          <a:pos x="T64" y="T65"/>
                        </a:cxn>
                        <a:cxn ang="T133">
                          <a:pos x="T66" y="T67"/>
                        </a:cxn>
                        <a:cxn ang="T134">
                          <a:pos x="T68" y="T69"/>
                        </a:cxn>
                        <a:cxn ang="T135">
                          <a:pos x="T70" y="T71"/>
                        </a:cxn>
                        <a:cxn ang="T136">
                          <a:pos x="T72" y="T73"/>
                        </a:cxn>
                        <a:cxn ang="T137">
                          <a:pos x="T74" y="T75"/>
                        </a:cxn>
                        <a:cxn ang="T138">
                          <a:pos x="T76" y="T77"/>
                        </a:cxn>
                        <a:cxn ang="T139">
                          <a:pos x="T78" y="T79"/>
                        </a:cxn>
                        <a:cxn ang="T140">
                          <a:pos x="T80" y="T81"/>
                        </a:cxn>
                        <a:cxn ang="T141">
                          <a:pos x="T82" y="T83"/>
                        </a:cxn>
                        <a:cxn ang="T142">
                          <a:pos x="T84" y="T85"/>
                        </a:cxn>
                        <a:cxn ang="T143">
                          <a:pos x="T86" y="T87"/>
                        </a:cxn>
                        <a:cxn ang="T144">
                          <a:pos x="T88" y="T89"/>
                        </a:cxn>
                        <a:cxn ang="T145">
                          <a:pos x="T90" y="T91"/>
                        </a:cxn>
                        <a:cxn ang="T146">
                          <a:pos x="T92" y="T93"/>
                        </a:cxn>
                        <a:cxn ang="T147">
                          <a:pos x="T94" y="T95"/>
                        </a:cxn>
                        <a:cxn ang="T148">
                          <a:pos x="T96" y="T97"/>
                        </a:cxn>
                        <a:cxn ang="T149">
                          <a:pos x="T98" y="T99"/>
                        </a:cxn>
                      </a:cxnLst>
                      <a:rect l="T150" t="T151" r="T152" b="T153"/>
                      <a:pathLst>
                        <a:path w="266" h="180">
                          <a:moveTo>
                            <a:pt x="3" y="0"/>
                          </a:moveTo>
                          <a:lnTo>
                            <a:pt x="9" y="6"/>
                          </a:lnTo>
                          <a:lnTo>
                            <a:pt x="19" y="10"/>
                          </a:lnTo>
                          <a:lnTo>
                            <a:pt x="24" y="15"/>
                          </a:lnTo>
                          <a:lnTo>
                            <a:pt x="26" y="25"/>
                          </a:lnTo>
                          <a:lnTo>
                            <a:pt x="36" y="30"/>
                          </a:lnTo>
                          <a:lnTo>
                            <a:pt x="51" y="33"/>
                          </a:lnTo>
                          <a:lnTo>
                            <a:pt x="66" y="35"/>
                          </a:lnTo>
                          <a:lnTo>
                            <a:pt x="73" y="31"/>
                          </a:lnTo>
                          <a:lnTo>
                            <a:pt x="127" y="41"/>
                          </a:lnTo>
                          <a:lnTo>
                            <a:pt x="129" y="49"/>
                          </a:lnTo>
                          <a:lnTo>
                            <a:pt x="122" y="49"/>
                          </a:lnTo>
                          <a:lnTo>
                            <a:pt x="121" y="55"/>
                          </a:lnTo>
                          <a:lnTo>
                            <a:pt x="109" y="67"/>
                          </a:lnTo>
                          <a:lnTo>
                            <a:pt x="132" y="64"/>
                          </a:lnTo>
                          <a:lnTo>
                            <a:pt x="154" y="68"/>
                          </a:lnTo>
                          <a:lnTo>
                            <a:pt x="163" y="62"/>
                          </a:lnTo>
                          <a:lnTo>
                            <a:pt x="172" y="62"/>
                          </a:lnTo>
                          <a:lnTo>
                            <a:pt x="182" y="68"/>
                          </a:lnTo>
                          <a:lnTo>
                            <a:pt x="188" y="79"/>
                          </a:lnTo>
                          <a:lnTo>
                            <a:pt x="207" y="75"/>
                          </a:lnTo>
                          <a:lnTo>
                            <a:pt x="218" y="79"/>
                          </a:lnTo>
                          <a:lnTo>
                            <a:pt x="225" y="91"/>
                          </a:lnTo>
                          <a:lnTo>
                            <a:pt x="266" y="100"/>
                          </a:lnTo>
                          <a:lnTo>
                            <a:pt x="256" y="108"/>
                          </a:lnTo>
                          <a:lnTo>
                            <a:pt x="257" y="135"/>
                          </a:lnTo>
                          <a:lnTo>
                            <a:pt x="245" y="154"/>
                          </a:lnTo>
                          <a:lnTo>
                            <a:pt x="208" y="176"/>
                          </a:lnTo>
                          <a:lnTo>
                            <a:pt x="198" y="180"/>
                          </a:lnTo>
                          <a:lnTo>
                            <a:pt x="191" y="171"/>
                          </a:lnTo>
                          <a:lnTo>
                            <a:pt x="186" y="176"/>
                          </a:lnTo>
                          <a:lnTo>
                            <a:pt x="179" y="173"/>
                          </a:lnTo>
                          <a:lnTo>
                            <a:pt x="174" y="164"/>
                          </a:lnTo>
                          <a:lnTo>
                            <a:pt x="171" y="175"/>
                          </a:lnTo>
                          <a:lnTo>
                            <a:pt x="160" y="175"/>
                          </a:lnTo>
                          <a:lnTo>
                            <a:pt x="144" y="170"/>
                          </a:lnTo>
                          <a:lnTo>
                            <a:pt x="133" y="156"/>
                          </a:lnTo>
                          <a:lnTo>
                            <a:pt x="117" y="156"/>
                          </a:lnTo>
                          <a:lnTo>
                            <a:pt x="104" y="151"/>
                          </a:lnTo>
                          <a:lnTo>
                            <a:pt x="95" y="140"/>
                          </a:lnTo>
                          <a:lnTo>
                            <a:pt x="85" y="135"/>
                          </a:lnTo>
                          <a:lnTo>
                            <a:pt x="75" y="123"/>
                          </a:lnTo>
                          <a:lnTo>
                            <a:pt x="57" y="118"/>
                          </a:lnTo>
                          <a:lnTo>
                            <a:pt x="46" y="110"/>
                          </a:lnTo>
                          <a:lnTo>
                            <a:pt x="45" y="81"/>
                          </a:lnTo>
                          <a:lnTo>
                            <a:pt x="31" y="67"/>
                          </a:lnTo>
                          <a:lnTo>
                            <a:pt x="26" y="47"/>
                          </a:lnTo>
                          <a:lnTo>
                            <a:pt x="5" y="20"/>
                          </a:lnTo>
                          <a:lnTo>
                            <a:pt x="0" y="3"/>
                          </a:lnTo>
                          <a:lnTo>
                            <a:pt x="3" y="0"/>
                          </a:ln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6350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txBody>
                    <a:bodyPr/>
                    <a:lstStyle/>
                    <a:p>
                      <a:endParaRPr lang="ru-RU" sz="1400"/>
                    </a:p>
                  </p:txBody>
                </p:sp>
                <p:sp>
                  <p:nvSpPr>
                    <p:cNvPr id="507" name="Freeform 173"/>
                    <p:cNvSpPr>
                      <a:spLocks/>
                    </p:cNvSpPr>
                    <p:nvPr/>
                  </p:nvSpPr>
                  <p:spPr bwMode="gray">
                    <a:xfrm>
                      <a:off x="4047" y="1261"/>
                      <a:ext cx="43" cy="27"/>
                    </a:xfrm>
                    <a:custGeom>
                      <a:avLst/>
                      <a:gdLst>
                        <a:gd name="T0" fmla="*/ 4 w 212"/>
                        <a:gd name="T1" fmla="*/ 0 h 136"/>
                        <a:gd name="T2" fmla="*/ 4 w 212"/>
                        <a:gd name="T3" fmla="*/ 0 h 136"/>
                        <a:gd name="T4" fmla="*/ 5 w 212"/>
                        <a:gd name="T5" fmla="*/ 0 h 136"/>
                        <a:gd name="T6" fmla="*/ 6 w 212"/>
                        <a:gd name="T7" fmla="*/ 0 h 136"/>
                        <a:gd name="T8" fmla="*/ 6 w 212"/>
                        <a:gd name="T9" fmla="*/ 1 h 136"/>
                        <a:gd name="T10" fmla="*/ 6 w 212"/>
                        <a:gd name="T11" fmla="*/ 1 h 136"/>
                        <a:gd name="T12" fmla="*/ 7 w 212"/>
                        <a:gd name="T13" fmla="*/ 1 h 136"/>
                        <a:gd name="T14" fmla="*/ 8 w 212"/>
                        <a:gd name="T15" fmla="*/ 2 h 136"/>
                        <a:gd name="T16" fmla="*/ 8 w 212"/>
                        <a:gd name="T17" fmla="*/ 3 h 136"/>
                        <a:gd name="T18" fmla="*/ 9 w 212"/>
                        <a:gd name="T19" fmla="*/ 4 h 136"/>
                        <a:gd name="T20" fmla="*/ 9 w 212"/>
                        <a:gd name="T21" fmla="*/ 4 h 136"/>
                        <a:gd name="T22" fmla="*/ 9 w 212"/>
                        <a:gd name="T23" fmla="*/ 5 h 136"/>
                        <a:gd name="T24" fmla="*/ 9 w 212"/>
                        <a:gd name="T25" fmla="*/ 5 h 136"/>
                        <a:gd name="T26" fmla="*/ 8 w 212"/>
                        <a:gd name="T27" fmla="*/ 5 h 136"/>
                        <a:gd name="T28" fmla="*/ 8 w 212"/>
                        <a:gd name="T29" fmla="*/ 5 h 136"/>
                        <a:gd name="T30" fmla="*/ 8 w 212"/>
                        <a:gd name="T31" fmla="*/ 5 h 136"/>
                        <a:gd name="T32" fmla="*/ 7 w 212"/>
                        <a:gd name="T33" fmla="*/ 5 h 136"/>
                        <a:gd name="T34" fmla="*/ 6 w 212"/>
                        <a:gd name="T35" fmla="*/ 5 h 136"/>
                        <a:gd name="T36" fmla="*/ 5 w 212"/>
                        <a:gd name="T37" fmla="*/ 5 h 136"/>
                        <a:gd name="T38" fmla="*/ 5 w 212"/>
                        <a:gd name="T39" fmla="*/ 4 h 136"/>
                        <a:gd name="T40" fmla="*/ 4 w 212"/>
                        <a:gd name="T41" fmla="*/ 5 h 136"/>
                        <a:gd name="T42" fmla="*/ 3 w 212"/>
                        <a:gd name="T43" fmla="*/ 4 h 136"/>
                        <a:gd name="T44" fmla="*/ 3 w 212"/>
                        <a:gd name="T45" fmla="*/ 4 h 136"/>
                        <a:gd name="T46" fmla="*/ 2 w 212"/>
                        <a:gd name="T47" fmla="*/ 4 h 136"/>
                        <a:gd name="T48" fmla="*/ 1 w 212"/>
                        <a:gd name="T49" fmla="*/ 4 h 136"/>
                        <a:gd name="T50" fmla="*/ 0 w 212"/>
                        <a:gd name="T51" fmla="*/ 4 h 136"/>
                        <a:gd name="T52" fmla="*/ 0 w 212"/>
                        <a:gd name="T53" fmla="*/ 4 h 136"/>
                        <a:gd name="T54" fmla="*/ 0 w 212"/>
                        <a:gd name="T55" fmla="*/ 4 h 136"/>
                        <a:gd name="T56" fmla="*/ 2 w 212"/>
                        <a:gd name="T57" fmla="*/ 3 h 136"/>
                        <a:gd name="T58" fmla="*/ 2 w 212"/>
                        <a:gd name="T59" fmla="*/ 3 h 136"/>
                        <a:gd name="T60" fmla="*/ 2 w 212"/>
                        <a:gd name="T61" fmla="*/ 2 h 136"/>
                        <a:gd name="T62" fmla="*/ 2 w 212"/>
                        <a:gd name="T63" fmla="*/ 1 h 136"/>
                        <a:gd name="T64" fmla="*/ 2 w 212"/>
                        <a:gd name="T65" fmla="*/ 1 h 136"/>
                        <a:gd name="T66" fmla="*/ 3 w 212"/>
                        <a:gd name="T67" fmla="*/ 0 h 136"/>
                        <a:gd name="T68" fmla="*/ 4 w 212"/>
                        <a:gd name="T69" fmla="*/ 0 h 1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w 212"/>
                        <a:gd name="T106" fmla="*/ 0 h 136"/>
                        <a:gd name="T107" fmla="*/ 212 w 212"/>
                        <a:gd name="T108" fmla="*/ 136 h 136"/>
                      </a:gdLst>
                      <a:ahLst/>
                      <a:cxnLst>
                        <a:cxn ang="T70">
                          <a:pos x="T0" y="T1"/>
                        </a:cxn>
                        <a:cxn ang="T71">
                          <a:pos x="T2" y="T3"/>
                        </a:cxn>
                        <a:cxn ang="T72">
                          <a:pos x="T4" y="T5"/>
                        </a:cxn>
                        <a:cxn ang="T73">
                          <a:pos x="T6" y="T7"/>
                        </a:cxn>
                        <a:cxn ang="T74">
                          <a:pos x="T8" y="T9"/>
                        </a:cxn>
                        <a:cxn ang="T75">
                          <a:pos x="T10" y="T11"/>
                        </a:cxn>
                        <a:cxn ang="T76">
                          <a:pos x="T12" y="T13"/>
                        </a:cxn>
                        <a:cxn ang="T77">
                          <a:pos x="T14" y="T15"/>
                        </a:cxn>
                        <a:cxn ang="T78">
                          <a:pos x="T16" y="T17"/>
                        </a:cxn>
                        <a:cxn ang="T79">
                          <a:pos x="T18" y="T19"/>
                        </a:cxn>
                        <a:cxn ang="T80">
                          <a:pos x="T20" y="T21"/>
                        </a:cxn>
                        <a:cxn ang="T81">
                          <a:pos x="T22" y="T23"/>
                        </a:cxn>
                        <a:cxn ang="T82">
                          <a:pos x="T24" y="T25"/>
                        </a:cxn>
                        <a:cxn ang="T83">
                          <a:pos x="T26" y="T27"/>
                        </a:cxn>
                        <a:cxn ang="T84">
                          <a:pos x="T28" y="T29"/>
                        </a:cxn>
                        <a:cxn ang="T85">
                          <a:pos x="T30" y="T31"/>
                        </a:cxn>
                        <a:cxn ang="T86">
                          <a:pos x="T32" y="T33"/>
                        </a:cxn>
                        <a:cxn ang="T87">
                          <a:pos x="T34" y="T35"/>
                        </a:cxn>
                        <a:cxn ang="T88">
                          <a:pos x="T36" y="T37"/>
                        </a:cxn>
                        <a:cxn ang="T89">
                          <a:pos x="T38" y="T39"/>
                        </a:cxn>
                        <a:cxn ang="T90">
                          <a:pos x="T40" y="T41"/>
                        </a:cxn>
                        <a:cxn ang="T91">
                          <a:pos x="T42" y="T43"/>
                        </a:cxn>
                        <a:cxn ang="T92">
                          <a:pos x="T44" y="T45"/>
                        </a:cxn>
                        <a:cxn ang="T93">
                          <a:pos x="T46" y="T47"/>
                        </a:cxn>
                        <a:cxn ang="T94">
                          <a:pos x="T48" y="T49"/>
                        </a:cxn>
                        <a:cxn ang="T95">
                          <a:pos x="T50" y="T51"/>
                        </a:cxn>
                        <a:cxn ang="T96">
                          <a:pos x="T52" y="T53"/>
                        </a:cxn>
                        <a:cxn ang="T97">
                          <a:pos x="T54" y="T55"/>
                        </a:cxn>
                        <a:cxn ang="T98">
                          <a:pos x="T56" y="T57"/>
                        </a:cxn>
                        <a:cxn ang="T99">
                          <a:pos x="T58" y="T59"/>
                        </a:cxn>
                        <a:cxn ang="T100">
                          <a:pos x="T60" y="T61"/>
                        </a:cxn>
                        <a:cxn ang="T101">
                          <a:pos x="T62" y="T63"/>
                        </a:cxn>
                        <a:cxn ang="T102">
                          <a:pos x="T64" y="T65"/>
                        </a:cxn>
                        <a:cxn ang="T103">
                          <a:pos x="T66" y="T67"/>
                        </a:cxn>
                        <a:cxn ang="T104">
                          <a:pos x="T68" y="T69"/>
                        </a:cxn>
                      </a:cxnLst>
                      <a:rect l="T105" t="T106" r="T107" b="T108"/>
                      <a:pathLst>
                        <a:path w="212" h="136">
                          <a:moveTo>
                            <a:pt x="92" y="7"/>
                          </a:moveTo>
                          <a:lnTo>
                            <a:pt x="110" y="0"/>
                          </a:lnTo>
                          <a:lnTo>
                            <a:pt x="126" y="2"/>
                          </a:lnTo>
                          <a:lnTo>
                            <a:pt x="137" y="5"/>
                          </a:lnTo>
                          <a:lnTo>
                            <a:pt x="148" y="16"/>
                          </a:lnTo>
                          <a:lnTo>
                            <a:pt x="156" y="18"/>
                          </a:lnTo>
                          <a:lnTo>
                            <a:pt x="169" y="36"/>
                          </a:lnTo>
                          <a:lnTo>
                            <a:pt x="187" y="51"/>
                          </a:lnTo>
                          <a:lnTo>
                            <a:pt x="203" y="78"/>
                          </a:lnTo>
                          <a:lnTo>
                            <a:pt x="207" y="93"/>
                          </a:lnTo>
                          <a:lnTo>
                            <a:pt x="207" y="112"/>
                          </a:lnTo>
                          <a:lnTo>
                            <a:pt x="212" y="126"/>
                          </a:lnTo>
                          <a:lnTo>
                            <a:pt x="212" y="136"/>
                          </a:lnTo>
                          <a:lnTo>
                            <a:pt x="202" y="132"/>
                          </a:lnTo>
                          <a:lnTo>
                            <a:pt x="193" y="136"/>
                          </a:lnTo>
                          <a:lnTo>
                            <a:pt x="181" y="134"/>
                          </a:lnTo>
                          <a:lnTo>
                            <a:pt x="167" y="127"/>
                          </a:lnTo>
                          <a:lnTo>
                            <a:pt x="139" y="128"/>
                          </a:lnTo>
                          <a:lnTo>
                            <a:pt x="122" y="120"/>
                          </a:lnTo>
                          <a:lnTo>
                            <a:pt x="115" y="112"/>
                          </a:lnTo>
                          <a:lnTo>
                            <a:pt x="102" y="115"/>
                          </a:lnTo>
                          <a:lnTo>
                            <a:pt x="85" y="110"/>
                          </a:lnTo>
                          <a:lnTo>
                            <a:pt x="68" y="99"/>
                          </a:lnTo>
                          <a:lnTo>
                            <a:pt x="48" y="95"/>
                          </a:lnTo>
                          <a:lnTo>
                            <a:pt x="21" y="110"/>
                          </a:lnTo>
                          <a:lnTo>
                            <a:pt x="10" y="109"/>
                          </a:lnTo>
                          <a:lnTo>
                            <a:pt x="0" y="95"/>
                          </a:lnTo>
                          <a:lnTo>
                            <a:pt x="8" y="89"/>
                          </a:lnTo>
                          <a:lnTo>
                            <a:pt x="37" y="86"/>
                          </a:lnTo>
                          <a:lnTo>
                            <a:pt x="41" y="79"/>
                          </a:lnTo>
                          <a:lnTo>
                            <a:pt x="48" y="62"/>
                          </a:lnTo>
                          <a:lnTo>
                            <a:pt x="60" y="31"/>
                          </a:lnTo>
                          <a:lnTo>
                            <a:pt x="60" y="19"/>
                          </a:lnTo>
                          <a:lnTo>
                            <a:pt x="65" y="10"/>
                          </a:lnTo>
                          <a:lnTo>
                            <a:pt x="92" y="7"/>
                          </a:ln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6350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txBody>
                    <a:bodyPr/>
                    <a:lstStyle/>
                    <a:p>
                      <a:endParaRPr lang="ru-RU" sz="1400"/>
                    </a:p>
                  </p:txBody>
                </p:sp>
                <p:sp>
                  <p:nvSpPr>
                    <p:cNvPr id="508" name="Freeform 174"/>
                    <p:cNvSpPr>
                      <a:spLocks/>
                    </p:cNvSpPr>
                    <p:nvPr/>
                  </p:nvSpPr>
                  <p:spPr bwMode="gray">
                    <a:xfrm>
                      <a:off x="3080" y="1282"/>
                      <a:ext cx="68" cy="102"/>
                    </a:xfrm>
                    <a:custGeom>
                      <a:avLst/>
                      <a:gdLst>
                        <a:gd name="T0" fmla="*/ 6 w 338"/>
                        <a:gd name="T1" fmla="*/ 1 h 508"/>
                        <a:gd name="T2" fmla="*/ 8 w 338"/>
                        <a:gd name="T3" fmla="*/ 0 h 508"/>
                        <a:gd name="T4" fmla="*/ 9 w 338"/>
                        <a:gd name="T5" fmla="*/ 1 h 508"/>
                        <a:gd name="T6" fmla="*/ 11 w 338"/>
                        <a:gd name="T7" fmla="*/ 2 h 508"/>
                        <a:gd name="T8" fmla="*/ 11 w 338"/>
                        <a:gd name="T9" fmla="*/ 3 h 508"/>
                        <a:gd name="T10" fmla="*/ 9 w 338"/>
                        <a:gd name="T11" fmla="*/ 3 h 508"/>
                        <a:gd name="T12" fmla="*/ 11 w 338"/>
                        <a:gd name="T13" fmla="*/ 4 h 508"/>
                        <a:gd name="T14" fmla="*/ 10 w 338"/>
                        <a:gd name="T15" fmla="*/ 5 h 508"/>
                        <a:gd name="T16" fmla="*/ 10 w 338"/>
                        <a:gd name="T17" fmla="*/ 5 h 508"/>
                        <a:gd name="T18" fmla="*/ 9 w 338"/>
                        <a:gd name="T19" fmla="*/ 6 h 508"/>
                        <a:gd name="T20" fmla="*/ 9 w 338"/>
                        <a:gd name="T21" fmla="*/ 7 h 508"/>
                        <a:gd name="T22" fmla="*/ 9 w 338"/>
                        <a:gd name="T23" fmla="*/ 8 h 508"/>
                        <a:gd name="T24" fmla="*/ 9 w 338"/>
                        <a:gd name="T25" fmla="*/ 9 h 508"/>
                        <a:gd name="T26" fmla="*/ 9 w 338"/>
                        <a:gd name="T27" fmla="*/ 11 h 508"/>
                        <a:gd name="T28" fmla="*/ 9 w 338"/>
                        <a:gd name="T29" fmla="*/ 13 h 508"/>
                        <a:gd name="T30" fmla="*/ 10 w 338"/>
                        <a:gd name="T31" fmla="*/ 15 h 508"/>
                        <a:gd name="T32" fmla="*/ 11 w 338"/>
                        <a:gd name="T33" fmla="*/ 17 h 508"/>
                        <a:gd name="T34" fmla="*/ 12 w 338"/>
                        <a:gd name="T35" fmla="*/ 18 h 508"/>
                        <a:gd name="T36" fmla="*/ 14 w 338"/>
                        <a:gd name="T37" fmla="*/ 19 h 508"/>
                        <a:gd name="T38" fmla="*/ 13 w 338"/>
                        <a:gd name="T39" fmla="*/ 20 h 508"/>
                        <a:gd name="T40" fmla="*/ 13 w 338"/>
                        <a:gd name="T41" fmla="*/ 20 h 508"/>
                        <a:gd name="T42" fmla="*/ 12 w 338"/>
                        <a:gd name="T43" fmla="*/ 20 h 508"/>
                        <a:gd name="T44" fmla="*/ 11 w 338"/>
                        <a:gd name="T45" fmla="*/ 19 h 508"/>
                        <a:gd name="T46" fmla="*/ 11 w 338"/>
                        <a:gd name="T47" fmla="*/ 19 h 508"/>
                        <a:gd name="T48" fmla="*/ 11 w 338"/>
                        <a:gd name="T49" fmla="*/ 20 h 508"/>
                        <a:gd name="T50" fmla="*/ 10 w 338"/>
                        <a:gd name="T51" fmla="*/ 20 h 508"/>
                        <a:gd name="T52" fmla="*/ 10 w 338"/>
                        <a:gd name="T53" fmla="*/ 20 h 508"/>
                        <a:gd name="T54" fmla="*/ 9 w 338"/>
                        <a:gd name="T55" fmla="*/ 19 h 508"/>
                        <a:gd name="T56" fmla="*/ 8 w 338"/>
                        <a:gd name="T57" fmla="*/ 20 h 508"/>
                        <a:gd name="T58" fmla="*/ 7 w 338"/>
                        <a:gd name="T59" fmla="*/ 19 h 508"/>
                        <a:gd name="T60" fmla="*/ 8 w 338"/>
                        <a:gd name="T61" fmla="*/ 19 h 508"/>
                        <a:gd name="T62" fmla="*/ 6 w 338"/>
                        <a:gd name="T63" fmla="*/ 19 h 508"/>
                        <a:gd name="T64" fmla="*/ 5 w 338"/>
                        <a:gd name="T65" fmla="*/ 19 h 508"/>
                        <a:gd name="T66" fmla="*/ 5 w 338"/>
                        <a:gd name="T67" fmla="*/ 18 h 508"/>
                        <a:gd name="T68" fmla="*/ 5 w 338"/>
                        <a:gd name="T69" fmla="*/ 17 h 508"/>
                        <a:gd name="T70" fmla="*/ 5 w 338"/>
                        <a:gd name="T71" fmla="*/ 17 h 508"/>
                        <a:gd name="T72" fmla="*/ 6 w 338"/>
                        <a:gd name="T73" fmla="*/ 17 h 508"/>
                        <a:gd name="T74" fmla="*/ 6 w 338"/>
                        <a:gd name="T75" fmla="*/ 16 h 508"/>
                        <a:gd name="T76" fmla="*/ 5 w 338"/>
                        <a:gd name="T77" fmla="*/ 15 h 508"/>
                        <a:gd name="T78" fmla="*/ 6 w 338"/>
                        <a:gd name="T79" fmla="*/ 14 h 508"/>
                        <a:gd name="T80" fmla="*/ 4 w 338"/>
                        <a:gd name="T81" fmla="*/ 15 h 508"/>
                        <a:gd name="T82" fmla="*/ 4 w 338"/>
                        <a:gd name="T83" fmla="*/ 14 h 508"/>
                        <a:gd name="T84" fmla="*/ 4 w 338"/>
                        <a:gd name="T85" fmla="*/ 14 h 508"/>
                        <a:gd name="T86" fmla="*/ 3 w 338"/>
                        <a:gd name="T87" fmla="*/ 14 h 508"/>
                        <a:gd name="T88" fmla="*/ 3 w 338"/>
                        <a:gd name="T89" fmla="*/ 13 h 508"/>
                        <a:gd name="T90" fmla="*/ 2 w 338"/>
                        <a:gd name="T91" fmla="*/ 13 h 508"/>
                        <a:gd name="T92" fmla="*/ 1 w 338"/>
                        <a:gd name="T93" fmla="*/ 14 h 508"/>
                        <a:gd name="T94" fmla="*/ 1 w 338"/>
                        <a:gd name="T95" fmla="*/ 14 h 508"/>
                        <a:gd name="T96" fmla="*/ 0 w 338"/>
                        <a:gd name="T97" fmla="*/ 12 h 508"/>
                        <a:gd name="T98" fmla="*/ 0 w 338"/>
                        <a:gd name="T99" fmla="*/ 10 h 508"/>
                        <a:gd name="T100" fmla="*/ 1 w 338"/>
                        <a:gd name="T101" fmla="*/ 10 h 508"/>
                        <a:gd name="T102" fmla="*/ 2 w 338"/>
                        <a:gd name="T103" fmla="*/ 10 h 508"/>
                        <a:gd name="T104" fmla="*/ 2 w 338"/>
                        <a:gd name="T105" fmla="*/ 9 h 508"/>
                        <a:gd name="T106" fmla="*/ 3 w 338"/>
                        <a:gd name="T107" fmla="*/ 8 h 508"/>
                        <a:gd name="T108" fmla="*/ 3 w 338"/>
                        <a:gd name="T109" fmla="*/ 7 h 508"/>
                        <a:gd name="T110" fmla="*/ 3 w 338"/>
                        <a:gd name="T111" fmla="*/ 7 h 508"/>
                        <a:gd name="T112" fmla="*/ 3 w 338"/>
                        <a:gd name="T113" fmla="*/ 6 h 508"/>
                        <a:gd name="T114" fmla="*/ 3 w 338"/>
                        <a:gd name="T115" fmla="*/ 6 h 508"/>
                        <a:gd name="T116" fmla="*/ 3 w 338"/>
                        <a:gd name="T117" fmla="*/ 4 h 508"/>
                        <a:gd name="T118" fmla="*/ 4 w 338"/>
                        <a:gd name="T119" fmla="*/ 3 h 508"/>
                        <a:gd name="T120" fmla="*/ 4 w 338"/>
                        <a:gd name="T121" fmla="*/ 3 h 508"/>
                        <a:gd name="T122" fmla="*/ 4 w 338"/>
                        <a:gd name="T123" fmla="*/ 2 h 508"/>
                        <a:gd name="T124" fmla="*/ 5 w 338"/>
                        <a:gd name="T125" fmla="*/ 1 h 508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60000 65536"/>
                        <a:gd name="T157" fmla="*/ 0 60000 65536"/>
                        <a:gd name="T158" fmla="*/ 0 60000 65536"/>
                        <a:gd name="T159" fmla="*/ 0 60000 65536"/>
                        <a:gd name="T160" fmla="*/ 0 60000 65536"/>
                        <a:gd name="T161" fmla="*/ 0 60000 65536"/>
                        <a:gd name="T162" fmla="*/ 0 60000 65536"/>
                        <a:gd name="T163" fmla="*/ 0 60000 65536"/>
                        <a:gd name="T164" fmla="*/ 0 60000 65536"/>
                        <a:gd name="T165" fmla="*/ 0 60000 65536"/>
                        <a:gd name="T166" fmla="*/ 0 60000 65536"/>
                        <a:gd name="T167" fmla="*/ 0 60000 65536"/>
                        <a:gd name="T168" fmla="*/ 0 60000 65536"/>
                        <a:gd name="T169" fmla="*/ 0 60000 65536"/>
                        <a:gd name="T170" fmla="*/ 0 60000 65536"/>
                        <a:gd name="T171" fmla="*/ 0 60000 65536"/>
                        <a:gd name="T172" fmla="*/ 0 60000 65536"/>
                        <a:gd name="T173" fmla="*/ 0 60000 65536"/>
                        <a:gd name="T174" fmla="*/ 0 60000 65536"/>
                        <a:gd name="T175" fmla="*/ 0 60000 65536"/>
                        <a:gd name="T176" fmla="*/ 0 60000 65536"/>
                        <a:gd name="T177" fmla="*/ 0 60000 65536"/>
                        <a:gd name="T178" fmla="*/ 0 60000 65536"/>
                        <a:gd name="T179" fmla="*/ 0 60000 65536"/>
                        <a:gd name="T180" fmla="*/ 0 60000 65536"/>
                        <a:gd name="T181" fmla="*/ 0 60000 65536"/>
                        <a:gd name="T182" fmla="*/ 0 60000 65536"/>
                        <a:gd name="T183" fmla="*/ 0 60000 65536"/>
                        <a:gd name="T184" fmla="*/ 0 60000 65536"/>
                        <a:gd name="T185" fmla="*/ 0 60000 65536"/>
                        <a:gd name="T186" fmla="*/ 0 60000 65536"/>
                        <a:gd name="T187" fmla="*/ 0 60000 65536"/>
                        <a:gd name="T188" fmla="*/ 0 60000 65536"/>
                        <a:gd name="T189" fmla="*/ 0 w 338"/>
                        <a:gd name="T190" fmla="*/ 0 h 508"/>
                        <a:gd name="T191" fmla="*/ 338 w 338"/>
                        <a:gd name="T192" fmla="*/ 508 h 508"/>
                      </a:gdLst>
                      <a:ahLst/>
                      <a:cxnLst>
                        <a:cxn ang="T126">
                          <a:pos x="T0" y="T1"/>
                        </a:cxn>
                        <a:cxn ang="T127">
                          <a:pos x="T2" y="T3"/>
                        </a:cxn>
                        <a:cxn ang="T128">
                          <a:pos x="T4" y="T5"/>
                        </a:cxn>
                        <a:cxn ang="T129">
                          <a:pos x="T6" y="T7"/>
                        </a:cxn>
                        <a:cxn ang="T130">
                          <a:pos x="T8" y="T9"/>
                        </a:cxn>
                        <a:cxn ang="T131">
                          <a:pos x="T10" y="T11"/>
                        </a:cxn>
                        <a:cxn ang="T132">
                          <a:pos x="T12" y="T13"/>
                        </a:cxn>
                        <a:cxn ang="T133">
                          <a:pos x="T14" y="T15"/>
                        </a:cxn>
                        <a:cxn ang="T134">
                          <a:pos x="T16" y="T17"/>
                        </a:cxn>
                        <a:cxn ang="T135">
                          <a:pos x="T18" y="T19"/>
                        </a:cxn>
                        <a:cxn ang="T136">
                          <a:pos x="T20" y="T21"/>
                        </a:cxn>
                        <a:cxn ang="T137">
                          <a:pos x="T22" y="T23"/>
                        </a:cxn>
                        <a:cxn ang="T138">
                          <a:pos x="T24" y="T25"/>
                        </a:cxn>
                        <a:cxn ang="T139">
                          <a:pos x="T26" y="T27"/>
                        </a:cxn>
                        <a:cxn ang="T140">
                          <a:pos x="T28" y="T29"/>
                        </a:cxn>
                        <a:cxn ang="T141">
                          <a:pos x="T30" y="T31"/>
                        </a:cxn>
                        <a:cxn ang="T142">
                          <a:pos x="T32" y="T33"/>
                        </a:cxn>
                        <a:cxn ang="T143">
                          <a:pos x="T34" y="T35"/>
                        </a:cxn>
                        <a:cxn ang="T144">
                          <a:pos x="T36" y="T37"/>
                        </a:cxn>
                        <a:cxn ang="T145">
                          <a:pos x="T38" y="T39"/>
                        </a:cxn>
                        <a:cxn ang="T146">
                          <a:pos x="T40" y="T41"/>
                        </a:cxn>
                        <a:cxn ang="T147">
                          <a:pos x="T42" y="T43"/>
                        </a:cxn>
                        <a:cxn ang="T148">
                          <a:pos x="T44" y="T45"/>
                        </a:cxn>
                        <a:cxn ang="T149">
                          <a:pos x="T46" y="T47"/>
                        </a:cxn>
                        <a:cxn ang="T150">
                          <a:pos x="T48" y="T49"/>
                        </a:cxn>
                        <a:cxn ang="T151">
                          <a:pos x="T50" y="T51"/>
                        </a:cxn>
                        <a:cxn ang="T152">
                          <a:pos x="T52" y="T53"/>
                        </a:cxn>
                        <a:cxn ang="T153">
                          <a:pos x="T54" y="T55"/>
                        </a:cxn>
                        <a:cxn ang="T154">
                          <a:pos x="T56" y="T57"/>
                        </a:cxn>
                        <a:cxn ang="T155">
                          <a:pos x="T58" y="T59"/>
                        </a:cxn>
                        <a:cxn ang="T156">
                          <a:pos x="T60" y="T61"/>
                        </a:cxn>
                        <a:cxn ang="T157">
                          <a:pos x="T62" y="T63"/>
                        </a:cxn>
                        <a:cxn ang="T158">
                          <a:pos x="T64" y="T65"/>
                        </a:cxn>
                        <a:cxn ang="T159">
                          <a:pos x="T66" y="T67"/>
                        </a:cxn>
                        <a:cxn ang="T160">
                          <a:pos x="T68" y="T69"/>
                        </a:cxn>
                        <a:cxn ang="T161">
                          <a:pos x="T70" y="T71"/>
                        </a:cxn>
                        <a:cxn ang="T162">
                          <a:pos x="T72" y="T73"/>
                        </a:cxn>
                        <a:cxn ang="T163">
                          <a:pos x="T74" y="T75"/>
                        </a:cxn>
                        <a:cxn ang="T164">
                          <a:pos x="T76" y="T77"/>
                        </a:cxn>
                        <a:cxn ang="T165">
                          <a:pos x="T78" y="T79"/>
                        </a:cxn>
                        <a:cxn ang="T166">
                          <a:pos x="T80" y="T81"/>
                        </a:cxn>
                        <a:cxn ang="T167">
                          <a:pos x="T82" y="T83"/>
                        </a:cxn>
                        <a:cxn ang="T168">
                          <a:pos x="T84" y="T85"/>
                        </a:cxn>
                        <a:cxn ang="T169">
                          <a:pos x="T86" y="T87"/>
                        </a:cxn>
                        <a:cxn ang="T170">
                          <a:pos x="T88" y="T89"/>
                        </a:cxn>
                        <a:cxn ang="T171">
                          <a:pos x="T90" y="T91"/>
                        </a:cxn>
                        <a:cxn ang="T172">
                          <a:pos x="T92" y="T93"/>
                        </a:cxn>
                        <a:cxn ang="T173">
                          <a:pos x="T94" y="T95"/>
                        </a:cxn>
                        <a:cxn ang="T174">
                          <a:pos x="T96" y="T97"/>
                        </a:cxn>
                        <a:cxn ang="T175">
                          <a:pos x="T98" y="T99"/>
                        </a:cxn>
                        <a:cxn ang="T176">
                          <a:pos x="T100" y="T101"/>
                        </a:cxn>
                        <a:cxn ang="T177">
                          <a:pos x="T102" y="T103"/>
                        </a:cxn>
                        <a:cxn ang="T178">
                          <a:pos x="T104" y="T105"/>
                        </a:cxn>
                        <a:cxn ang="T179">
                          <a:pos x="T106" y="T107"/>
                        </a:cxn>
                        <a:cxn ang="T180">
                          <a:pos x="T108" y="T109"/>
                        </a:cxn>
                        <a:cxn ang="T181">
                          <a:pos x="T110" y="T111"/>
                        </a:cxn>
                        <a:cxn ang="T182">
                          <a:pos x="T112" y="T113"/>
                        </a:cxn>
                        <a:cxn ang="T183">
                          <a:pos x="T114" y="T115"/>
                        </a:cxn>
                        <a:cxn ang="T184">
                          <a:pos x="T116" y="T117"/>
                        </a:cxn>
                        <a:cxn ang="T185">
                          <a:pos x="T118" y="T119"/>
                        </a:cxn>
                        <a:cxn ang="T186">
                          <a:pos x="T120" y="T121"/>
                        </a:cxn>
                        <a:cxn ang="T187">
                          <a:pos x="T122" y="T123"/>
                        </a:cxn>
                        <a:cxn ang="T188">
                          <a:pos x="T124" y="T125"/>
                        </a:cxn>
                      </a:cxnLst>
                      <a:rect l="T189" t="T190" r="T191" b="T192"/>
                      <a:pathLst>
                        <a:path w="338" h="508">
                          <a:moveTo>
                            <a:pt x="124" y="20"/>
                          </a:moveTo>
                          <a:lnTo>
                            <a:pt x="128" y="17"/>
                          </a:lnTo>
                          <a:lnTo>
                            <a:pt x="152" y="22"/>
                          </a:lnTo>
                          <a:lnTo>
                            <a:pt x="161" y="12"/>
                          </a:lnTo>
                          <a:lnTo>
                            <a:pt x="187" y="0"/>
                          </a:lnTo>
                          <a:lnTo>
                            <a:pt x="199" y="0"/>
                          </a:lnTo>
                          <a:lnTo>
                            <a:pt x="210" y="9"/>
                          </a:lnTo>
                          <a:lnTo>
                            <a:pt x="219" y="14"/>
                          </a:lnTo>
                          <a:lnTo>
                            <a:pt x="234" y="15"/>
                          </a:lnTo>
                          <a:lnTo>
                            <a:pt x="256" y="33"/>
                          </a:lnTo>
                          <a:lnTo>
                            <a:pt x="268" y="34"/>
                          </a:lnTo>
                          <a:lnTo>
                            <a:pt x="277" y="45"/>
                          </a:lnTo>
                          <a:lnTo>
                            <a:pt x="279" y="55"/>
                          </a:lnTo>
                          <a:lnTo>
                            <a:pt x="245" y="63"/>
                          </a:lnTo>
                          <a:lnTo>
                            <a:pt x="272" y="68"/>
                          </a:lnTo>
                          <a:lnTo>
                            <a:pt x="268" y="74"/>
                          </a:lnTo>
                          <a:lnTo>
                            <a:pt x="256" y="73"/>
                          </a:lnTo>
                          <a:lnTo>
                            <a:pt x="234" y="86"/>
                          </a:lnTo>
                          <a:lnTo>
                            <a:pt x="246" y="88"/>
                          </a:lnTo>
                          <a:lnTo>
                            <a:pt x="265" y="82"/>
                          </a:lnTo>
                          <a:lnTo>
                            <a:pt x="267" y="94"/>
                          </a:lnTo>
                          <a:lnTo>
                            <a:pt x="262" y="103"/>
                          </a:lnTo>
                          <a:lnTo>
                            <a:pt x="253" y="111"/>
                          </a:lnTo>
                          <a:lnTo>
                            <a:pt x="245" y="114"/>
                          </a:lnTo>
                          <a:lnTo>
                            <a:pt x="225" y="111"/>
                          </a:lnTo>
                          <a:lnTo>
                            <a:pt x="222" y="121"/>
                          </a:lnTo>
                          <a:lnTo>
                            <a:pt x="238" y="119"/>
                          </a:lnTo>
                          <a:lnTo>
                            <a:pt x="242" y="131"/>
                          </a:lnTo>
                          <a:lnTo>
                            <a:pt x="235" y="143"/>
                          </a:lnTo>
                          <a:lnTo>
                            <a:pt x="232" y="158"/>
                          </a:lnTo>
                          <a:lnTo>
                            <a:pt x="226" y="156"/>
                          </a:lnTo>
                          <a:lnTo>
                            <a:pt x="222" y="160"/>
                          </a:lnTo>
                          <a:lnTo>
                            <a:pt x="226" y="165"/>
                          </a:lnTo>
                          <a:lnTo>
                            <a:pt x="225" y="176"/>
                          </a:lnTo>
                          <a:lnTo>
                            <a:pt x="219" y="178"/>
                          </a:lnTo>
                          <a:lnTo>
                            <a:pt x="219" y="189"/>
                          </a:lnTo>
                          <a:lnTo>
                            <a:pt x="218" y="201"/>
                          </a:lnTo>
                          <a:lnTo>
                            <a:pt x="219" y="214"/>
                          </a:lnTo>
                          <a:lnTo>
                            <a:pt x="224" y="226"/>
                          </a:lnTo>
                          <a:lnTo>
                            <a:pt x="224" y="235"/>
                          </a:lnTo>
                          <a:lnTo>
                            <a:pt x="216" y="255"/>
                          </a:lnTo>
                          <a:lnTo>
                            <a:pt x="218" y="267"/>
                          </a:lnTo>
                          <a:lnTo>
                            <a:pt x="222" y="273"/>
                          </a:lnTo>
                          <a:lnTo>
                            <a:pt x="226" y="313"/>
                          </a:lnTo>
                          <a:lnTo>
                            <a:pt x="230" y="331"/>
                          </a:lnTo>
                          <a:lnTo>
                            <a:pt x="234" y="341"/>
                          </a:lnTo>
                          <a:lnTo>
                            <a:pt x="242" y="353"/>
                          </a:lnTo>
                          <a:lnTo>
                            <a:pt x="250" y="373"/>
                          </a:lnTo>
                          <a:lnTo>
                            <a:pt x="253" y="382"/>
                          </a:lnTo>
                          <a:lnTo>
                            <a:pt x="254" y="394"/>
                          </a:lnTo>
                          <a:lnTo>
                            <a:pt x="278" y="426"/>
                          </a:lnTo>
                          <a:lnTo>
                            <a:pt x="288" y="436"/>
                          </a:lnTo>
                          <a:lnTo>
                            <a:pt x="296" y="439"/>
                          </a:lnTo>
                          <a:lnTo>
                            <a:pt x="306" y="450"/>
                          </a:lnTo>
                          <a:lnTo>
                            <a:pt x="322" y="464"/>
                          </a:lnTo>
                          <a:lnTo>
                            <a:pt x="327" y="463"/>
                          </a:lnTo>
                          <a:lnTo>
                            <a:pt x="338" y="472"/>
                          </a:lnTo>
                          <a:lnTo>
                            <a:pt x="332" y="475"/>
                          </a:lnTo>
                          <a:lnTo>
                            <a:pt x="332" y="485"/>
                          </a:lnTo>
                          <a:lnTo>
                            <a:pt x="322" y="490"/>
                          </a:lnTo>
                          <a:lnTo>
                            <a:pt x="301" y="486"/>
                          </a:lnTo>
                          <a:lnTo>
                            <a:pt x="296" y="491"/>
                          </a:lnTo>
                          <a:lnTo>
                            <a:pt x="320" y="498"/>
                          </a:lnTo>
                          <a:lnTo>
                            <a:pt x="311" y="499"/>
                          </a:lnTo>
                          <a:lnTo>
                            <a:pt x="310" y="508"/>
                          </a:lnTo>
                          <a:lnTo>
                            <a:pt x="301" y="502"/>
                          </a:lnTo>
                          <a:lnTo>
                            <a:pt x="286" y="486"/>
                          </a:lnTo>
                          <a:lnTo>
                            <a:pt x="281" y="482"/>
                          </a:lnTo>
                          <a:lnTo>
                            <a:pt x="284" y="470"/>
                          </a:lnTo>
                          <a:lnTo>
                            <a:pt x="274" y="475"/>
                          </a:lnTo>
                          <a:lnTo>
                            <a:pt x="265" y="475"/>
                          </a:lnTo>
                          <a:lnTo>
                            <a:pt x="261" y="481"/>
                          </a:lnTo>
                          <a:lnTo>
                            <a:pt x="262" y="487"/>
                          </a:lnTo>
                          <a:lnTo>
                            <a:pt x="268" y="491"/>
                          </a:lnTo>
                          <a:lnTo>
                            <a:pt x="273" y="487"/>
                          </a:lnTo>
                          <a:lnTo>
                            <a:pt x="275" y="498"/>
                          </a:lnTo>
                          <a:lnTo>
                            <a:pt x="261" y="499"/>
                          </a:lnTo>
                          <a:lnTo>
                            <a:pt x="251" y="491"/>
                          </a:lnTo>
                          <a:lnTo>
                            <a:pt x="246" y="491"/>
                          </a:lnTo>
                          <a:lnTo>
                            <a:pt x="248" y="498"/>
                          </a:lnTo>
                          <a:lnTo>
                            <a:pt x="243" y="495"/>
                          </a:lnTo>
                          <a:lnTo>
                            <a:pt x="237" y="481"/>
                          </a:lnTo>
                          <a:lnTo>
                            <a:pt x="229" y="482"/>
                          </a:lnTo>
                          <a:lnTo>
                            <a:pt x="220" y="476"/>
                          </a:lnTo>
                          <a:lnTo>
                            <a:pt x="216" y="487"/>
                          </a:lnTo>
                          <a:lnTo>
                            <a:pt x="213" y="483"/>
                          </a:lnTo>
                          <a:lnTo>
                            <a:pt x="210" y="488"/>
                          </a:lnTo>
                          <a:lnTo>
                            <a:pt x="209" y="499"/>
                          </a:lnTo>
                          <a:lnTo>
                            <a:pt x="204" y="499"/>
                          </a:lnTo>
                          <a:lnTo>
                            <a:pt x="182" y="480"/>
                          </a:lnTo>
                          <a:lnTo>
                            <a:pt x="178" y="471"/>
                          </a:lnTo>
                          <a:lnTo>
                            <a:pt x="191" y="471"/>
                          </a:lnTo>
                          <a:lnTo>
                            <a:pt x="189" y="466"/>
                          </a:lnTo>
                          <a:lnTo>
                            <a:pt x="173" y="465"/>
                          </a:lnTo>
                          <a:lnTo>
                            <a:pt x="151" y="472"/>
                          </a:lnTo>
                          <a:lnTo>
                            <a:pt x="144" y="470"/>
                          </a:lnTo>
                          <a:lnTo>
                            <a:pt x="139" y="461"/>
                          </a:lnTo>
                          <a:lnTo>
                            <a:pt x="134" y="465"/>
                          </a:lnTo>
                          <a:lnTo>
                            <a:pt x="127" y="461"/>
                          </a:lnTo>
                          <a:lnTo>
                            <a:pt x="125" y="458"/>
                          </a:lnTo>
                          <a:lnTo>
                            <a:pt x="124" y="449"/>
                          </a:lnTo>
                          <a:lnTo>
                            <a:pt x="125" y="438"/>
                          </a:lnTo>
                          <a:lnTo>
                            <a:pt x="125" y="431"/>
                          </a:lnTo>
                          <a:lnTo>
                            <a:pt x="122" y="423"/>
                          </a:lnTo>
                          <a:lnTo>
                            <a:pt x="124" y="421"/>
                          </a:lnTo>
                          <a:lnTo>
                            <a:pt x="137" y="427"/>
                          </a:lnTo>
                          <a:lnTo>
                            <a:pt x="139" y="422"/>
                          </a:lnTo>
                          <a:lnTo>
                            <a:pt x="135" y="413"/>
                          </a:lnTo>
                          <a:lnTo>
                            <a:pt x="144" y="418"/>
                          </a:lnTo>
                          <a:lnTo>
                            <a:pt x="156" y="416"/>
                          </a:lnTo>
                          <a:lnTo>
                            <a:pt x="157" y="412"/>
                          </a:lnTo>
                          <a:lnTo>
                            <a:pt x="145" y="410"/>
                          </a:lnTo>
                          <a:lnTo>
                            <a:pt x="150" y="404"/>
                          </a:lnTo>
                          <a:lnTo>
                            <a:pt x="143" y="400"/>
                          </a:lnTo>
                          <a:lnTo>
                            <a:pt x="124" y="397"/>
                          </a:lnTo>
                          <a:lnTo>
                            <a:pt x="116" y="388"/>
                          </a:lnTo>
                          <a:lnTo>
                            <a:pt x="116" y="380"/>
                          </a:lnTo>
                          <a:lnTo>
                            <a:pt x="119" y="382"/>
                          </a:lnTo>
                          <a:lnTo>
                            <a:pt x="121" y="372"/>
                          </a:lnTo>
                          <a:lnTo>
                            <a:pt x="138" y="348"/>
                          </a:lnTo>
                          <a:lnTo>
                            <a:pt x="124" y="357"/>
                          </a:lnTo>
                          <a:lnTo>
                            <a:pt x="116" y="373"/>
                          </a:lnTo>
                          <a:lnTo>
                            <a:pt x="109" y="380"/>
                          </a:lnTo>
                          <a:lnTo>
                            <a:pt x="109" y="364"/>
                          </a:lnTo>
                          <a:lnTo>
                            <a:pt x="107" y="356"/>
                          </a:lnTo>
                          <a:lnTo>
                            <a:pt x="107" y="345"/>
                          </a:lnTo>
                          <a:lnTo>
                            <a:pt x="109" y="336"/>
                          </a:lnTo>
                          <a:lnTo>
                            <a:pt x="97" y="348"/>
                          </a:lnTo>
                          <a:lnTo>
                            <a:pt x="90" y="342"/>
                          </a:lnTo>
                          <a:lnTo>
                            <a:pt x="86" y="352"/>
                          </a:lnTo>
                          <a:lnTo>
                            <a:pt x="80" y="348"/>
                          </a:lnTo>
                          <a:lnTo>
                            <a:pt x="76" y="353"/>
                          </a:lnTo>
                          <a:lnTo>
                            <a:pt x="73" y="341"/>
                          </a:lnTo>
                          <a:lnTo>
                            <a:pt x="73" y="325"/>
                          </a:lnTo>
                          <a:lnTo>
                            <a:pt x="65" y="319"/>
                          </a:lnTo>
                          <a:lnTo>
                            <a:pt x="57" y="335"/>
                          </a:lnTo>
                          <a:lnTo>
                            <a:pt x="55" y="346"/>
                          </a:lnTo>
                          <a:lnTo>
                            <a:pt x="51" y="331"/>
                          </a:lnTo>
                          <a:lnTo>
                            <a:pt x="46" y="336"/>
                          </a:lnTo>
                          <a:lnTo>
                            <a:pt x="44" y="347"/>
                          </a:lnTo>
                          <a:lnTo>
                            <a:pt x="32" y="347"/>
                          </a:lnTo>
                          <a:lnTo>
                            <a:pt x="26" y="346"/>
                          </a:lnTo>
                          <a:lnTo>
                            <a:pt x="22" y="341"/>
                          </a:lnTo>
                          <a:lnTo>
                            <a:pt x="16" y="340"/>
                          </a:lnTo>
                          <a:lnTo>
                            <a:pt x="10" y="330"/>
                          </a:lnTo>
                          <a:lnTo>
                            <a:pt x="3" y="309"/>
                          </a:lnTo>
                          <a:lnTo>
                            <a:pt x="1" y="294"/>
                          </a:lnTo>
                          <a:lnTo>
                            <a:pt x="0" y="280"/>
                          </a:lnTo>
                          <a:lnTo>
                            <a:pt x="3" y="269"/>
                          </a:lnTo>
                          <a:lnTo>
                            <a:pt x="3" y="255"/>
                          </a:lnTo>
                          <a:lnTo>
                            <a:pt x="6" y="246"/>
                          </a:lnTo>
                          <a:lnTo>
                            <a:pt x="21" y="234"/>
                          </a:lnTo>
                          <a:lnTo>
                            <a:pt x="27" y="242"/>
                          </a:lnTo>
                          <a:lnTo>
                            <a:pt x="33" y="235"/>
                          </a:lnTo>
                          <a:lnTo>
                            <a:pt x="43" y="234"/>
                          </a:lnTo>
                          <a:lnTo>
                            <a:pt x="42" y="244"/>
                          </a:lnTo>
                          <a:lnTo>
                            <a:pt x="48" y="249"/>
                          </a:lnTo>
                          <a:lnTo>
                            <a:pt x="52" y="240"/>
                          </a:lnTo>
                          <a:lnTo>
                            <a:pt x="53" y="230"/>
                          </a:lnTo>
                          <a:lnTo>
                            <a:pt x="57" y="228"/>
                          </a:lnTo>
                          <a:lnTo>
                            <a:pt x="58" y="206"/>
                          </a:lnTo>
                          <a:lnTo>
                            <a:pt x="64" y="206"/>
                          </a:lnTo>
                          <a:lnTo>
                            <a:pt x="65" y="199"/>
                          </a:lnTo>
                          <a:lnTo>
                            <a:pt x="62" y="189"/>
                          </a:lnTo>
                          <a:lnTo>
                            <a:pt x="70" y="186"/>
                          </a:lnTo>
                          <a:lnTo>
                            <a:pt x="70" y="174"/>
                          </a:lnTo>
                          <a:lnTo>
                            <a:pt x="74" y="171"/>
                          </a:lnTo>
                          <a:lnTo>
                            <a:pt x="79" y="162"/>
                          </a:lnTo>
                          <a:lnTo>
                            <a:pt x="85" y="156"/>
                          </a:lnTo>
                          <a:lnTo>
                            <a:pt x="86" y="149"/>
                          </a:lnTo>
                          <a:lnTo>
                            <a:pt x="75" y="158"/>
                          </a:lnTo>
                          <a:lnTo>
                            <a:pt x="71" y="152"/>
                          </a:lnTo>
                          <a:lnTo>
                            <a:pt x="76" y="140"/>
                          </a:lnTo>
                          <a:lnTo>
                            <a:pt x="68" y="141"/>
                          </a:lnTo>
                          <a:lnTo>
                            <a:pt x="52" y="126"/>
                          </a:lnTo>
                          <a:lnTo>
                            <a:pt x="55" y="111"/>
                          </a:lnTo>
                          <a:lnTo>
                            <a:pt x="73" y="97"/>
                          </a:lnTo>
                          <a:lnTo>
                            <a:pt x="85" y="90"/>
                          </a:lnTo>
                          <a:lnTo>
                            <a:pt x="91" y="95"/>
                          </a:lnTo>
                          <a:lnTo>
                            <a:pt x="103" y="87"/>
                          </a:lnTo>
                          <a:lnTo>
                            <a:pt x="95" y="87"/>
                          </a:lnTo>
                          <a:lnTo>
                            <a:pt x="90" y="81"/>
                          </a:lnTo>
                          <a:lnTo>
                            <a:pt x="94" y="74"/>
                          </a:lnTo>
                          <a:lnTo>
                            <a:pt x="100" y="72"/>
                          </a:lnTo>
                          <a:lnTo>
                            <a:pt x="97" y="66"/>
                          </a:lnTo>
                          <a:lnTo>
                            <a:pt x="92" y="61"/>
                          </a:lnTo>
                          <a:lnTo>
                            <a:pt x="91" y="52"/>
                          </a:lnTo>
                          <a:lnTo>
                            <a:pt x="109" y="30"/>
                          </a:lnTo>
                          <a:lnTo>
                            <a:pt x="124" y="20"/>
                          </a:ln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6350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txBody>
                    <a:bodyPr/>
                    <a:lstStyle/>
                    <a:p>
                      <a:endParaRPr lang="ru-RU" sz="1400"/>
                    </a:p>
                  </p:txBody>
                </p:sp>
                <p:sp>
                  <p:nvSpPr>
                    <p:cNvPr id="509" name="Freeform 175"/>
                    <p:cNvSpPr>
                      <a:spLocks/>
                    </p:cNvSpPr>
                    <p:nvPr/>
                  </p:nvSpPr>
                  <p:spPr bwMode="gray">
                    <a:xfrm>
                      <a:off x="3104" y="1129"/>
                      <a:ext cx="169" cy="159"/>
                    </a:xfrm>
                    <a:custGeom>
                      <a:avLst/>
                      <a:gdLst>
                        <a:gd name="T0" fmla="*/ 1 w 843"/>
                        <a:gd name="T1" fmla="*/ 27 h 796"/>
                        <a:gd name="T2" fmla="*/ 4 w 843"/>
                        <a:gd name="T3" fmla="*/ 25 h 796"/>
                        <a:gd name="T4" fmla="*/ 3 w 843"/>
                        <a:gd name="T5" fmla="*/ 25 h 796"/>
                        <a:gd name="T6" fmla="*/ 3 w 843"/>
                        <a:gd name="T7" fmla="*/ 23 h 796"/>
                        <a:gd name="T8" fmla="*/ 4 w 843"/>
                        <a:gd name="T9" fmla="*/ 22 h 796"/>
                        <a:gd name="T10" fmla="*/ 4 w 843"/>
                        <a:gd name="T11" fmla="*/ 21 h 796"/>
                        <a:gd name="T12" fmla="*/ 6 w 843"/>
                        <a:gd name="T13" fmla="*/ 20 h 796"/>
                        <a:gd name="T14" fmla="*/ 5 w 843"/>
                        <a:gd name="T15" fmla="*/ 19 h 796"/>
                        <a:gd name="T16" fmla="*/ 4 w 843"/>
                        <a:gd name="T17" fmla="*/ 18 h 796"/>
                        <a:gd name="T18" fmla="*/ 4 w 843"/>
                        <a:gd name="T19" fmla="*/ 16 h 796"/>
                        <a:gd name="T20" fmla="*/ 7 w 843"/>
                        <a:gd name="T21" fmla="*/ 16 h 796"/>
                        <a:gd name="T22" fmla="*/ 9 w 843"/>
                        <a:gd name="T23" fmla="*/ 14 h 796"/>
                        <a:gd name="T24" fmla="*/ 10 w 843"/>
                        <a:gd name="T25" fmla="*/ 12 h 796"/>
                        <a:gd name="T26" fmla="*/ 12 w 843"/>
                        <a:gd name="T27" fmla="*/ 10 h 796"/>
                        <a:gd name="T28" fmla="*/ 15 w 843"/>
                        <a:gd name="T29" fmla="*/ 8 h 796"/>
                        <a:gd name="T30" fmla="*/ 15 w 843"/>
                        <a:gd name="T31" fmla="*/ 9 h 796"/>
                        <a:gd name="T32" fmla="*/ 16 w 843"/>
                        <a:gd name="T33" fmla="*/ 7 h 796"/>
                        <a:gd name="T34" fmla="*/ 17 w 843"/>
                        <a:gd name="T35" fmla="*/ 6 h 796"/>
                        <a:gd name="T36" fmla="*/ 20 w 843"/>
                        <a:gd name="T37" fmla="*/ 7 h 796"/>
                        <a:gd name="T38" fmla="*/ 23 w 843"/>
                        <a:gd name="T39" fmla="*/ 6 h 796"/>
                        <a:gd name="T40" fmla="*/ 25 w 843"/>
                        <a:gd name="T41" fmla="*/ 5 h 796"/>
                        <a:gd name="T42" fmla="*/ 26 w 843"/>
                        <a:gd name="T43" fmla="*/ 4 h 796"/>
                        <a:gd name="T44" fmla="*/ 28 w 843"/>
                        <a:gd name="T45" fmla="*/ 2 h 796"/>
                        <a:gd name="T46" fmla="*/ 30 w 843"/>
                        <a:gd name="T47" fmla="*/ 0 h 796"/>
                        <a:gd name="T48" fmla="*/ 33 w 843"/>
                        <a:gd name="T49" fmla="*/ 1 h 796"/>
                        <a:gd name="T50" fmla="*/ 33 w 843"/>
                        <a:gd name="T51" fmla="*/ 4 h 796"/>
                        <a:gd name="T52" fmla="*/ 32 w 843"/>
                        <a:gd name="T53" fmla="*/ 7 h 796"/>
                        <a:gd name="T54" fmla="*/ 29 w 843"/>
                        <a:gd name="T55" fmla="*/ 9 h 796"/>
                        <a:gd name="T56" fmla="*/ 26 w 843"/>
                        <a:gd name="T57" fmla="*/ 10 h 796"/>
                        <a:gd name="T58" fmla="*/ 25 w 843"/>
                        <a:gd name="T59" fmla="*/ 11 h 796"/>
                        <a:gd name="T60" fmla="*/ 22 w 843"/>
                        <a:gd name="T61" fmla="*/ 12 h 796"/>
                        <a:gd name="T62" fmla="*/ 19 w 843"/>
                        <a:gd name="T63" fmla="*/ 15 h 796"/>
                        <a:gd name="T64" fmla="*/ 16 w 843"/>
                        <a:gd name="T65" fmla="*/ 18 h 796"/>
                        <a:gd name="T66" fmla="*/ 15 w 843"/>
                        <a:gd name="T67" fmla="*/ 18 h 796"/>
                        <a:gd name="T68" fmla="*/ 14 w 843"/>
                        <a:gd name="T69" fmla="*/ 20 h 796"/>
                        <a:gd name="T70" fmla="*/ 13 w 843"/>
                        <a:gd name="T71" fmla="*/ 21 h 796"/>
                        <a:gd name="T72" fmla="*/ 12 w 843"/>
                        <a:gd name="T73" fmla="*/ 21 h 796"/>
                        <a:gd name="T74" fmla="*/ 12 w 843"/>
                        <a:gd name="T75" fmla="*/ 22 h 796"/>
                        <a:gd name="T76" fmla="*/ 10 w 843"/>
                        <a:gd name="T77" fmla="*/ 22 h 796"/>
                        <a:gd name="T78" fmla="*/ 11 w 843"/>
                        <a:gd name="T79" fmla="*/ 24 h 796"/>
                        <a:gd name="T80" fmla="*/ 11 w 843"/>
                        <a:gd name="T81" fmla="*/ 25 h 796"/>
                        <a:gd name="T82" fmla="*/ 10 w 843"/>
                        <a:gd name="T83" fmla="*/ 26 h 796"/>
                        <a:gd name="T84" fmla="*/ 9 w 843"/>
                        <a:gd name="T85" fmla="*/ 24 h 796"/>
                        <a:gd name="T86" fmla="*/ 9 w 843"/>
                        <a:gd name="T87" fmla="*/ 26 h 796"/>
                        <a:gd name="T88" fmla="*/ 9 w 843"/>
                        <a:gd name="T89" fmla="*/ 27 h 796"/>
                        <a:gd name="T90" fmla="*/ 7 w 843"/>
                        <a:gd name="T91" fmla="*/ 27 h 796"/>
                        <a:gd name="T92" fmla="*/ 8 w 843"/>
                        <a:gd name="T93" fmla="*/ 29 h 796"/>
                        <a:gd name="T94" fmla="*/ 7 w 843"/>
                        <a:gd name="T95" fmla="*/ 29 h 796"/>
                        <a:gd name="T96" fmla="*/ 8 w 843"/>
                        <a:gd name="T97" fmla="*/ 30 h 796"/>
                        <a:gd name="T98" fmla="*/ 6 w 843"/>
                        <a:gd name="T99" fmla="*/ 32 h 796"/>
                        <a:gd name="T100" fmla="*/ 3 w 843"/>
                        <a:gd name="T101" fmla="*/ 30 h 796"/>
                        <a:gd name="T102" fmla="*/ 2 w 843"/>
                        <a:gd name="T103" fmla="*/ 30 h 796"/>
                        <a:gd name="T104" fmla="*/ 3 w 843"/>
                        <a:gd name="T105" fmla="*/ 29 h 796"/>
                        <a:gd name="T106" fmla="*/ 2 w 843"/>
                        <a:gd name="T107" fmla="*/ 28 h 796"/>
                        <a:gd name="T108" fmla="*/ 0 w 843"/>
                        <a:gd name="T109" fmla="*/ 28 h 79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60000 65536"/>
                        <a:gd name="T157" fmla="*/ 0 60000 65536"/>
                        <a:gd name="T158" fmla="*/ 0 60000 65536"/>
                        <a:gd name="T159" fmla="*/ 0 60000 65536"/>
                        <a:gd name="T160" fmla="*/ 0 60000 65536"/>
                        <a:gd name="T161" fmla="*/ 0 60000 65536"/>
                        <a:gd name="T162" fmla="*/ 0 60000 65536"/>
                        <a:gd name="T163" fmla="*/ 0 60000 65536"/>
                        <a:gd name="T164" fmla="*/ 0 60000 65536"/>
                        <a:gd name="T165" fmla="*/ 0 w 843"/>
                        <a:gd name="T166" fmla="*/ 0 h 796"/>
                        <a:gd name="T167" fmla="*/ 843 w 843"/>
                        <a:gd name="T168" fmla="*/ 796 h 796"/>
                      </a:gdLst>
                      <a:ahLst/>
                      <a:cxnLst>
                        <a:cxn ang="T110">
                          <a:pos x="T0" y="T1"/>
                        </a:cxn>
                        <a:cxn ang="T111">
                          <a:pos x="T2" y="T3"/>
                        </a:cxn>
                        <a:cxn ang="T112">
                          <a:pos x="T4" y="T5"/>
                        </a:cxn>
                        <a:cxn ang="T113">
                          <a:pos x="T6" y="T7"/>
                        </a:cxn>
                        <a:cxn ang="T114">
                          <a:pos x="T8" y="T9"/>
                        </a:cxn>
                        <a:cxn ang="T115">
                          <a:pos x="T10" y="T11"/>
                        </a:cxn>
                        <a:cxn ang="T116">
                          <a:pos x="T12" y="T13"/>
                        </a:cxn>
                        <a:cxn ang="T117">
                          <a:pos x="T14" y="T15"/>
                        </a:cxn>
                        <a:cxn ang="T118">
                          <a:pos x="T16" y="T17"/>
                        </a:cxn>
                        <a:cxn ang="T119">
                          <a:pos x="T18" y="T19"/>
                        </a:cxn>
                        <a:cxn ang="T120">
                          <a:pos x="T20" y="T21"/>
                        </a:cxn>
                        <a:cxn ang="T121">
                          <a:pos x="T22" y="T23"/>
                        </a:cxn>
                        <a:cxn ang="T122">
                          <a:pos x="T24" y="T25"/>
                        </a:cxn>
                        <a:cxn ang="T123">
                          <a:pos x="T26" y="T27"/>
                        </a:cxn>
                        <a:cxn ang="T124">
                          <a:pos x="T28" y="T29"/>
                        </a:cxn>
                        <a:cxn ang="T125">
                          <a:pos x="T30" y="T31"/>
                        </a:cxn>
                        <a:cxn ang="T126">
                          <a:pos x="T32" y="T33"/>
                        </a:cxn>
                        <a:cxn ang="T127">
                          <a:pos x="T34" y="T35"/>
                        </a:cxn>
                        <a:cxn ang="T128">
                          <a:pos x="T36" y="T37"/>
                        </a:cxn>
                        <a:cxn ang="T129">
                          <a:pos x="T38" y="T39"/>
                        </a:cxn>
                        <a:cxn ang="T130">
                          <a:pos x="T40" y="T41"/>
                        </a:cxn>
                        <a:cxn ang="T131">
                          <a:pos x="T42" y="T43"/>
                        </a:cxn>
                        <a:cxn ang="T132">
                          <a:pos x="T44" y="T45"/>
                        </a:cxn>
                        <a:cxn ang="T133">
                          <a:pos x="T46" y="T47"/>
                        </a:cxn>
                        <a:cxn ang="T134">
                          <a:pos x="T48" y="T49"/>
                        </a:cxn>
                        <a:cxn ang="T135">
                          <a:pos x="T50" y="T51"/>
                        </a:cxn>
                        <a:cxn ang="T136">
                          <a:pos x="T52" y="T53"/>
                        </a:cxn>
                        <a:cxn ang="T137">
                          <a:pos x="T54" y="T55"/>
                        </a:cxn>
                        <a:cxn ang="T138">
                          <a:pos x="T56" y="T57"/>
                        </a:cxn>
                        <a:cxn ang="T139">
                          <a:pos x="T58" y="T59"/>
                        </a:cxn>
                        <a:cxn ang="T140">
                          <a:pos x="T60" y="T61"/>
                        </a:cxn>
                        <a:cxn ang="T141">
                          <a:pos x="T62" y="T63"/>
                        </a:cxn>
                        <a:cxn ang="T142">
                          <a:pos x="T64" y="T65"/>
                        </a:cxn>
                        <a:cxn ang="T143">
                          <a:pos x="T66" y="T67"/>
                        </a:cxn>
                        <a:cxn ang="T144">
                          <a:pos x="T68" y="T69"/>
                        </a:cxn>
                        <a:cxn ang="T145">
                          <a:pos x="T70" y="T71"/>
                        </a:cxn>
                        <a:cxn ang="T146">
                          <a:pos x="T72" y="T73"/>
                        </a:cxn>
                        <a:cxn ang="T147">
                          <a:pos x="T74" y="T75"/>
                        </a:cxn>
                        <a:cxn ang="T148">
                          <a:pos x="T76" y="T77"/>
                        </a:cxn>
                        <a:cxn ang="T149">
                          <a:pos x="T78" y="T79"/>
                        </a:cxn>
                        <a:cxn ang="T150">
                          <a:pos x="T80" y="T81"/>
                        </a:cxn>
                        <a:cxn ang="T151">
                          <a:pos x="T82" y="T83"/>
                        </a:cxn>
                        <a:cxn ang="T152">
                          <a:pos x="T84" y="T85"/>
                        </a:cxn>
                        <a:cxn ang="T153">
                          <a:pos x="T86" y="T87"/>
                        </a:cxn>
                        <a:cxn ang="T154">
                          <a:pos x="T88" y="T89"/>
                        </a:cxn>
                        <a:cxn ang="T155">
                          <a:pos x="T90" y="T91"/>
                        </a:cxn>
                        <a:cxn ang="T156">
                          <a:pos x="T92" y="T93"/>
                        </a:cxn>
                        <a:cxn ang="T157">
                          <a:pos x="T94" y="T95"/>
                        </a:cxn>
                        <a:cxn ang="T158">
                          <a:pos x="T96" y="T97"/>
                        </a:cxn>
                        <a:cxn ang="T159">
                          <a:pos x="T98" y="T99"/>
                        </a:cxn>
                        <a:cxn ang="T160">
                          <a:pos x="T100" y="T101"/>
                        </a:cxn>
                        <a:cxn ang="T161">
                          <a:pos x="T102" y="T103"/>
                        </a:cxn>
                        <a:cxn ang="T162">
                          <a:pos x="T104" y="T105"/>
                        </a:cxn>
                        <a:cxn ang="T163">
                          <a:pos x="T106" y="T107"/>
                        </a:cxn>
                        <a:cxn ang="T164">
                          <a:pos x="T108" y="T109"/>
                        </a:cxn>
                      </a:cxnLst>
                      <a:rect l="T165" t="T166" r="T167" b="T168"/>
                      <a:pathLst>
                        <a:path w="843" h="796">
                          <a:moveTo>
                            <a:pt x="0" y="692"/>
                          </a:moveTo>
                          <a:lnTo>
                            <a:pt x="0" y="687"/>
                          </a:lnTo>
                          <a:lnTo>
                            <a:pt x="4" y="692"/>
                          </a:lnTo>
                          <a:lnTo>
                            <a:pt x="17" y="689"/>
                          </a:lnTo>
                          <a:lnTo>
                            <a:pt x="31" y="669"/>
                          </a:lnTo>
                          <a:lnTo>
                            <a:pt x="60" y="659"/>
                          </a:lnTo>
                          <a:lnTo>
                            <a:pt x="55" y="653"/>
                          </a:lnTo>
                          <a:lnTo>
                            <a:pt x="60" y="636"/>
                          </a:lnTo>
                          <a:lnTo>
                            <a:pt x="77" y="621"/>
                          </a:lnTo>
                          <a:lnTo>
                            <a:pt x="88" y="629"/>
                          </a:lnTo>
                          <a:lnTo>
                            <a:pt x="101" y="631"/>
                          </a:lnTo>
                          <a:lnTo>
                            <a:pt x="116" y="641"/>
                          </a:lnTo>
                          <a:lnTo>
                            <a:pt x="133" y="644"/>
                          </a:lnTo>
                          <a:lnTo>
                            <a:pt x="124" y="631"/>
                          </a:lnTo>
                          <a:lnTo>
                            <a:pt x="84" y="616"/>
                          </a:lnTo>
                          <a:lnTo>
                            <a:pt x="77" y="604"/>
                          </a:lnTo>
                          <a:lnTo>
                            <a:pt x="86" y="606"/>
                          </a:lnTo>
                          <a:lnTo>
                            <a:pt x="103" y="604"/>
                          </a:lnTo>
                          <a:lnTo>
                            <a:pt x="108" y="593"/>
                          </a:lnTo>
                          <a:lnTo>
                            <a:pt x="83" y="578"/>
                          </a:lnTo>
                          <a:lnTo>
                            <a:pt x="86" y="572"/>
                          </a:lnTo>
                          <a:lnTo>
                            <a:pt x="120" y="570"/>
                          </a:lnTo>
                          <a:lnTo>
                            <a:pt x="127" y="565"/>
                          </a:lnTo>
                          <a:lnTo>
                            <a:pt x="121" y="556"/>
                          </a:lnTo>
                          <a:lnTo>
                            <a:pt x="109" y="554"/>
                          </a:lnTo>
                          <a:lnTo>
                            <a:pt x="103" y="545"/>
                          </a:lnTo>
                          <a:lnTo>
                            <a:pt x="98" y="536"/>
                          </a:lnTo>
                          <a:lnTo>
                            <a:pt x="98" y="523"/>
                          </a:lnTo>
                          <a:lnTo>
                            <a:pt x="100" y="519"/>
                          </a:lnTo>
                          <a:lnTo>
                            <a:pt x="106" y="527"/>
                          </a:lnTo>
                          <a:lnTo>
                            <a:pt x="129" y="513"/>
                          </a:lnTo>
                          <a:lnTo>
                            <a:pt x="151" y="519"/>
                          </a:lnTo>
                          <a:lnTo>
                            <a:pt x="163" y="511"/>
                          </a:lnTo>
                          <a:lnTo>
                            <a:pt x="152" y="513"/>
                          </a:lnTo>
                          <a:lnTo>
                            <a:pt x="144" y="509"/>
                          </a:lnTo>
                          <a:lnTo>
                            <a:pt x="138" y="496"/>
                          </a:lnTo>
                          <a:lnTo>
                            <a:pt x="127" y="493"/>
                          </a:lnTo>
                          <a:lnTo>
                            <a:pt x="108" y="498"/>
                          </a:lnTo>
                          <a:lnTo>
                            <a:pt x="105" y="490"/>
                          </a:lnTo>
                          <a:lnTo>
                            <a:pt x="113" y="481"/>
                          </a:lnTo>
                          <a:lnTo>
                            <a:pt x="122" y="455"/>
                          </a:lnTo>
                          <a:lnTo>
                            <a:pt x="117" y="457"/>
                          </a:lnTo>
                          <a:lnTo>
                            <a:pt x="116" y="452"/>
                          </a:lnTo>
                          <a:lnTo>
                            <a:pt x="113" y="443"/>
                          </a:lnTo>
                          <a:lnTo>
                            <a:pt x="103" y="457"/>
                          </a:lnTo>
                          <a:lnTo>
                            <a:pt x="103" y="442"/>
                          </a:lnTo>
                          <a:lnTo>
                            <a:pt x="97" y="437"/>
                          </a:lnTo>
                          <a:lnTo>
                            <a:pt x="103" y="426"/>
                          </a:lnTo>
                          <a:lnTo>
                            <a:pt x="100" y="421"/>
                          </a:lnTo>
                          <a:lnTo>
                            <a:pt x="105" y="410"/>
                          </a:lnTo>
                          <a:lnTo>
                            <a:pt x="124" y="410"/>
                          </a:lnTo>
                          <a:lnTo>
                            <a:pt x="124" y="426"/>
                          </a:lnTo>
                          <a:lnTo>
                            <a:pt x="131" y="431"/>
                          </a:lnTo>
                          <a:lnTo>
                            <a:pt x="153" y="418"/>
                          </a:lnTo>
                          <a:lnTo>
                            <a:pt x="163" y="404"/>
                          </a:lnTo>
                          <a:lnTo>
                            <a:pt x="165" y="387"/>
                          </a:lnTo>
                          <a:lnTo>
                            <a:pt x="184" y="378"/>
                          </a:lnTo>
                          <a:lnTo>
                            <a:pt x="208" y="383"/>
                          </a:lnTo>
                          <a:lnTo>
                            <a:pt x="229" y="362"/>
                          </a:lnTo>
                          <a:lnTo>
                            <a:pt x="230" y="351"/>
                          </a:lnTo>
                          <a:lnTo>
                            <a:pt x="226" y="340"/>
                          </a:lnTo>
                          <a:lnTo>
                            <a:pt x="237" y="332"/>
                          </a:lnTo>
                          <a:lnTo>
                            <a:pt x="234" y="320"/>
                          </a:lnTo>
                          <a:lnTo>
                            <a:pt x="249" y="308"/>
                          </a:lnTo>
                          <a:lnTo>
                            <a:pt x="259" y="310"/>
                          </a:lnTo>
                          <a:lnTo>
                            <a:pt x="269" y="304"/>
                          </a:lnTo>
                          <a:lnTo>
                            <a:pt x="265" y="298"/>
                          </a:lnTo>
                          <a:lnTo>
                            <a:pt x="271" y="277"/>
                          </a:lnTo>
                          <a:lnTo>
                            <a:pt x="278" y="269"/>
                          </a:lnTo>
                          <a:lnTo>
                            <a:pt x="302" y="253"/>
                          </a:lnTo>
                          <a:lnTo>
                            <a:pt x="334" y="240"/>
                          </a:lnTo>
                          <a:lnTo>
                            <a:pt x="341" y="233"/>
                          </a:lnTo>
                          <a:lnTo>
                            <a:pt x="343" y="222"/>
                          </a:lnTo>
                          <a:lnTo>
                            <a:pt x="348" y="211"/>
                          </a:lnTo>
                          <a:lnTo>
                            <a:pt x="372" y="196"/>
                          </a:lnTo>
                          <a:lnTo>
                            <a:pt x="383" y="201"/>
                          </a:lnTo>
                          <a:lnTo>
                            <a:pt x="377" y="212"/>
                          </a:lnTo>
                          <a:lnTo>
                            <a:pt x="371" y="229"/>
                          </a:lnTo>
                          <a:lnTo>
                            <a:pt x="380" y="232"/>
                          </a:lnTo>
                          <a:lnTo>
                            <a:pt x="385" y="219"/>
                          </a:lnTo>
                          <a:lnTo>
                            <a:pt x="404" y="212"/>
                          </a:lnTo>
                          <a:lnTo>
                            <a:pt x="409" y="201"/>
                          </a:lnTo>
                          <a:lnTo>
                            <a:pt x="401" y="195"/>
                          </a:lnTo>
                          <a:lnTo>
                            <a:pt x="398" y="184"/>
                          </a:lnTo>
                          <a:lnTo>
                            <a:pt x="398" y="169"/>
                          </a:lnTo>
                          <a:lnTo>
                            <a:pt x="404" y="170"/>
                          </a:lnTo>
                          <a:lnTo>
                            <a:pt x="407" y="162"/>
                          </a:lnTo>
                          <a:lnTo>
                            <a:pt x="402" y="157"/>
                          </a:lnTo>
                          <a:lnTo>
                            <a:pt x="423" y="152"/>
                          </a:lnTo>
                          <a:lnTo>
                            <a:pt x="426" y="161"/>
                          </a:lnTo>
                          <a:lnTo>
                            <a:pt x="470" y="165"/>
                          </a:lnTo>
                          <a:lnTo>
                            <a:pt x="470" y="185"/>
                          </a:lnTo>
                          <a:lnTo>
                            <a:pt x="481" y="190"/>
                          </a:lnTo>
                          <a:lnTo>
                            <a:pt x="488" y="178"/>
                          </a:lnTo>
                          <a:lnTo>
                            <a:pt x="502" y="184"/>
                          </a:lnTo>
                          <a:lnTo>
                            <a:pt x="546" y="152"/>
                          </a:lnTo>
                          <a:lnTo>
                            <a:pt x="557" y="152"/>
                          </a:lnTo>
                          <a:lnTo>
                            <a:pt x="560" y="161"/>
                          </a:lnTo>
                          <a:lnTo>
                            <a:pt x="562" y="162"/>
                          </a:lnTo>
                          <a:lnTo>
                            <a:pt x="572" y="161"/>
                          </a:lnTo>
                          <a:lnTo>
                            <a:pt x="577" y="154"/>
                          </a:lnTo>
                          <a:lnTo>
                            <a:pt x="583" y="156"/>
                          </a:lnTo>
                          <a:lnTo>
                            <a:pt x="588" y="147"/>
                          </a:lnTo>
                          <a:lnTo>
                            <a:pt x="595" y="146"/>
                          </a:lnTo>
                          <a:lnTo>
                            <a:pt x="615" y="124"/>
                          </a:lnTo>
                          <a:lnTo>
                            <a:pt x="633" y="124"/>
                          </a:lnTo>
                          <a:lnTo>
                            <a:pt x="638" y="118"/>
                          </a:lnTo>
                          <a:lnTo>
                            <a:pt x="643" y="102"/>
                          </a:lnTo>
                          <a:lnTo>
                            <a:pt x="653" y="109"/>
                          </a:lnTo>
                          <a:lnTo>
                            <a:pt x="660" y="105"/>
                          </a:lnTo>
                          <a:lnTo>
                            <a:pt x="667" y="97"/>
                          </a:lnTo>
                          <a:lnTo>
                            <a:pt x="663" y="70"/>
                          </a:lnTo>
                          <a:lnTo>
                            <a:pt x="668" y="56"/>
                          </a:lnTo>
                          <a:lnTo>
                            <a:pt x="680" y="51"/>
                          </a:lnTo>
                          <a:lnTo>
                            <a:pt x="689" y="39"/>
                          </a:lnTo>
                          <a:lnTo>
                            <a:pt x="697" y="39"/>
                          </a:lnTo>
                          <a:lnTo>
                            <a:pt x="708" y="25"/>
                          </a:lnTo>
                          <a:lnTo>
                            <a:pt x="713" y="14"/>
                          </a:lnTo>
                          <a:lnTo>
                            <a:pt x="726" y="20"/>
                          </a:lnTo>
                          <a:lnTo>
                            <a:pt x="750" y="0"/>
                          </a:lnTo>
                          <a:lnTo>
                            <a:pt x="782" y="1"/>
                          </a:lnTo>
                          <a:lnTo>
                            <a:pt x="812" y="12"/>
                          </a:lnTo>
                          <a:lnTo>
                            <a:pt x="820" y="20"/>
                          </a:lnTo>
                          <a:lnTo>
                            <a:pt x="825" y="29"/>
                          </a:lnTo>
                          <a:lnTo>
                            <a:pt x="832" y="36"/>
                          </a:lnTo>
                          <a:lnTo>
                            <a:pt x="831" y="46"/>
                          </a:lnTo>
                          <a:lnTo>
                            <a:pt x="842" y="76"/>
                          </a:lnTo>
                          <a:lnTo>
                            <a:pt x="842" y="87"/>
                          </a:lnTo>
                          <a:lnTo>
                            <a:pt x="834" y="93"/>
                          </a:lnTo>
                          <a:lnTo>
                            <a:pt x="829" y="110"/>
                          </a:lnTo>
                          <a:lnTo>
                            <a:pt x="843" y="111"/>
                          </a:lnTo>
                          <a:lnTo>
                            <a:pt x="841" y="119"/>
                          </a:lnTo>
                          <a:lnTo>
                            <a:pt x="829" y="127"/>
                          </a:lnTo>
                          <a:lnTo>
                            <a:pt x="819" y="141"/>
                          </a:lnTo>
                          <a:lnTo>
                            <a:pt x="799" y="176"/>
                          </a:lnTo>
                          <a:lnTo>
                            <a:pt x="807" y="189"/>
                          </a:lnTo>
                          <a:lnTo>
                            <a:pt x="789" y="180"/>
                          </a:lnTo>
                          <a:lnTo>
                            <a:pt x="781" y="180"/>
                          </a:lnTo>
                          <a:lnTo>
                            <a:pt x="772" y="184"/>
                          </a:lnTo>
                          <a:lnTo>
                            <a:pt x="733" y="221"/>
                          </a:lnTo>
                          <a:lnTo>
                            <a:pt x="712" y="229"/>
                          </a:lnTo>
                          <a:lnTo>
                            <a:pt x="702" y="229"/>
                          </a:lnTo>
                          <a:lnTo>
                            <a:pt x="680" y="240"/>
                          </a:lnTo>
                          <a:lnTo>
                            <a:pt x="669" y="238"/>
                          </a:lnTo>
                          <a:lnTo>
                            <a:pt x="648" y="244"/>
                          </a:lnTo>
                          <a:lnTo>
                            <a:pt x="641" y="251"/>
                          </a:lnTo>
                          <a:lnTo>
                            <a:pt x="638" y="261"/>
                          </a:lnTo>
                          <a:lnTo>
                            <a:pt x="628" y="271"/>
                          </a:lnTo>
                          <a:lnTo>
                            <a:pt x="624" y="260"/>
                          </a:lnTo>
                          <a:lnTo>
                            <a:pt x="614" y="276"/>
                          </a:lnTo>
                          <a:lnTo>
                            <a:pt x="558" y="310"/>
                          </a:lnTo>
                          <a:lnTo>
                            <a:pt x="552" y="309"/>
                          </a:lnTo>
                          <a:lnTo>
                            <a:pt x="545" y="289"/>
                          </a:lnTo>
                          <a:lnTo>
                            <a:pt x="539" y="294"/>
                          </a:lnTo>
                          <a:lnTo>
                            <a:pt x="540" y="304"/>
                          </a:lnTo>
                          <a:lnTo>
                            <a:pt x="538" y="308"/>
                          </a:lnTo>
                          <a:lnTo>
                            <a:pt x="534" y="318"/>
                          </a:lnTo>
                          <a:lnTo>
                            <a:pt x="506" y="350"/>
                          </a:lnTo>
                          <a:lnTo>
                            <a:pt x="481" y="356"/>
                          </a:lnTo>
                          <a:lnTo>
                            <a:pt x="472" y="372"/>
                          </a:lnTo>
                          <a:lnTo>
                            <a:pt x="469" y="363"/>
                          </a:lnTo>
                          <a:lnTo>
                            <a:pt x="449" y="398"/>
                          </a:lnTo>
                          <a:lnTo>
                            <a:pt x="422" y="431"/>
                          </a:lnTo>
                          <a:lnTo>
                            <a:pt x="395" y="436"/>
                          </a:lnTo>
                          <a:lnTo>
                            <a:pt x="391" y="442"/>
                          </a:lnTo>
                          <a:lnTo>
                            <a:pt x="389" y="434"/>
                          </a:lnTo>
                          <a:lnTo>
                            <a:pt x="378" y="436"/>
                          </a:lnTo>
                          <a:lnTo>
                            <a:pt x="373" y="430"/>
                          </a:lnTo>
                          <a:lnTo>
                            <a:pt x="367" y="445"/>
                          </a:lnTo>
                          <a:lnTo>
                            <a:pt x="374" y="453"/>
                          </a:lnTo>
                          <a:lnTo>
                            <a:pt x="383" y="454"/>
                          </a:lnTo>
                          <a:lnTo>
                            <a:pt x="385" y="465"/>
                          </a:lnTo>
                          <a:lnTo>
                            <a:pt x="359" y="491"/>
                          </a:lnTo>
                          <a:lnTo>
                            <a:pt x="362" y="501"/>
                          </a:lnTo>
                          <a:lnTo>
                            <a:pt x="358" y="511"/>
                          </a:lnTo>
                          <a:lnTo>
                            <a:pt x="340" y="514"/>
                          </a:lnTo>
                          <a:lnTo>
                            <a:pt x="331" y="504"/>
                          </a:lnTo>
                          <a:lnTo>
                            <a:pt x="316" y="498"/>
                          </a:lnTo>
                          <a:lnTo>
                            <a:pt x="319" y="506"/>
                          </a:lnTo>
                          <a:lnTo>
                            <a:pt x="331" y="520"/>
                          </a:lnTo>
                          <a:lnTo>
                            <a:pt x="341" y="543"/>
                          </a:lnTo>
                          <a:lnTo>
                            <a:pt x="304" y="517"/>
                          </a:lnTo>
                          <a:lnTo>
                            <a:pt x="294" y="520"/>
                          </a:lnTo>
                          <a:lnTo>
                            <a:pt x="296" y="524"/>
                          </a:lnTo>
                          <a:lnTo>
                            <a:pt x="294" y="530"/>
                          </a:lnTo>
                          <a:lnTo>
                            <a:pt x="299" y="544"/>
                          </a:lnTo>
                          <a:lnTo>
                            <a:pt x="304" y="549"/>
                          </a:lnTo>
                          <a:lnTo>
                            <a:pt x="293" y="541"/>
                          </a:lnTo>
                          <a:lnTo>
                            <a:pt x="291" y="547"/>
                          </a:lnTo>
                          <a:lnTo>
                            <a:pt x="297" y="562"/>
                          </a:lnTo>
                          <a:lnTo>
                            <a:pt x="293" y="570"/>
                          </a:lnTo>
                          <a:lnTo>
                            <a:pt x="285" y="571"/>
                          </a:lnTo>
                          <a:lnTo>
                            <a:pt x="280" y="561"/>
                          </a:lnTo>
                          <a:lnTo>
                            <a:pt x="251" y="538"/>
                          </a:lnTo>
                          <a:lnTo>
                            <a:pt x="249" y="547"/>
                          </a:lnTo>
                          <a:lnTo>
                            <a:pt x="262" y="561"/>
                          </a:lnTo>
                          <a:lnTo>
                            <a:pt x="270" y="574"/>
                          </a:lnTo>
                          <a:lnTo>
                            <a:pt x="278" y="593"/>
                          </a:lnTo>
                          <a:lnTo>
                            <a:pt x="278" y="604"/>
                          </a:lnTo>
                          <a:lnTo>
                            <a:pt x="273" y="603"/>
                          </a:lnTo>
                          <a:lnTo>
                            <a:pt x="271" y="610"/>
                          </a:lnTo>
                          <a:lnTo>
                            <a:pt x="270" y="620"/>
                          </a:lnTo>
                          <a:lnTo>
                            <a:pt x="264" y="613"/>
                          </a:lnTo>
                          <a:lnTo>
                            <a:pt x="261" y="613"/>
                          </a:lnTo>
                          <a:lnTo>
                            <a:pt x="262" y="625"/>
                          </a:lnTo>
                          <a:lnTo>
                            <a:pt x="265" y="629"/>
                          </a:lnTo>
                          <a:lnTo>
                            <a:pt x="260" y="633"/>
                          </a:lnTo>
                          <a:lnTo>
                            <a:pt x="251" y="625"/>
                          </a:lnTo>
                          <a:lnTo>
                            <a:pt x="249" y="636"/>
                          </a:lnTo>
                          <a:lnTo>
                            <a:pt x="251" y="651"/>
                          </a:lnTo>
                          <a:lnTo>
                            <a:pt x="244" y="653"/>
                          </a:lnTo>
                          <a:lnTo>
                            <a:pt x="239" y="644"/>
                          </a:lnTo>
                          <a:lnTo>
                            <a:pt x="232" y="643"/>
                          </a:lnTo>
                          <a:lnTo>
                            <a:pt x="228" y="630"/>
                          </a:lnTo>
                          <a:lnTo>
                            <a:pt x="213" y="601"/>
                          </a:lnTo>
                          <a:lnTo>
                            <a:pt x="207" y="621"/>
                          </a:lnTo>
                          <a:lnTo>
                            <a:pt x="210" y="633"/>
                          </a:lnTo>
                          <a:lnTo>
                            <a:pt x="197" y="640"/>
                          </a:lnTo>
                          <a:lnTo>
                            <a:pt x="213" y="646"/>
                          </a:lnTo>
                          <a:lnTo>
                            <a:pt x="221" y="652"/>
                          </a:lnTo>
                          <a:lnTo>
                            <a:pt x="221" y="663"/>
                          </a:lnTo>
                          <a:lnTo>
                            <a:pt x="230" y="668"/>
                          </a:lnTo>
                          <a:lnTo>
                            <a:pt x="226" y="671"/>
                          </a:lnTo>
                          <a:lnTo>
                            <a:pt x="228" y="678"/>
                          </a:lnTo>
                          <a:lnTo>
                            <a:pt x="228" y="687"/>
                          </a:lnTo>
                          <a:lnTo>
                            <a:pt x="226" y="700"/>
                          </a:lnTo>
                          <a:lnTo>
                            <a:pt x="216" y="701"/>
                          </a:lnTo>
                          <a:lnTo>
                            <a:pt x="211" y="686"/>
                          </a:lnTo>
                          <a:lnTo>
                            <a:pt x="205" y="684"/>
                          </a:lnTo>
                          <a:lnTo>
                            <a:pt x="179" y="679"/>
                          </a:lnTo>
                          <a:lnTo>
                            <a:pt x="170" y="681"/>
                          </a:lnTo>
                          <a:lnTo>
                            <a:pt x="179" y="689"/>
                          </a:lnTo>
                          <a:lnTo>
                            <a:pt x="194" y="691"/>
                          </a:lnTo>
                          <a:lnTo>
                            <a:pt x="207" y="712"/>
                          </a:lnTo>
                          <a:lnTo>
                            <a:pt x="211" y="723"/>
                          </a:lnTo>
                          <a:lnTo>
                            <a:pt x="207" y="730"/>
                          </a:lnTo>
                          <a:lnTo>
                            <a:pt x="202" y="733"/>
                          </a:lnTo>
                          <a:lnTo>
                            <a:pt x="200" y="739"/>
                          </a:lnTo>
                          <a:lnTo>
                            <a:pt x="190" y="730"/>
                          </a:lnTo>
                          <a:lnTo>
                            <a:pt x="185" y="718"/>
                          </a:lnTo>
                          <a:lnTo>
                            <a:pt x="174" y="714"/>
                          </a:lnTo>
                          <a:lnTo>
                            <a:pt x="179" y="732"/>
                          </a:lnTo>
                          <a:lnTo>
                            <a:pt x="184" y="744"/>
                          </a:lnTo>
                          <a:lnTo>
                            <a:pt x="191" y="751"/>
                          </a:lnTo>
                          <a:lnTo>
                            <a:pt x="192" y="760"/>
                          </a:lnTo>
                          <a:lnTo>
                            <a:pt x="185" y="769"/>
                          </a:lnTo>
                          <a:lnTo>
                            <a:pt x="180" y="781"/>
                          </a:lnTo>
                          <a:lnTo>
                            <a:pt x="174" y="782"/>
                          </a:lnTo>
                          <a:lnTo>
                            <a:pt x="167" y="796"/>
                          </a:lnTo>
                          <a:lnTo>
                            <a:pt x="159" y="794"/>
                          </a:lnTo>
                          <a:lnTo>
                            <a:pt x="152" y="788"/>
                          </a:lnTo>
                          <a:lnTo>
                            <a:pt x="133" y="789"/>
                          </a:lnTo>
                          <a:lnTo>
                            <a:pt x="115" y="777"/>
                          </a:lnTo>
                          <a:lnTo>
                            <a:pt x="97" y="776"/>
                          </a:lnTo>
                          <a:lnTo>
                            <a:pt x="82" y="761"/>
                          </a:lnTo>
                          <a:lnTo>
                            <a:pt x="61" y="764"/>
                          </a:lnTo>
                          <a:lnTo>
                            <a:pt x="39" y="777"/>
                          </a:lnTo>
                          <a:lnTo>
                            <a:pt x="24" y="776"/>
                          </a:lnTo>
                          <a:lnTo>
                            <a:pt x="35" y="766"/>
                          </a:lnTo>
                          <a:lnTo>
                            <a:pt x="39" y="757"/>
                          </a:lnTo>
                          <a:lnTo>
                            <a:pt x="33" y="757"/>
                          </a:lnTo>
                          <a:lnTo>
                            <a:pt x="34" y="745"/>
                          </a:lnTo>
                          <a:lnTo>
                            <a:pt x="39" y="738"/>
                          </a:lnTo>
                          <a:lnTo>
                            <a:pt x="56" y="723"/>
                          </a:lnTo>
                          <a:lnTo>
                            <a:pt x="63" y="724"/>
                          </a:lnTo>
                          <a:lnTo>
                            <a:pt x="78" y="713"/>
                          </a:lnTo>
                          <a:lnTo>
                            <a:pt x="77" y="711"/>
                          </a:lnTo>
                          <a:lnTo>
                            <a:pt x="68" y="703"/>
                          </a:lnTo>
                          <a:lnTo>
                            <a:pt x="63" y="711"/>
                          </a:lnTo>
                          <a:lnTo>
                            <a:pt x="52" y="713"/>
                          </a:lnTo>
                          <a:lnTo>
                            <a:pt x="40" y="727"/>
                          </a:lnTo>
                          <a:lnTo>
                            <a:pt x="18" y="724"/>
                          </a:lnTo>
                          <a:lnTo>
                            <a:pt x="17" y="714"/>
                          </a:lnTo>
                          <a:lnTo>
                            <a:pt x="4" y="706"/>
                          </a:lnTo>
                          <a:lnTo>
                            <a:pt x="0" y="692"/>
                          </a:ln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6350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txBody>
                    <a:bodyPr/>
                    <a:lstStyle/>
                    <a:p>
                      <a:endParaRPr lang="ru-RU" sz="1400"/>
                    </a:p>
                  </p:txBody>
                </p:sp>
                <p:sp>
                  <p:nvSpPr>
                    <p:cNvPr id="510" name="Freeform 176"/>
                    <p:cNvSpPr>
                      <a:spLocks/>
                    </p:cNvSpPr>
                    <p:nvPr/>
                  </p:nvSpPr>
                  <p:spPr bwMode="gray">
                    <a:xfrm>
                      <a:off x="3090" y="1355"/>
                      <a:ext cx="9" cy="16"/>
                    </a:xfrm>
                    <a:custGeom>
                      <a:avLst/>
                      <a:gdLst>
                        <a:gd name="T0" fmla="*/ 0 w 48"/>
                        <a:gd name="T1" fmla="*/ 0 h 81"/>
                        <a:gd name="T2" fmla="*/ 0 w 48"/>
                        <a:gd name="T3" fmla="*/ 0 h 81"/>
                        <a:gd name="T4" fmla="*/ 0 w 48"/>
                        <a:gd name="T5" fmla="*/ 0 h 81"/>
                        <a:gd name="T6" fmla="*/ 1 w 48"/>
                        <a:gd name="T7" fmla="*/ 0 h 81"/>
                        <a:gd name="T8" fmla="*/ 1 w 48"/>
                        <a:gd name="T9" fmla="*/ 1 h 81"/>
                        <a:gd name="T10" fmla="*/ 1 w 48"/>
                        <a:gd name="T11" fmla="*/ 0 h 81"/>
                        <a:gd name="T12" fmla="*/ 2 w 48"/>
                        <a:gd name="T13" fmla="*/ 1 h 81"/>
                        <a:gd name="T14" fmla="*/ 2 w 48"/>
                        <a:gd name="T15" fmla="*/ 2 h 81"/>
                        <a:gd name="T16" fmla="*/ 2 w 48"/>
                        <a:gd name="T17" fmla="*/ 2 h 81"/>
                        <a:gd name="T18" fmla="*/ 2 w 48"/>
                        <a:gd name="T19" fmla="*/ 2 h 81"/>
                        <a:gd name="T20" fmla="*/ 2 w 48"/>
                        <a:gd name="T21" fmla="*/ 3 h 81"/>
                        <a:gd name="T22" fmla="*/ 2 w 48"/>
                        <a:gd name="T23" fmla="*/ 3 h 81"/>
                        <a:gd name="T24" fmla="*/ 2 w 48"/>
                        <a:gd name="T25" fmla="*/ 3 h 81"/>
                        <a:gd name="T26" fmla="*/ 1 w 48"/>
                        <a:gd name="T27" fmla="*/ 2 h 81"/>
                        <a:gd name="T28" fmla="*/ 1 w 48"/>
                        <a:gd name="T29" fmla="*/ 2 h 81"/>
                        <a:gd name="T30" fmla="*/ 1 w 48"/>
                        <a:gd name="T31" fmla="*/ 1 h 81"/>
                        <a:gd name="T32" fmla="*/ 0 w 48"/>
                        <a:gd name="T33" fmla="*/ 1 h 81"/>
                        <a:gd name="T34" fmla="*/ 0 w 48"/>
                        <a:gd name="T35" fmla="*/ 0 h 81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w 48"/>
                        <a:gd name="T55" fmla="*/ 0 h 81"/>
                        <a:gd name="T56" fmla="*/ 48 w 48"/>
                        <a:gd name="T57" fmla="*/ 81 h 81"/>
                      </a:gdLst>
                      <a:ahLst/>
                      <a:cxnLst>
                        <a:cxn ang="T36">
                          <a:pos x="T0" y="T1"/>
                        </a:cxn>
                        <a:cxn ang="T37">
                          <a:pos x="T2" y="T3"/>
                        </a:cxn>
                        <a:cxn ang="T38">
                          <a:pos x="T4" y="T5"/>
                        </a:cxn>
                        <a:cxn ang="T39">
                          <a:pos x="T6" y="T7"/>
                        </a:cxn>
                        <a:cxn ang="T40">
                          <a:pos x="T8" y="T9"/>
                        </a:cxn>
                        <a:cxn ang="T41">
                          <a:pos x="T10" y="T11"/>
                        </a:cxn>
                        <a:cxn ang="T42">
                          <a:pos x="T12" y="T13"/>
                        </a:cxn>
                        <a:cxn ang="T43">
                          <a:pos x="T14" y="T15"/>
                        </a:cxn>
                        <a:cxn ang="T44">
                          <a:pos x="T16" y="T17"/>
                        </a:cxn>
                        <a:cxn ang="T45">
                          <a:pos x="T18" y="T19"/>
                        </a:cxn>
                        <a:cxn ang="T46">
                          <a:pos x="T20" y="T21"/>
                        </a:cxn>
                        <a:cxn ang="T47">
                          <a:pos x="T22" y="T23"/>
                        </a:cxn>
                        <a:cxn ang="T48">
                          <a:pos x="T24" y="T25"/>
                        </a:cxn>
                        <a:cxn ang="T49">
                          <a:pos x="T26" y="T27"/>
                        </a:cxn>
                        <a:cxn ang="T50">
                          <a:pos x="T28" y="T29"/>
                        </a:cxn>
                        <a:cxn ang="T51">
                          <a:pos x="T30" y="T31"/>
                        </a:cxn>
                        <a:cxn ang="T52">
                          <a:pos x="T32" y="T33"/>
                        </a:cxn>
                        <a:cxn ang="T53">
                          <a:pos x="T34" y="T35"/>
                        </a:cxn>
                      </a:cxnLst>
                      <a:rect l="T54" t="T55" r="T56" b="T57"/>
                      <a:pathLst>
                        <a:path w="48" h="81">
                          <a:moveTo>
                            <a:pt x="0" y="11"/>
                          </a:moveTo>
                          <a:lnTo>
                            <a:pt x="0" y="8"/>
                          </a:lnTo>
                          <a:lnTo>
                            <a:pt x="13" y="0"/>
                          </a:lnTo>
                          <a:lnTo>
                            <a:pt x="23" y="5"/>
                          </a:lnTo>
                          <a:lnTo>
                            <a:pt x="33" y="16"/>
                          </a:lnTo>
                          <a:lnTo>
                            <a:pt x="35" y="10"/>
                          </a:lnTo>
                          <a:lnTo>
                            <a:pt x="47" y="30"/>
                          </a:lnTo>
                          <a:lnTo>
                            <a:pt x="48" y="40"/>
                          </a:lnTo>
                          <a:lnTo>
                            <a:pt x="47" y="53"/>
                          </a:lnTo>
                          <a:lnTo>
                            <a:pt x="44" y="57"/>
                          </a:lnTo>
                          <a:lnTo>
                            <a:pt x="45" y="68"/>
                          </a:lnTo>
                          <a:lnTo>
                            <a:pt x="48" y="78"/>
                          </a:lnTo>
                          <a:lnTo>
                            <a:pt x="44" y="81"/>
                          </a:lnTo>
                          <a:lnTo>
                            <a:pt x="38" y="59"/>
                          </a:lnTo>
                          <a:lnTo>
                            <a:pt x="31" y="46"/>
                          </a:lnTo>
                          <a:lnTo>
                            <a:pt x="24" y="27"/>
                          </a:lnTo>
                          <a:lnTo>
                            <a:pt x="4" y="19"/>
                          </a:lnTo>
                          <a:lnTo>
                            <a:pt x="0" y="11"/>
                          </a:lnTo>
                          <a:close/>
                        </a:path>
                      </a:pathLst>
                    </a:custGeom>
                    <a:grpFill/>
                    <a:ln w="6350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txBody>
                    <a:bodyPr/>
                    <a:lstStyle/>
                    <a:p>
                      <a:endParaRPr lang="ru-RU" sz="1400"/>
                    </a:p>
                  </p:txBody>
                </p:sp>
                <p:sp>
                  <p:nvSpPr>
                    <p:cNvPr id="511" name="Freeform 177"/>
                    <p:cNvSpPr>
                      <a:spLocks/>
                    </p:cNvSpPr>
                    <p:nvPr/>
                  </p:nvSpPr>
                  <p:spPr bwMode="gray">
                    <a:xfrm>
                      <a:off x="4042" y="1314"/>
                      <a:ext cx="17" cy="13"/>
                    </a:xfrm>
                    <a:custGeom>
                      <a:avLst/>
                      <a:gdLst>
                        <a:gd name="T0" fmla="*/ 2 w 85"/>
                        <a:gd name="T1" fmla="*/ 0 h 61"/>
                        <a:gd name="T2" fmla="*/ 2 w 85"/>
                        <a:gd name="T3" fmla="*/ 0 h 61"/>
                        <a:gd name="T4" fmla="*/ 3 w 85"/>
                        <a:gd name="T5" fmla="*/ 0 h 61"/>
                        <a:gd name="T6" fmla="*/ 3 w 85"/>
                        <a:gd name="T7" fmla="*/ 0 h 61"/>
                        <a:gd name="T8" fmla="*/ 3 w 85"/>
                        <a:gd name="T9" fmla="*/ 1 h 61"/>
                        <a:gd name="T10" fmla="*/ 3 w 85"/>
                        <a:gd name="T11" fmla="*/ 1 h 61"/>
                        <a:gd name="T12" fmla="*/ 3 w 85"/>
                        <a:gd name="T13" fmla="*/ 2 h 61"/>
                        <a:gd name="T14" fmla="*/ 3 w 85"/>
                        <a:gd name="T15" fmla="*/ 2 h 61"/>
                        <a:gd name="T16" fmla="*/ 3 w 85"/>
                        <a:gd name="T17" fmla="*/ 2 h 61"/>
                        <a:gd name="T18" fmla="*/ 3 w 85"/>
                        <a:gd name="T19" fmla="*/ 1 h 61"/>
                        <a:gd name="T20" fmla="*/ 2 w 85"/>
                        <a:gd name="T21" fmla="*/ 2 h 61"/>
                        <a:gd name="T22" fmla="*/ 2 w 85"/>
                        <a:gd name="T23" fmla="*/ 2 h 61"/>
                        <a:gd name="T24" fmla="*/ 2 w 85"/>
                        <a:gd name="T25" fmla="*/ 2 h 61"/>
                        <a:gd name="T26" fmla="*/ 1 w 85"/>
                        <a:gd name="T27" fmla="*/ 2 h 61"/>
                        <a:gd name="T28" fmla="*/ 1 w 85"/>
                        <a:gd name="T29" fmla="*/ 2 h 61"/>
                        <a:gd name="T30" fmla="*/ 1 w 85"/>
                        <a:gd name="T31" fmla="*/ 3 h 61"/>
                        <a:gd name="T32" fmla="*/ 1 w 85"/>
                        <a:gd name="T33" fmla="*/ 3 h 61"/>
                        <a:gd name="T34" fmla="*/ 0 w 85"/>
                        <a:gd name="T35" fmla="*/ 2 h 61"/>
                        <a:gd name="T36" fmla="*/ 0 w 85"/>
                        <a:gd name="T37" fmla="*/ 2 h 61"/>
                        <a:gd name="T38" fmla="*/ 0 w 85"/>
                        <a:gd name="T39" fmla="*/ 2 h 61"/>
                        <a:gd name="T40" fmla="*/ 0 w 85"/>
                        <a:gd name="T41" fmla="*/ 1 h 61"/>
                        <a:gd name="T42" fmla="*/ 1 w 85"/>
                        <a:gd name="T43" fmla="*/ 1 h 61"/>
                        <a:gd name="T44" fmla="*/ 1 w 85"/>
                        <a:gd name="T45" fmla="*/ 1 h 61"/>
                        <a:gd name="T46" fmla="*/ 1 w 85"/>
                        <a:gd name="T47" fmla="*/ 1 h 61"/>
                        <a:gd name="T48" fmla="*/ 1 w 85"/>
                        <a:gd name="T49" fmla="*/ 0 h 61"/>
                        <a:gd name="T50" fmla="*/ 1 w 85"/>
                        <a:gd name="T51" fmla="*/ 0 h 61"/>
                        <a:gd name="T52" fmla="*/ 2 w 85"/>
                        <a:gd name="T53" fmla="*/ 0 h 61"/>
                        <a:gd name="T54" fmla="*/ 2 w 85"/>
                        <a:gd name="T55" fmla="*/ 0 h 61"/>
                        <a:gd name="T56" fmla="*/ 2 w 85"/>
                        <a:gd name="T57" fmla="*/ 0 h 61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w 85"/>
                        <a:gd name="T88" fmla="*/ 0 h 61"/>
                        <a:gd name="T89" fmla="*/ 85 w 85"/>
                        <a:gd name="T90" fmla="*/ 61 h 61"/>
                      </a:gdLst>
                      <a:ahLst/>
                      <a:cxnLst>
                        <a:cxn ang="T58">
                          <a:pos x="T0" y="T1"/>
                        </a:cxn>
                        <a:cxn ang="T59">
                          <a:pos x="T2" y="T3"/>
                        </a:cxn>
                        <a:cxn ang="T60">
                          <a:pos x="T4" y="T5"/>
                        </a:cxn>
                        <a:cxn ang="T61">
                          <a:pos x="T6" y="T7"/>
                        </a:cxn>
                        <a:cxn ang="T62">
                          <a:pos x="T8" y="T9"/>
                        </a:cxn>
                        <a:cxn ang="T63">
                          <a:pos x="T10" y="T11"/>
                        </a:cxn>
                        <a:cxn ang="T64">
                          <a:pos x="T12" y="T13"/>
                        </a:cxn>
                        <a:cxn ang="T65">
                          <a:pos x="T14" y="T15"/>
                        </a:cxn>
                        <a:cxn ang="T66">
                          <a:pos x="T16" y="T17"/>
                        </a:cxn>
                        <a:cxn ang="T67">
                          <a:pos x="T18" y="T19"/>
                        </a:cxn>
                        <a:cxn ang="T68">
                          <a:pos x="T20" y="T21"/>
                        </a:cxn>
                        <a:cxn ang="T69">
                          <a:pos x="T22" y="T23"/>
                        </a:cxn>
                        <a:cxn ang="T70">
                          <a:pos x="T24" y="T25"/>
                        </a:cxn>
                        <a:cxn ang="T71">
                          <a:pos x="T26" y="T27"/>
                        </a:cxn>
                        <a:cxn ang="T72">
                          <a:pos x="T28" y="T29"/>
                        </a:cxn>
                        <a:cxn ang="T73">
                          <a:pos x="T30" y="T31"/>
                        </a:cxn>
                        <a:cxn ang="T74">
                          <a:pos x="T32" y="T33"/>
                        </a:cxn>
                        <a:cxn ang="T75">
                          <a:pos x="T34" y="T35"/>
                        </a:cxn>
                        <a:cxn ang="T76">
                          <a:pos x="T36" y="T37"/>
                        </a:cxn>
                        <a:cxn ang="T77">
                          <a:pos x="T38" y="T39"/>
                        </a:cxn>
                        <a:cxn ang="T78">
                          <a:pos x="T40" y="T41"/>
                        </a:cxn>
                        <a:cxn ang="T79">
                          <a:pos x="T42" y="T43"/>
                        </a:cxn>
                        <a:cxn ang="T80">
                          <a:pos x="T44" y="T45"/>
                        </a:cxn>
                        <a:cxn ang="T81">
                          <a:pos x="T46" y="T47"/>
                        </a:cxn>
                        <a:cxn ang="T82">
                          <a:pos x="T48" y="T49"/>
                        </a:cxn>
                        <a:cxn ang="T83">
                          <a:pos x="T50" y="T51"/>
                        </a:cxn>
                        <a:cxn ang="T84">
                          <a:pos x="T52" y="T53"/>
                        </a:cxn>
                        <a:cxn ang="T85">
                          <a:pos x="T54" y="T55"/>
                        </a:cxn>
                        <a:cxn ang="T86">
                          <a:pos x="T56" y="T57"/>
                        </a:cxn>
                      </a:cxnLst>
                      <a:rect l="T87" t="T88" r="T89" b="T90"/>
                      <a:pathLst>
                        <a:path w="85" h="61">
                          <a:moveTo>
                            <a:pt x="44" y="7"/>
                          </a:moveTo>
                          <a:lnTo>
                            <a:pt x="57" y="9"/>
                          </a:lnTo>
                          <a:lnTo>
                            <a:pt x="84" y="4"/>
                          </a:lnTo>
                          <a:lnTo>
                            <a:pt x="85" y="7"/>
                          </a:lnTo>
                          <a:lnTo>
                            <a:pt x="84" y="14"/>
                          </a:lnTo>
                          <a:lnTo>
                            <a:pt x="79" y="27"/>
                          </a:lnTo>
                          <a:lnTo>
                            <a:pt x="76" y="37"/>
                          </a:lnTo>
                          <a:lnTo>
                            <a:pt x="71" y="45"/>
                          </a:lnTo>
                          <a:lnTo>
                            <a:pt x="70" y="40"/>
                          </a:lnTo>
                          <a:lnTo>
                            <a:pt x="70" y="26"/>
                          </a:lnTo>
                          <a:lnTo>
                            <a:pt x="62" y="51"/>
                          </a:lnTo>
                          <a:lnTo>
                            <a:pt x="54" y="50"/>
                          </a:lnTo>
                          <a:lnTo>
                            <a:pt x="44" y="42"/>
                          </a:lnTo>
                          <a:lnTo>
                            <a:pt x="36" y="52"/>
                          </a:lnTo>
                          <a:lnTo>
                            <a:pt x="20" y="51"/>
                          </a:lnTo>
                          <a:lnTo>
                            <a:pt x="17" y="57"/>
                          </a:lnTo>
                          <a:lnTo>
                            <a:pt x="13" y="61"/>
                          </a:lnTo>
                          <a:lnTo>
                            <a:pt x="0" y="46"/>
                          </a:lnTo>
                          <a:lnTo>
                            <a:pt x="4" y="40"/>
                          </a:lnTo>
                          <a:lnTo>
                            <a:pt x="11" y="37"/>
                          </a:lnTo>
                          <a:lnTo>
                            <a:pt x="10" y="29"/>
                          </a:lnTo>
                          <a:lnTo>
                            <a:pt x="13" y="23"/>
                          </a:lnTo>
                          <a:lnTo>
                            <a:pt x="19" y="20"/>
                          </a:lnTo>
                          <a:lnTo>
                            <a:pt x="19" y="14"/>
                          </a:lnTo>
                          <a:lnTo>
                            <a:pt x="16" y="4"/>
                          </a:lnTo>
                          <a:lnTo>
                            <a:pt x="25" y="0"/>
                          </a:lnTo>
                          <a:lnTo>
                            <a:pt x="41" y="2"/>
                          </a:lnTo>
                          <a:lnTo>
                            <a:pt x="44" y="3"/>
                          </a:lnTo>
                          <a:lnTo>
                            <a:pt x="44" y="7"/>
                          </a:lnTo>
                          <a:close/>
                        </a:path>
                      </a:pathLst>
                    </a:custGeom>
                    <a:grpFill/>
                    <a:ln w="6350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txBody>
                    <a:bodyPr/>
                    <a:lstStyle/>
                    <a:p>
                      <a:endParaRPr lang="ru-RU" sz="1400"/>
                    </a:p>
                  </p:txBody>
                </p:sp>
                <p:sp>
                  <p:nvSpPr>
                    <p:cNvPr id="512" name="Freeform 178"/>
                    <p:cNvSpPr>
                      <a:spLocks/>
                    </p:cNvSpPr>
                    <p:nvPr/>
                  </p:nvSpPr>
                  <p:spPr bwMode="gray">
                    <a:xfrm>
                      <a:off x="3158" y="1386"/>
                      <a:ext cx="22" cy="25"/>
                    </a:xfrm>
                    <a:custGeom>
                      <a:avLst/>
                      <a:gdLst>
                        <a:gd name="T0" fmla="*/ 1 w 112"/>
                        <a:gd name="T1" fmla="*/ 3 h 123"/>
                        <a:gd name="T2" fmla="*/ 0 w 112"/>
                        <a:gd name="T3" fmla="*/ 3 h 123"/>
                        <a:gd name="T4" fmla="*/ 0 w 112"/>
                        <a:gd name="T5" fmla="*/ 2 h 123"/>
                        <a:gd name="T6" fmla="*/ 0 w 112"/>
                        <a:gd name="T7" fmla="*/ 2 h 123"/>
                        <a:gd name="T8" fmla="*/ 0 w 112"/>
                        <a:gd name="T9" fmla="*/ 2 h 123"/>
                        <a:gd name="T10" fmla="*/ 0 w 112"/>
                        <a:gd name="T11" fmla="*/ 1 h 123"/>
                        <a:gd name="T12" fmla="*/ 0 w 112"/>
                        <a:gd name="T13" fmla="*/ 2 h 123"/>
                        <a:gd name="T14" fmla="*/ 1 w 112"/>
                        <a:gd name="T15" fmla="*/ 2 h 123"/>
                        <a:gd name="T16" fmla="*/ 0 w 112"/>
                        <a:gd name="T17" fmla="*/ 1 h 123"/>
                        <a:gd name="T18" fmla="*/ 0 w 112"/>
                        <a:gd name="T19" fmla="*/ 1 h 123"/>
                        <a:gd name="T20" fmla="*/ 1 w 112"/>
                        <a:gd name="T21" fmla="*/ 1 h 123"/>
                        <a:gd name="T22" fmla="*/ 1 w 112"/>
                        <a:gd name="T23" fmla="*/ 0 h 123"/>
                        <a:gd name="T24" fmla="*/ 1 w 112"/>
                        <a:gd name="T25" fmla="*/ 0 h 123"/>
                        <a:gd name="T26" fmla="*/ 1 w 112"/>
                        <a:gd name="T27" fmla="*/ 1 h 123"/>
                        <a:gd name="T28" fmla="*/ 2 w 112"/>
                        <a:gd name="T29" fmla="*/ 1 h 123"/>
                        <a:gd name="T30" fmla="*/ 2 w 112"/>
                        <a:gd name="T31" fmla="*/ 2 h 123"/>
                        <a:gd name="T32" fmla="*/ 3 w 112"/>
                        <a:gd name="T33" fmla="*/ 2 h 123"/>
                        <a:gd name="T34" fmla="*/ 3 w 112"/>
                        <a:gd name="T35" fmla="*/ 3 h 123"/>
                        <a:gd name="T36" fmla="*/ 4 w 112"/>
                        <a:gd name="T37" fmla="*/ 4 h 123"/>
                        <a:gd name="T38" fmla="*/ 4 w 112"/>
                        <a:gd name="T39" fmla="*/ 4 h 123"/>
                        <a:gd name="T40" fmla="*/ 4 w 112"/>
                        <a:gd name="T41" fmla="*/ 5 h 123"/>
                        <a:gd name="T42" fmla="*/ 4 w 112"/>
                        <a:gd name="T43" fmla="*/ 5 h 123"/>
                        <a:gd name="T44" fmla="*/ 3 w 112"/>
                        <a:gd name="T45" fmla="*/ 5 h 123"/>
                        <a:gd name="T46" fmla="*/ 3 w 112"/>
                        <a:gd name="T47" fmla="*/ 5 h 123"/>
                        <a:gd name="T48" fmla="*/ 3 w 112"/>
                        <a:gd name="T49" fmla="*/ 5 h 123"/>
                        <a:gd name="T50" fmla="*/ 2 w 112"/>
                        <a:gd name="T51" fmla="*/ 5 h 123"/>
                        <a:gd name="T52" fmla="*/ 3 w 112"/>
                        <a:gd name="T53" fmla="*/ 4 h 123"/>
                        <a:gd name="T54" fmla="*/ 2 w 112"/>
                        <a:gd name="T55" fmla="*/ 4 h 123"/>
                        <a:gd name="T56" fmla="*/ 2 w 112"/>
                        <a:gd name="T57" fmla="*/ 4 h 123"/>
                        <a:gd name="T58" fmla="*/ 1 w 112"/>
                        <a:gd name="T59" fmla="*/ 3 h 123"/>
                        <a:gd name="T60" fmla="*/ 1 w 112"/>
                        <a:gd name="T61" fmla="*/ 4 h 123"/>
                        <a:gd name="T62" fmla="*/ 2 w 112"/>
                        <a:gd name="T63" fmla="*/ 4 h 123"/>
                        <a:gd name="T64" fmla="*/ 1 w 112"/>
                        <a:gd name="T65" fmla="*/ 5 h 123"/>
                        <a:gd name="T66" fmla="*/ 1 w 112"/>
                        <a:gd name="T67" fmla="*/ 4 h 123"/>
                        <a:gd name="T68" fmla="*/ 1 w 112"/>
                        <a:gd name="T69" fmla="*/ 3 h 123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w 112"/>
                        <a:gd name="T106" fmla="*/ 0 h 123"/>
                        <a:gd name="T107" fmla="*/ 112 w 112"/>
                        <a:gd name="T108" fmla="*/ 123 h 123"/>
                      </a:gdLst>
                      <a:ahLst/>
                      <a:cxnLst>
                        <a:cxn ang="T70">
                          <a:pos x="T0" y="T1"/>
                        </a:cxn>
                        <a:cxn ang="T71">
                          <a:pos x="T2" y="T3"/>
                        </a:cxn>
                        <a:cxn ang="T72">
                          <a:pos x="T4" y="T5"/>
                        </a:cxn>
                        <a:cxn ang="T73">
                          <a:pos x="T6" y="T7"/>
                        </a:cxn>
                        <a:cxn ang="T74">
                          <a:pos x="T8" y="T9"/>
                        </a:cxn>
                        <a:cxn ang="T75">
                          <a:pos x="T10" y="T11"/>
                        </a:cxn>
                        <a:cxn ang="T76">
                          <a:pos x="T12" y="T13"/>
                        </a:cxn>
                        <a:cxn ang="T77">
                          <a:pos x="T14" y="T15"/>
                        </a:cxn>
                        <a:cxn ang="T78">
                          <a:pos x="T16" y="T17"/>
                        </a:cxn>
                        <a:cxn ang="T79">
                          <a:pos x="T18" y="T19"/>
                        </a:cxn>
                        <a:cxn ang="T80">
                          <a:pos x="T20" y="T21"/>
                        </a:cxn>
                        <a:cxn ang="T81">
                          <a:pos x="T22" y="T23"/>
                        </a:cxn>
                        <a:cxn ang="T82">
                          <a:pos x="T24" y="T25"/>
                        </a:cxn>
                        <a:cxn ang="T83">
                          <a:pos x="T26" y="T27"/>
                        </a:cxn>
                        <a:cxn ang="T84">
                          <a:pos x="T28" y="T29"/>
                        </a:cxn>
                        <a:cxn ang="T85">
                          <a:pos x="T30" y="T31"/>
                        </a:cxn>
                        <a:cxn ang="T86">
                          <a:pos x="T32" y="T33"/>
                        </a:cxn>
                        <a:cxn ang="T87">
                          <a:pos x="T34" y="T35"/>
                        </a:cxn>
                        <a:cxn ang="T88">
                          <a:pos x="T36" y="T37"/>
                        </a:cxn>
                        <a:cxn ang="T89">
                          <a:pos x="T38" y="T39"/>
                        </a:cxn>
                        <a:cxn ang="T90">
                          <a:pos x="T40" y="T41"/>
                        </a:cxn>
                        <a:cxn ang="T91">
                          <a:pos x="T42" y="T43"/>
                        </a:cxn>
                        <a:cxn ang="T92">
                          <a:pos x="T44" y="T45"/>
                        </a:cxn>
                        <a:cxn ang="T93">
                          <a:pos x="T46" y="T47"/>
                        </a:cxn>
                        <a:cxn ang="T94">
                          <a:pos x="T48" y="T49"/>
                        </a:cxn>
                        <a:cxn ang="T95">
                          <a:pos x="T50" y="T51"/>
                        </a:cxn>
                        <a:cxn ang="T96">
                          <a:pos x="T52" y="T53"/>
                        </a:cxn>
                        <a:cxn ang="T97">
                          <a:pos x="T54" y="T55"/>
                        </a:cxn>
                        <a:cxn ang="T98">
                          <a:pos x="T56" y="T57"/>
                        </a:cxn>
                        <a:cxn ang="T99">
                          <a:pos x="T58" y="T59"/>
                        </a:cxn>
                        <a:cxn ang="T100">
                          <a:pos x="T60" y="T61"/>
                        </a:cxn>
                        <a:cxn ang="T101">
                          <a:pos x="T62" y="T63"/>
                        </a:cxn>
                        <a:cxn ang="T102">
                          <a:pos x="T64" y="T65"/>
                        </a:cxn>
                        <a:cxn ang="T103">
                          <a:pos x="T66" y="T67"/>
                        </a:cxn>
                        <a:cxn ang="T104">
                          <a:pos x="T68" y="T69"/>
                        </a:cxn>
                      </a:cxnLst>
                      <a:rect l="T105" t="T106" r="T107" b="T108"/>
                      <a:pathLst>
                        <a:path w="112" h="123">
                          <a:moveTo>
                            <a:pt x="15" y="75"/>
                          </a:moveTo>
                          <a:lnTo>
                            <a:pt x="12" y="75"/>
                          </a:lnTo>
                          <a:lnTo>
                            <a:pt x="7" y="57"/>
                          </a:lnTo>
                          <a:lnTo>
                            <a:pt x="7" y="49"/>
                          </a:lnTo>
                          <a:lnTo>
                            <a:pt x="3" y="47"/>
                          </a:lnTo>
                          <a:lnTo>
                            <a:pt x="0" y="36"/>
                          </a:lnTo>
                          <a:lnTo>
                            <a:pt x="10" y="41"/>
                          </a:lnTo>
                          <a:lnTo>
                            <a:pt x="19" y="38"/>
                          </a:lnTo>
                          <a:lnTo>
                            <a:pt x="6" y="25"/>
                          </a:lnTo>
                          <a:lnTo>
                            <a:pt x="10" y="23"/>
                          </a:lnTo>
                          <a:lnTo>
                            <a:pt x="15" y="15"/>
                          </a:lnTo>
                          <a:lnTo>
                            <a:pt x="19" y="3"/>
                          </a:lnTo>
                          <a:lnTo>
                            <a:pt x="27" y="0"/>
                          </a:lnTo>
                          <a:lnTo>
                            <a:pt x="37" y="16"/>
                          </a:lnTo>
                          <a:lnTo>
                            <a:pt x="46" y="23"/>
                          </a:lnTo>
                          <a:lnTo>
                            <a:pt x="52" y="38"/>
                          </a:lnTo>
                          <a:lnTo>
                            <a:pt x="68" y="46"/>
                          </a:lnTo>
                          <a:lnTo>
                            <a:pt x="82" y="62"/>
                          </a:lnTo>
                          <a:lnTo>
                            <a:pt x="109" y="98"/>
                          </a:lnTo>
                          <a:lnTo>
                            <a:pt x="112" y="108"/>
                          </a:lnTo>
                          <a:lnTo>
                            <a:pt x="103" y="123"/>
                          </a:lnTo>
                          <a:lnTo>
                            <a:pt x="96" y="118"/>
                          </a:lnTo>
                          <a:lnTo>
                            <a:pt x="89" y="117"/>
                          </a:lnTo>
                          <a:lnTo>
                            <a:pt x="85" y="122"/>
                          </a:lnTo>
                          <a:lnTo>
                            <a:pt x="74" y="122"/>
                          </a:lnTo>
                          <a:lnTo>
                            <a:pt x="60" y="112"/>
                          </a:lnTo>
                          <a:lnTo>
                            <a:pt x="64" y="103"/>
                          </a:lnTo>
                          <a:lnTo>
                            <a:pt x="54" y="96"/>
                          </a:lnTo>
                          <a:lnTo>
                            <a:pt x="44" y="95"/>
                          </a:lnTo>
                          <a:lnTo>
                            <a:pt x="26" y="82"/>
                          </a:lnTo>
                          <a:lnTo>
                            <a:pt x="31" y="95"/>
                          </a:lnTo>
                          <a:lnTo>
                            <a:pt x="39" y="106"/>
                          </a:lnTo>
                          <a:lnTo>
                            <a:pt x="37" y="113"/>
                          </a:lnTo>
                          <a:lnTo>
                            <a:pt x="28" y="95"/>
                          </a:lnTo>
                          <a:lnTo>
                            <a:pt x="15" y="75"/>
                          </a:ln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6350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txBody>
                    <a:bodyPr/>
                    <a:lstStyle/>
                    <a:p>
                      <a:endParaRPr lang="ru-RU" sz="1400"/>
                    </a:p>
                  </p:txBody>
                </p:sp>
                <p:sp>
                  <p:nvSpPr>
                    <p:cNvPr id="513" name="Freeform 179"/>
                    <p:cNvSpPr>
                      <a:spLocks/>
                    </p:cNvSpPr>
                    <p:nvPr/>
                  </p:nvSpPr>
                  <p:spPr bwMode="gray">
                    <a:xfrm>
                      <a:off x="3534" y="960"/>
                      <a:ext cx="81" cy="75"/>
                    </a:xfrm>
                    <a:custGeom>
                      <a:avLst/>
                      <a:gdLst>
                        <a:gd name="T0" fmla="*/ 3 w 405"/>
                        <a:gd name="T1" fmla="*/ 2 h 373"/>
                        <a:gd name="T2" fmla="*/ 4 w 405"/>
                        <a:gd name="T3" fmla="*/ 3 h 373"/>
                        <a:gd name="T4" fmla="*/ 2 w 405"/>
                        <a:gd name="T5" fmla="*/ 3 h 373"/>
                        <a:gd name="T6" fmla="*/ 2 w 405"/>
                        <a:gd name="T7" fmla="*/ 4 h 373"/>
                        <a:gd name="T8" fmla="*/ 0 w 405"/>
                        <a:gd name="T9" fmla="*/ 6 h 373"/>
                        <a:gd name="T10" fmla="*/ 1 w 405"/>
                        <a:gd name="T11" fmla="*/ 7 h 373"/>
                        <a:gd name="T12" fmla="*/ 1 w 405"/>
                        <a:gd name="T13" fmla="*/ 6 h 373"/>
                        <a:gd name="T14" fmla="*/ 1 w 405"/>
                        <a:gd name="T15" fmla="*/ 6 h 373"/>
                        <a:gd name="T16" fmla="*/ 2 w 405"/>
                        <a:gd name="T17" fmla="*/ 6 h 373"/>
                        <a:gd name="T18" fmla="*/ 2 w 405"/>
                        <a:gd name="T19" fmla="*/ 7 h 373"/>
                        <a:gd name="T20" fmla="*/ 3 w 405"/>
                        <a:gd name="T21" fmla="*/ 6 h 373"/>
                        <a:gd name="T22" fmla="*/ 3 w 405"/>
                        <a:gd name="T23" fmla="*/ 7 h 373"/>
                        <a:gd name="T24" fmla="*/ 3 w 405"/>
                        <a:gd name="T25" fmla="*/ 9 h 373"/>
                        <a:gd name="T26" fmla="*/ 3 w 405"/>
                        <a:gd name="T27" fmla="*/ 10 h 373"/>
                        <a:gd name="T28" fmla="*/ 4 w 405"/>
                        <a:gd name="T29" fmla="*/ 11 h 373"/>
                        <a:gd name="T30" fmla="*/ 5 w 405"/>
                        <a:gd name="T31" fmla="*/ 12 h 373"/>
                        <a:gd name="T32" fmla="*/ 6 w 405"/>
                        <a:gd name="T33" fmla="*/ 10 h 373"/>
                        <a:gd name="T34" fmla="*/ 6 w 405"/>
                        <a:gd name="T35" fmla="*/ 12 h 373"/>
                        <a:gd name="T36" fmla="*/ 7 w 405"/>
                        <a:gd name="T37" fmla="*/ 12 h 373"/>
                        <a:gd name="T38" fmla="*/ 7 w 405"/>
                        <a:gd name="T39" fmla="*/ 13 h 373"/>
                        <a:gd name="T40" fmla="*/ 9 w 405"/>
                        <a:gd name="T41" fmla="*/ 14 h 373"/>
                        <a:gd name="T42" fmla="*/ 10 w 405"/>
                        <a:gd name="T43" fmla="*/ 14 h 373"/>
                        <a:gd name="T44" fmla="*/ 13 w 405"/>
                        <a:gd name="T45" fmla="*/ 15 h 373"/>
                        <a:gd name="T46" fmla="*/ 14 w 405"/>
                        <a:gd name="T47" fmla="*/ 15 h 373"/>
                        <a:gd name="T48" fmla="*/ 15 w 405"/>
                        <a:gd name="T49" fmla="*/ 14 h 373"/>
                        <a:gd name="T50" fmla="*/ 15 w 405"/>
                        <a:gd name="T51" fmla="*/ 13 h 373"/>
                        <a:gd name="T52" fmla="*/ 15 w 405"/>
                        <a:gd name="T53" fmla="*/ 12 h 373"/>
                        <a:gd name="T54" fmla="*/ 15 w 405"/>
                        <a:gd name="T55" fmla="*/ 11 h 373"/>
                        <a:gd name="T56" fmla="*/ 14 w 405"/>
                        <a:gd name="T57" fmla="*/ 9 h 373"/>
                        <a:gd name="T58" fmla="*/ 15 w 405"/>
                        <a:gd name="T59" fmla="*/ 9 h 373"/>
                        <a:gd name="T60" fmla="*/ 15 w 405"/>
                        <a:gd name="T61" fmla="*/ 8 h 373"/>
                        <a:gd name="T62" fmla="*/ 15 w 405"/>
                        <a:gd name="T63" fmla="*/ 6 h 373"/>
                        <a:gd name="T64" fmla="*/ 15 w 405"/>
                        <a:gd name="T65" fmla="*/ 6 h 373"/>
                        <a:gd name="T66" fmla="*/ 16 w 405"/>
                        <a:gd name="T67" fmla="*/ 4 h 373"/>
                        <a:gd name="T68" fmla="*/ 15 w 405"/>
                        <a:gd name="T69" fmla="*/ 4 h 373"/>
                        <a:gd name="T70" fmla="*/ 16 w 405"/>
                        <a:gd name="T71" fmla="*/ 3 h 373"/>
                        <a:gd name="T72" fmla="*/ 15 w 405"/>
                        <a:gd name="T73" fmla="*/ 3 h 373"/>
                        <a:gd name="T74" fmla="*/ 15 w 405"/>
                        <a:gd name="T75" fmla="*/ 1 h 373"/>
                        <a:gd name="T76" fmla="*/ 14 w 405"/>
                        <a:gd name="T77" fmla="*/ 0 h 373"/>
                        <a:gd name="T78" fmla="*/ 13 w 405"/>
                        <a:gd name="T79" fmla="*/ 0 h 373"/>
                        <a:gd name="T80" fmla="*/ 12 w 405"/>
                        <a:gd name="T81" fmla="*/ 0 h 373"/>
                        <a:gd name="T82" fmla="*/ 12 w 405"/>
                        <a:gd name="T83" fmla="*/ 1 h 373"/>
                        <a:gd name="T84" fmla="*/ 11 w 405"/>
                        <a:gd name="T85" fmla="*/ 3 h 373"/>
                        <a:gd name="T86" fmla="*/ 9 w 405"/>
                        <a:gd name="T87" fmla="*/ 4 h 373"/>
                        <a:gd name="T88" fmla="*/ 10 w 405"/>
                        <a:gd name="T89" fmla="*/ 3 h 373"/>
                        <a:gd name="T90" fmla="*/ 11 w 405"/>
                        <a:gd name="T91" fmla="*/ 2 h 373"/>
                        <a:gd name="T92" fmla="*/ 12 w 405"/>
                        <a:gd name="T93" fmla="*/ 0 h 373"/>
                        <a:gd name="T94" fmla="*/ 4 w 405"/>
                        <a:gd name="T95" fmla="*/ 0 h 373"/>
                        <a:gd name="T96" fmla="*/ 3 w 405"/>
                        <a:gd name="T97" fmla="*/ 1 h 373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w 405"/>
                        <a:gd name="T148" fmla="*/ 0 h 373"/>
                        <a:gd name="T149" fmla="*/ 405 w 405"/>
                        <a:gd name="T150" fmla="*/ 373 h 373"/>
                      </a:gdLst>
                      <a:ahLst/>
                      <a:cxnLst>
                        <a:cxn ang="T98">
                          <a:pos x="T0" y="T1"/>
                        </a:cxn>
                        <a:cxn ang="T99">
                          <a:pos x="T2" y="T3"/>
                        </a:cxn>
                        <a:cxn ang="T100">
                          <a:pos x="T4" y="T5"/>
                        </a:cxn>
                        <a:cxn ang="T101">
                          <a:pos x="T6" y="T7"/>
                        </a:cxn>
                        <a:cxn ang="T102">
                          <a:pos x="T8" y="T9"/>
                        </a:cxn>
                        <a:cxn ang="T103">
                          <a:pos x="T10" y="T11"/>
                        </a:cxn>
                        <a:cxn ang="T104">
                          <a:pos x="T12" y="T13"/>
                        </a:cxn>
                        <a:cxn ang="T105">
                          <a:pos x="T14" y="T15"/>
                        </a:cxn>
                        <a:cxn ang="T106">
                          <a:pos x="T16" y="T17"/>
                        </a:cxn>
                        <a:cxn ang="T107">
                          <a:pos x="T18" y="T19"/>
                        </a:cxn>
                        <a:cxn ang="T108">
                          <a:pos x="T20" y="T21"/>
                        </a:cxn>
                        <a:cxn ang="T109">
                          <a:pos x="T22" y="T23"/>
                        </a:cxn>
                        <a:cxn ang="T110">
                          <a:pos x="T24" y="T25"/>
                        </a:cxn>
                        <a:cxn ang="T111">
                          <a:pos x="T26" y="T27"/>
                        </a:cxn>
                        <a:cxn ang="T112">
                          <a:pos x="T28" y="T29"/>
                        </a:cxn>
                        <a:cxn ang="T113">
                          <a:pos x="T30" y="T31"/>
                        </a:cxn>
                        <a:cxn ang="T114">
                          <a:pos x="T32" y="T33"/>
                        </a:cxn>
                        <a:cxn ang="T115">
                          <a:pos x="T34" y="T35"/>
                        </a:cxn>
                        <a:cxn ang="T116">
                          <a:pos x="T36" y="T37"/>
                        </a:cxn>
                        <a:cxn ang="T117">
                          <a:pos x="T38" y="T39"/>
                        </a:cxn>
                        <a:cxn ang="T118">
                          <a:pos x="T40" y="T41"/>
                        </a:cxn>
                        <a:cxn ang="T119">
                          <a:pos x="T42" y="T43"/>
                        </a:cxn>
                        <a:cxn ang="T120">
                          <a:pos x="T44" y="T45"/>
                        </a:cxn>
                        <a:cxn ang="T121">
                          <a:pos x="T46" y="T47"/>
                        </a:cxn>
                        <a:cxn ang="T122">
                          <a:pos x="T48" y="T49"/>
                        </a:cxn>
                        <a:cxn ang="T123">
                          <a:pos x="T50" y="T51"/>
                        </a:cxn>
                        <a:cxn ang="T124">
                          <a:pos x="T52" y="T53"/>
                        </a:cxn>
                        <a:cxn ang="T125">
                          <a:pos x="T54" y="T55"/>
                        </a:cxn>
                        <a:cxn ang="T126">
                          <a:pos x="T56" y="T57"/>
                        </a:cxn>
                        <a:cxn ang="T127">
                          <a:pos x="T58" y="T59"/>
                        </a:cxn>
                        <a:cxn ang="T128">
                          <a:pos x="T60" y="T61"/>
                        </a:cxn>
                        <a:cxn ang="T129">
                          <a:pos x="T62" y="T63"/>
                        </a:cxn>
                        <a:cxn ang="T130">
                          <a:pos x="T64" y="T65"/>
                        </a:cxn>
                        <a:cxn ang="T131">
                          <a:pos x="T66" y="T67"/>
                        </a:cxn>
                        <a:cxn ang="T132">
                          <a:pos x="T68" y="T69"/>
                        </a:cxn>
                        <a:cxn ang="T133">
                          <a:pos x="T70" y="T71"/>
                        </a:cxn>
                        <a:cxn ang="T134">
                          <a:pos x="T72" y="T73"/>
                        </a:cxn>
                        <a:cxn ang="T135">
                          <a:pos x="T74" y="T75"/>
                        </a:cxn>
                        <a:cxn ang="T136">
                          <a:pos x="T76" y="T77"/>
                        </a:cxn>
                        <a:cxn ang="T137">
                          <a:pos x="T78" y="T79"/>
                        </a:cxn>
                        <a:cxn ang="T138">
                          <a:pos x="T80" y="T81"/>
                        </a:cxn>
                        <a:cxn ang="T139">
                          <a:pos x="T82" y="T83"/>
                        </a:cxn>
                        <a:cxn ang="T140">
                          <a:pos x="T84" y="T85"/>
                        </a:cxn>
                        <a:cxn ang="T141">
                          <a:pos x="T86" y="T87"/>
                        </a:cxn>
                        <a:cxn ang="T142">
                          <a:pos x="T88" y="T89"/>
                        </a:cxn>
                        <a:cxn ang="T143">
                          <a:pos x="T90" y="T91"/>
                        </a:cxn>
                        <a:cxn ang="T144">
                          <a:pos x="T92" y="T93"/>
                        </a:cxn>
                        <a:cxn ang="T145">
                          <a:pos x="T94" y="T95"/>
                        </a:cxn>
                        <a:cxn ang="T146">
                          <a:pos x="T96" y="T97"/>
                        </a:cxn>
                      </a:cxnLst>
                      <a:rect l="T147" t="T148" r="T149" b="T150"/>
                      <a:pathLst>
                        <a:path w="405" h="373">
                          <a:moveTo>
                            <a:pt x="77" y="32"/>
                          </a:moveTo>
                          <a:lnTo>
                            <a:pt x="81" y="49"/>
                          </a:lnTo>
                          <a:lnTo>
                            <a:pt x="91" y="55"/>
                          </a:lnTo>
                          <a:lnTo>
                            <a:pt x="90" y="63"/>
                          </a:lnTo>
                          <a:lnTo>
                            <a:pt x="80" y="72"/>
                          </a:lnTo>
                          <a:lnTo>
                            <a:pt x="54" y="79"/>
                          </a:lnTo>
                          <a:lnTo>
                            <a:pt x="49" y="91"/>
                          </a:lnTo>
                          <a:lnTo>
                            <a:pt x="47" y="106"/>
                          </a:lnTo>
                          <a:lnTo>
                            <a:pt x="16" y="141"/>
                          </a:lnTo>
                          <a:lnTo>
                            <a:pt x="0" y="138"/>
                          </a:lnTo>
                          <a:lnTo>
                            <a:pt x="13" y="149"/>
                          </a:lnTo>
                          <a:lnTo>
                            <a:pt x="17" y="168"/>
                          </a:lnTo>
                          <a:lnTo>
                            <a:pt x="21" y="163"/>
                          </a:lnTo>
                          <a:lnTo>
                            <a:pt x="19" y="154"/>
                          </a:lnTo>
                          <a:lnTo>
                            <a:pt x="21" y="146"/>
                          </a:lnTo>
                          <a:lnTo>
                            <a:pt x="31" y="142"/>
                          </a:lnTo>
                          <a:lnTo>
                            <a:pt x="38" y="160"/>
                          </a:lnTo>
                          <a:lnTo>
                            <a:pt x="45" y="154"/>
                          </a:lnTo>
                          <a:lnTo>
                            <a:pt x="50" y="158"/>
                          </a:lnTo>
                          <a:lnTo>
                            <a:pt x="51" y="168"/>
                          </a:lnTo>
                          <a:lnTo>
                            <a:pt x="64" y="160"/>
                          </a:lnTo>
                          <a:lnTo>
                            <a:pt x="71" y="160"/>
                          </a:lnTo>
                          <a:lnTo>
                            <a:pt x="71" y="168"/>
                          </a:lnTo>
                          <a:lnTo>
                            <a:pt x="75" y="181"/>
                          </a:lnTo>
                          <a:lnTo>
                            <a:pt x="76" y="192"/>
                          </a:lnTo>
                          <a:lnTo>
                            <a:pt x="76" y="220"/>
                          </a:lnTo>
                          <a:lnTo>
                            <a:pt x="77" y="236"/>
                          </a:lnTo>
                          <a:lnTo>
                            <a:pt x="83" y="247"/>
                          </a:lnTo>
                          <a:lnTo>
                            <a:pt x="97" y="257"/>
                          </a:lnTo>
                          <a:lnTo>
                            <a:pt x="103" y="276"/>
                          </a:lnTo>
                          <a:lnTo>
                            <a:pt x="115" y="289"/>
                          </a:lnTo>
                          <a:lnTo>
                            <a:pt x="120" y="302"/>
                          </a:lnTo>
                          <a:lnTo>
                            <a:pt x="144" y="278"/>
                          </a:lnTo>
                          <a:lnTo>
                            <a:pt x="157" y="255"/>
                          </a:lnTo>
                          <a:lnTo>
                            <a:pt x="160" y="269"/>
                          </a:lnTo>
                          <a:lnTo>
                            <a:pt x="161" y="298"/>
                          </a:lnTo>
                          <a:lnTo>
                            <a:pt x="166" y="306"/>
                          </a:lnTo>
                          <a:lnTo>
                            <a:pt x="176" y="300"/>
                          </a:lnTo>
                          <a:lnTo>
                            <a:pt x="187" y="303"/>
                          </a:lnTo>
                          <a:lnTo>
                            <a:pt x="185" y="313"/>
                          </a:lnTo>
                          <a:lnTo>
                            <a:pt x="228" y="327"/>
                          </a:lnTo>
                          <a:lnTo>
                            <a:pt x="233" y="338"/>
                          </a:lnTo>
                          <a:lnTo>
                            <a:pt x="254" y="348"/>
                          </a:lnTo>
                          <a:lnTo>
                            <a:pt x="260" y="354"/>
                          </a:lnTo>
                          <a:lnTo>
                            <a:pt x="265" y="366"/>
                          </a:lnTo>
                          <a:lnTo>
                            <a:pt x="327" y="373"/>
                          </a:lnTo>
                          <a:lnTo>
                            <a:pt x="338" y="365"/>
                          </a:lnTo>
                          <a:lnTo>
                            <a:pt x="350" y="366"/>
                          </a:lnTo>
                          <a:lnTo>
                            <a:pt x="351" y="351"/>
                          </a:lnTo>
                          <a:lnTo>
                            <a:pt x="365" y="348"/>
                          </a:lnTo>
                          <a:lnTo>
                            <a:pt x="376" y="338"/>
                          </a:lnTo>
                          <a:lnTo>
                            <a:pt x="375" y="322"/>
                          </a:lnTo>
                          <a:lnTo>
                            <a:pt x="377" y="313"/>
                          </a:lnTo>
                          <a:lnTo>
                            <a:pt x="377" y="295"/>
                          </a:lnTo>
                          <a:lnTo>
                            <a:pt x="365" y="275"/>
                          </a:lnTo>
                          <a:lnTo>
                            <a:pt x="366" y="262"/>
                          </a:lnTo>
                          <a:lnTo>
                            <a:pt x="356" y="259"/>
                          </a:lnTo>
                          <a:lnTo>
                            <a:pt x="339" y="232"/>
                          </a:lnTo>
                          <a:lnTo>
                            <a:pt x="336" y="212"/>
                          </a:lnTo>
                          <a:lnTo>
                            <a:pt x="371" y="232"/>
                          </a:lnTo>
                          <a:lnTo>
                            <a:pt x="376" y="216"/>
                          </a:lnTo>
                          <a:lnTo>
                            <a:pt x="376" y="190"/>
                          </a:lnTo>
                          <a:lnTo>
                            <a:pt x="375" y="163"/>
                          </a:lnTo>
                          <a:lnTo>
                            <a:pt x="377" y="160"/>
                          </a:lnTo>
                          <a:lnTo>
                            <a:pt x="378" y="147"/>
                          </a:lnTo>
                          <a:lnTo>
                            <a:pt x="383" y="139"/>
                          </a:lnTo>
                          <a:lnTo>
                            <a:pt x="388" y="113"/>
                          </a:lnTo>
                          <a:lnTo>
                            <a:pt x="405" y="107"/>
                          </a:lnTo>
                          <a:lnTo>
                            <a:pt x="399" y="102"/>
                          </a:lnTo>
                          <a:lnTo>
                            <a:pt x="386" y="103"/>
                          </a:lnTo>
                          <a:lnTo>
                            <a:pt x="384" y="90"/>
                          </a:lnTo>
                          <a:lnTo>
                            <a:pt x="390" y="72"/>
                          </a:lnTo>
                          <a:lnTo>
                            <a:pt x="392" y="60"/>
                          </a:lnTo>
                          <a:lnTo>
                            <a:pt x="384" y="65"/>
                          </a:lnTo>
                          <a:lnTo>
                            <a:pt x="386" y="53"/>
                          </a:lnTo>
                          <a:lnTo>
                            <a:pt x="367" y="18"/>
                          </a:lnTo>
                          <a:lnTo>
                            <a:pt x="366" y="6"/>
                          </a:lnTo>
                          <a:lnTo>
                            <a:pt x="359" y="0"/>
                          </a:lnTo>
                          <a:lnTo>
                            <a:pt x="344" y="0"/>
                          </a:lnTo>
                          <a:lnTo>
                            <a:pt x="335" y="2"/>
                          </a:lnTo>
                          <a:lnTo>
                            <a:pt x="330" y="0"/>
                          </a:lnTo>
                          <a:lnTo>
                            <a:pt x="306" y="0"/>
                          </a:lnTo>
                          <a:lnTo>
                            <a:pt x="308" y="2"/>
                          </a:lnTo>
                          <a:lnTo>
                            <a:pt x="306" y="32"/>
                          </a:lnTo>
                          <a:lnTo>
                            <a:pt x="282" y="50"/>
                          </a:lnTo>
                          <a:lnTo>
                            <a:pt x="269" y="75"/>
                          </a:lnTo>
                          <a:lnTo>
                            <a:pt x="253" y="77"/>
                          </a:lnTo>
                          <a:lnTo>
                            <a:pt x="237" y="95"/>
                          </a:lnTo>
                          <a:lnTo>
                            <a:pt x="223" y="92"/>
                          </a:lnTo>
                          <a:lnTo>
                            <a:pt x="255" y="66"/>
                          </a:lnTo>
                          <a:lnTo>
                            <a:pt x="265" y="68"/>
                          </a:lnTo>
                          <a:lnTo>
                            <a:pt x="265" y="45"/>
                          </a:lnTo>
                          <a:lnTo>
                            <a:pt x="290" y="33"/>
                          </a:lnTo>
                          <a:lnTo>
                            <a:pt x="291" y="2"/>
                          </a:lnTo>
                          <a:lnTo>
                            <a:pt x="290" y="0"/>
                          </a:lnTo>
                          <a:lnTo>
                            <a:pt x="97" y="0"/>
                          </a:lnTo>
                          <a:lnTo>
                            <a:pt x="83" y="15"/>
                          </a:lnTo>
                          <a:lnTo>
                            <a:pt x="77" y="32"/>
                          </a:ln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6350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txBody>
                    <a:bodyPr/>
                    <a:lstStyle/>
                    <a:p>
                      <a:endParaRPr lang="ru-RU" sz="1400"/>
                    </a:p>
                  </p:txBody>
                </p:sp>
                <p:sp>
                  <p:nvSpPr>
                    <p:cNvPr id="514" name="Freeform 180"/>
                    <p:cNvSpPr>
                      <a:spLocks/>
                    </p:cNvSpPr>
                    <p:nvPr/>
                  </p:nvSpPr>
                  <p:spPr bwMode="gray">
                    <a:xfrm>
                      <a:off x="4473" y="1348"/>
                      <a:ext cx="44" cy="25"/>
                    </a:xfrm>
                    <a:custGeom>
                      <a:avLst/>
                      <a:gdLst>
                        <a:gd name="T0" fmla="*/ 3 w 218"/>
                        <a:gd name="T1" fmla="*/ 4 h 125"/>
                        <a:gd name="T2" fmla="*/ 3 w 218"/>
                        <a:gd name="T3" fmla="*/ 4 h 125"/>
                        <a:gd name="T4" fmla="*/ 3 w 218"/>
                        <a:gd name="T5" fmla="*/ 4 h 125"/>
                        <a:gd name="T6" fmla="*/ 3 w 218"/>
                        <a:gd name="T7" fmla="*/ 4 h 125"/>
                        <a:gd name="T8" fmla="*/ 2 w 218"/>
                        <a:gd name="T9" fmla="*/ 5 h 125"/>
                        <a:gd name="T10" fmla="*/ 2 w 218"/>
                        <a:gd name="T11" fmla="*/ 5 h 125"/>
                        <a:gd name="T12" fmla="*/ 1 w 218"/>
                        <a:gd name="T13" fmla="*/ 5 h 125"/>
                        <a:gd name="T14" fmla="*/ 1 w 218"/>
                        <a:gd name="T15" fmla="*/ 5 h 125"/>
                        <a:gd name="T16" fmla="*/ 1 w 218"/>
                        <a:gd name="T17" fmla="*/ 5 h 125"/>
                        <a:gd name="T18" fmla="*/ 0 w 218"/>
                        <a:gd name="T19" fmla="*/ 4 h 125"/>
                        <a:gd name="T20" fmla="*/ 0 w 218"/>
                        <a:gd name="T21" fmla="*/ 4 h 125"/>
                        <a:gd name="T22" fmla="*/ 0 w 218"/>
                        <a:gd name="T23" fmla="*/ 3 h 125"/>
                        <a:gd name="T24" fmla="*/ 0 w 218"/>
                        <a:gd name="T25" fmla="*/ 3 h 125"/>
                        <a:gd name="T26" fmla="*/ 1 w 218"/>
                        <a:gd name="T27" fmla="*/ 2 h 125"/>
                        <a:gd name="T28" fmla="*/ 1 w 218"/>
                        <a:gd name="T29" fmla="*/ 2 h 125"/>
                        <a:gd name="T30" fmla="*/ 2 w 218"/>
                        <a:gd name="T31" fmla="*/ 1 h 125"/>
                        <a:gd name="T32" fmla="*/ 2 w 218"/>
                        <a:gd name="T33" fmla="*/ 1 h 125"/>
                        <a:gd name="T34" fmla="*/ 3 w 218"/>
                        <a:gd name="T35" fmla="*/ 1 h 125"/>
                        <a:gd name="T36" fmla="*/ 3 w 218"/>
                        <a:gd name="T37" fmla="*/ 0 h 125"/>
                        <a:gd name="T38" fmla="*/ 3 w 218"/>
                        <a:gd name="T39" fmla="*/ 0 h 125"/>
                        <a:gd name="T40" fmla="*/ 3 w 218"/>
                        <a:gd name="T41" fmla="*/ 0 h 125"/>
                        <a:gd name="T42" fmla="*/ 3 w 218"/>
                        <a:gd name="T43" fmla="*/ 0 h 125"/>
                        <a:gd name="T44" fmla="*/ 3 w 218"/>
                        <a:gd name="T45" fmla="*/ 0 h 125"/>
                        <a:gd name="T46" fmla="*/ 3 w 218"/>
                        <a:gd name="T47" fmla="*/ 0 h 125"/>
                        <a:gd name="T48" fmla="*/ 4 w 218"/>
                        <a:gd name="T49" fmla="*/ 0 h 125"/>
                        <a:gd name="T50" fmla="*/ 4 w 218"/>
                        <a:gd name="T51" fmla="*/ 0 h 125"/>
                        <a:gd name="T52" fmla="*/ 5 w 218"/>
                        <a:gd name="T53" fmla="*/ 0 h 125"/>
                        <a:gd name="T54" fmla="*/ 5 w 218"/>
                        <a:gd name="T55" fmla="*/ 0 h 125"/>
                        <a:gd name="T56" fmla="*/ 5 w 218"/>
                        <a:gd name="T57" fmla="*/ 0 h 125"/>
                        <a:gd name="T58" fmla="*/ 5 w 218"/>
                        <a:gd name="T59" fmla="*/ 0 h 125"/>
                        <a:gd name="T60" fmla="*/ 6 w 218"/>
                        <a:gd name="T61" fmla="*/ 0 h 125"/>
                        <a:gd name="T62" fmla="*/ 7 w 218"/>
                        <a:gd name="T63" fmla="*/ 1 h 125"/>
                        <a:gd name="T64" fmla="*/ 8 w 218"/>
                        <a:gd name="T65" fmla="*/ 1 h 125"/>
                        <a:gd name="T66" fmla="*/ 8 w 218"/>
                        <a:gd name="T67" fmla="*/ 1 h 125"/>
                        <a:gd name="T68" fmla="*/ 8 w 218"/>
                        <a:gd name="T69" fmla="*/ 1 h 125"/>
                        <a:gd name="T70" fmla="*/ 9 w 218"/>
                        <a:gd name="T71" fmla="*/ 2 h 125"/>
                        <a:gd name="T72" fmla="*/ 9 w 218"/>
                        <a:gd name="T73" fmla="*/ 3 h 125"/>
                        <a:gd name="T74" fmla="*/ 9 w 218"/>
                        <a:gd name="T75" fmla="*/ 3 h 125"/>
                        <a:gd name="T76" fmla="*/ 8 w 218"/>
                        <a:gd name="T77" fmla="*/ 4 h 125"/>
                        <a:gd name="T78" fmla="*/ 6 w 218"/>
                        <a:gd name="T79" fmla="*/ 4 h 125"/>
                        <a:gd name="T80" fmla="*/ 5 w 218"/>
                        <a:gd name="T81" fmla="*/ 5 h 125"/>
                        <a:gd name="T82" fmla="*/ 5 w 218"/>
                        <a:gd name="T83" fmla="*/ 4 h 125"/>
                        <a:gd name="T84" fmla="*/ 4 w 218"/>
                        <a:gd name="T85" fmla="*/ 4 h 125"/>
                        <a:gd name="T86" fmla="*/ 3 w 218"/>
                        <a:gd name="T87" fmla="*/ 4 h 125"/>
                        <a:gd name="T88" fmla="*/ 3 w 218"/>
                        <a:gd name="T89" fmla="*/ 4 h 125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w 218"/>
                        <a:gd name="T136" fmla="*/ 0 h 125"/>
                        <a:gd name="T137" fmla="*/ 218 w 218"/>
                        <a:gd name="T138" fmla="*/ 125 h 125"/>
                      </a:gdLst>
                      <a:ahLst/>
                      <a:cxnLst>
                        <a:cxn ang="T90">
                          <a:pos x="T0" y="T1"/>
                        </a:cxn>
                        <a:cxn ang="T91">
                          <a:pos x="T2" y="T3"/>
                        </a:cxn>
                        <a:cxn ang="T92">
                          <a:pos x="T4" y="T5"/>
                        </a:cxn>
                        <a:cxn ang="T93">
                          <a:pos x="T6" y="T7"/>
                        </a:cxn>
                        <a:cxn ang="T94">
                          <a:pos x="T8" y="T9"/>
                        </a:cxn>
                        <a:cxn ang="T95">
                          <a:pos x="T10" y="T11"/>
                        </a:cxn>
                        <a:cxn ang="T96">
                          <a:pos x="T12" y="T13"/>
                        </a:cxn>
                        <a:cxn ang="T97">
                          <a:pos x="T14" y="T15"/>
                        </a:cxn>
                        <a:cxn ang="T98">
                          <a:pos x="T16" y="T17"/>
                        </a:cxn>
                        <a:cxn ang="T99">
                          <a:pos x="T18" y="T19"/>
                        </a:cxn>
                        <a:cxn ang="T100">
                          <a:pos x="T20" y="T21"/>
                        </a:cxn>
                        <a:cxn ang="T101">
                          <a:pos x="T22" y="T23"/>
                        </a:cxn>
                        <a:cxn ang="T102">
                          <a:pos x="T24" y="T25"/>
                        </a:cxn>
                        <a:cxn ang="T103">
                          <a:pos x="T26" y="T27"/>
                        </a:cxn>
                        <a:cxn ang="T104">
                          <a:pos x="T28" y="T29"/>
                        </a:cxn>
                        <a:cxn ang="T105">
                          <a:pos x="T30" y="T31"/>
                        </a:cxn>
                        <a:cxn ang="T106">
                          <a:pos x="T32" y="T33"/>
                        </a:cxn>
                        <a:cxn ang="T107">
                          <a:pos x="T34" y="T35"/>
                        </a:cxn>
                        <a:cxn ang="T108">
                          <a:pos x="T36" y="T37"/>
                        </a:cxn>
                        <a:cxn ang="T109">
                          <a:pos x="T38" y="T39"/>
                        </a:cxn>
                        <a:cxn ang="T110">
                          <a:pos x="T40" y="T41"/>
                        </a:cxn>
                        <a:cxn ang="T111">
                          <a:pos x="T42" y="T43"/>
                        </a:cxn>
                        <a:cxn ang="T112">
                          <a:pos x="T44" y="T45"/>
                        </a:cxn>
                        <a:cxn ang="T113">
                          <a:pos x="T46" y="T47"/>
                        </a:cxn>
                        <a:cxn ang="T114">
                          <a:pos x="T48" y="T49"/>
                        </a:cxn>
                        <a:cxn ang="T115">
                          <a:pos x="T50" y="T51"/>
                        </a:cxn>
                        <a:cxn ang="T116">
                          <a:pos x="T52" y="T53"/>
                        </a:cxn>
                        <a:cxn ang="T117">
                          <a:pos x="T54" y="T55"/>
                        </a:cxn>
                        <a:cxn ang="T118">
                          <a:pos x="T56" y="T57"/>
                        </a:cxn>
                        <a:cxn ang="T119">
                          <a:pos x="T58" y="T59"/>
                        </a:cxn>
                        <a:cxn ang="T120">
                          <a:pos x="T60" y="T61"/>
                        </a:cxn>
                        <a:cxn ang="T121">
                          <a:pos x="T62" y="T63"/>
                        </a:cxn>
                        <a:cxn ang="T122">
                          <a:pos x="T64" y="T65"/>
                        </a:cxn>
                        <a:cxn ang="T123">
                          <a:pos x="T66" y="T67"/>
                        </a:cxn>
                        <a:cxn ang="T124">
                          <a:pos x="T68" y="T69"/>
                        </a:cxn>
                        <a:cxn ang="T125">
                          <a:pos x="T70" y="T71"/>
                        </a:cxn>
                        <a:cxn ang="T126">
                          <a:pos x="T72" y="T73"/>
                        </a:cxn>
                        <a:cxn ang="T127">
                          <a:pos x="T74" y="T75"/>
                        </a:cxn>
                        <a:cxn ang="T128">
                          <a:pos x="T76" y="T77"/>
                        </a:cxn>
                        <a:cxn ang="T129">
                          <a:pos x="T78" y="T79"/>
                        </a:cxn>
                        <a:cxn ang="T130">
                          <a:pos x="T80" y="T81"/>
                        </a:cxn>
                        <a:cxn ang="T131">
                          <a:pos x="T82" y="T83"/>
                        </a:cxn>
                        <a:cxn ang="T132">
                          <a:pos x="T84" y="T85"/>
                        </a:cxn>
                        <a:cxn ang="T133">
                          <a:pos x="T86" y="T87"/>
                        </a:cxn>
                        <a:cxn ang="T134">
                          <a:pos x="T88" y="T89"/>
                        </a:cxn>
                      </a:cxnLst>
                      <a:rect l="T135" t="T136" r="T137" b="T138"/>
                      <a:pathLst>
                        <a:path w="218" h="125">
                          <a:moveTo>
                            <a:pt x="82" y="99"/>
                          </a:moveTo>
                          <a:lnTo>
                            <a:pt x="78" y="98"/>
                          </a:lnTo>
                          <a:lnTo>
                            <a:pt x="69" y="103"/>
                          </a:lnTo>
                          <a:lnTo>
                            <a:pt x="63" y="110"/>
                          </a:lnTo>
                          <a:lnTo>
                            <a:pt x="60" y="119"/>
                          </a:lnTo>
                          <a:lnTo>
                            <a:pt x="38" y="121"/>
                          </a:lnTo>
                          <a:lnTo>
                            <a:pt x="36" y="118"/>
                          </a:lnTo>
                          <a:lnTo>
                            <a:pt x="16" y="125"/>
                          </a:lnTo>
                          <a:lnTo>
                            <a:pt x="15" y="116"/>
                          </a:lnTo>
                          <a:lnTo>
                            <a:pt x="4" y="100"/>
                          </a:lnTo>
                          <a:lnTo>
                            <a:pt x="0" y="91"/>
                          </a:lnTo>
                          <a:lnTo>
                            <a:pt x="4" y="78"/>
                          </a:lnTo>
                          <a:lnTo>
                            <a:pt x="12" y="72"/>
                          </a:lnTo>
                          <a:lnTo>
                            <a:pt x="16" y="60"/>
                          </a:lnTo>
                          <a:lnTo>
                            <a:pt x="36" y="43"/>
                          </a:lnTo>
                          <a:lnTo>
                            <a:pt x="42" y="33"/>
                          </a:lnTo>
                          <a:lnTo>
                            <a:pt x="55" y="19"/>
                          </a:lnTo>
                          <a:lnTo>
                            <a:pt x="63" y="19"/>
                          </a:lnTo>
                          <a:lnTo>
                            <a:pt x="66" y="10"/>
                          </a:lnTo>
                          <a:lnTo>
                            <a:pt x="82" y="5"/>
                          </a:lnTo>
                          <a:lnTo>
                            <a:pt x="82" y="3"/>
                          </a:lnTo>
                          <a:lnTo>
                            <a:pt x="82" y="5"/>
                          </a:lnTo>
                          <a:lnTo>
                            <a:pt x="84" y="3"/>
                          </a:lnTo>
                          <a:lnTo>
                            <a:pt x="84" y="5"/>
                          </a:lnTo>
                          <a:lnTo>
                            <a:pt x="90" y="6"/>
                          </a:lnTo>
                          <a:lnTo>
                            <a:pt x="101" y="1"/>
                          </a:lnTo>
                          <a:lnTo>
                            <a:pt x="114" y="10"/>
                          </a:lnTo>
                          <a:lnTo>
                            <a:pt x="127" y="1"/>
                          </a:lnTo>
                          <a:lnTo>
                            <a:pt x="133" y="3"/>
                          </a:lnTo>
                          <a:lnTo>
                            <a:pt x="135" y="0"/>
                          </a:lnTo>
                          <a:lnTo>
                            <a:pt x="156" y="11"/>
                          </a:lnTo>
                          <a:lnTo>
                            <a:pt x="184" y="19"/>
                          </a:lnTo>
                          <a:lnTo>
                            <a:pt x="188" y="24"/>
                          </a:lnTo>
                          <a:lnTo>
                            <a:pt x="186" y="28"/>
                          </a:lnTo>
                          <a:lnTo>
                            <a:pt x="186" y="32"/>
                          </a:lnTo>
                          <a:lnTo>
                            <a:pt x="214" y="55"/>
                          </a:lnTo>
                          <a:lnTo>
                            <a:pt x="218" y="67"/>
                          </a:lnTo>
                          <a:lnTo>
                            <a:pt x="214" y="77"/>
                          </a:lnTo>
                          <a:lnTo>
                            <a:pt x="193" y="91"/>
                          </a:lnTo>
                          <a:lnTo>
                            <a:pt x="143" y="107"/>
                          </a:lnTo>
                          <a:lnTo>
                            <a:pt x="133" y="113"/>
                          </a:lnTo>
                          <a:lnTo>
                            <a:pt x="113" y="109"/>
                          </a:lnTo>
                          <a:lnTo>
                            <a:pt x="107" y="104"/>
                          </a:lnTo>
                          <a:lnTo>
                            <a:pt x="82" y="100"/>
                          </a:lnTo>
                          <a:lnTo>
                            <a:pt x="82" y="99"/>
                          </a:ln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6350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txBody>
                    <a:bodyPr/>
                    <a:lstStyle/>
                    <a:p>
                      <a:endParaRPr lang="ru-RU" sz="1400"/>
                    </a:p>
                  </p:txBody>
                </p:sp>
              </p:grpSp>
              <p:sp>
                <p:nvSpPr>
                  <p:cNvPr id="499" name="Freeform 181"/>
                  <p:cNvSpPr>
                    <a:spLocks/>
                  </p:cNvSpPr>
                  <p:nvPr/>
                </p:nvSpPr>
                <p:spPr bwMode="gray">
                  <a:xfrm>
                    <a:off x="4071" y="1777"/>
                    <a:ext cx="34" cy="144"/>
                  </a:xfrm>
                  <a:custGeom>
                    <a:avLst/>
                    <a:gdLst>
                      <a:gd name="T0" fmla="*/ 2 w 170"/>
                      <a:gd name="T1" fmla="*/ 0 h 721"/>
                      <a:gd name="T2" fmla="*/ 3 w 170"/>
                      <a:gd name="T3" fmla="*/ 1 h 721"/>
                      <a:gd name="T4" fmla="*/ 3 w 170"/>
                      <a:gd name="T5" fmla="*/ 3 h 721"/>
                      <a:gd name="T6" fmla="*/ 4 w 170"/>
                      <a:gd name="T7" fmla="*/ 6 h 721"/>
                      <a:gd name="T8" fmla="*/ 4 w 170"/>
                      <a:gd name="T9" fmla="*/ 7 h 721"/>
                      <a:gd name="T10" fmla="*/ 3 w 170"/>
                      <a:gd name="T11" fmla="*/ 8 h 721"/>
                      <a:gd name="T12" fmla="*/ 4 w 170"/>
                      <a:gd name="T13" fmla="*/ 10 h 721"/>
                      <a:gd name="T14" fmla="*/ 4 w 170"/>
                      <a:gd name="T15" fmla="*/ 10 h 721"/>
                      <a:gd name="T16" fmla="*/ 4 w 170"/>
                      <a:gd name="T17" fmla="*/ 12 h 721"/>
                      <a:gd name="T18" fmla="*/ 5 w 170"/>
                      <a:gd name="T19" fmla="*/ 14 h 721"/>
                      <a:gd name="T20" fmla="*/ 6 w 170"/>
                      <a:gd name="T21" fmla="*/ 17 h 721"/>
                      <a:gd name="T22" fmla="*/ 6 w 170"/>
                      <a:gd name="T23" fmla="*/ 18 h 721"/>
                      <a:gd name="T24" fmla="*/ 7 w 170"/>
                      <a:gd name="T25" fmla="*/ 19 h 721"/>
                      <a:gd name="T26" fmla="*/ 6 w 170"/>
                      <a:gd name="T27" fmla="*/ 19 h 721"/>
                      <a:gd name="T28" fmla="*/ 5 w 170"/>
                      <a:gd name="T29" fmla="*/ 18 h 721"/>
                      <a:gd name="T30" fmla="*/ 4 w 170"/>
                      <a:gd name="T31" fmla="*/ 18 h 721"/>
                      <a:gd name="T32" fmla="*/ 3 w 170"/>
                      <a:gd name="T33" fmla="*/ 19 h 721"/>
                      <a:gd name="T34" fmla="*/ 3 w 170"/>
                      <a:gd name="T35" fmla="*/ 20 h 721"/>
                      <a:gd name="T36" fmla="*/ 2 w 170"/>
                      <a:gd name="T37" fmla="*/ 23 h 721"/>
                      <a:gd name="T38" fmla="*/ 2 w 170"/>
                      <a:gd name="T39" fmla="*/ 24 h 721"/>
                      <a:gd name="T40" fmla="*/ 3 w 170"/>
                      <a:gd name="T41" fmla="*/ 25 h 721"/>
                      <a:gd name="T42" fmla="*/ 4 w 170"/>
                      <a:gd name="T43" fmla="*/ 26 h 721"/>
                      <a:gd name="T44" fmla="*/ 4 w 170"/>
                      <a:gd name="T45" fmla="*/ 26 h 721"/>
                      <a:gd name="T46" fmla="*/ 4 w 170"/>
                      <a:gd name="T47" fmla="*/ 27 h 721"/>
                      <a:gd name="T48" fmla="*/ 4 w 170"/>
                      <a:gd name="T49" fmla="*/ 28 h 721"/>
                      <a:gd name="T50" fmla="*/ 3 w 170"/>
                      <a:gd name="T51" fmla="*/ 26 h 721"/>
                      <a:gd name="T52" fmla="*/ 2 w 170"/>
                      <a:gd name="T53" fmla="*/ 27 h 721"/>
                      <a:gd name="T54" fmla="*/ 1 w 170"/>
                      <a:gd name="T55" fmla="*/ 29 h 721"/>
                      <a:gd name="T56" fmla="*/ 1 w 170"/>
                      <a:gd name="T57" fmla="*/ 28 h 721"/>
                      <a:gd name="T58" fmla="*/ 1 w 170"/>
                      <a:gd name="T59" fmla="*/ 25 h 721"/>
                      <a:gd name="T60" fmla="*/ 1 w 170"/>
                      <a:gd name="T61" fmla="*/ 22 h 721"/>
                      <a:gd name="T62" fmla="*/ 1 w 170"/>
                      <a:gd name="T63" fmla="*/ 21 h 721"/>
                      <a:gd name="T64" fmla="*/ 1 w 170"/>
                      <a:gd name="T65" fmla="*/ 19 h 721"/>
                      <a:gd name="T66" fmla="*/ 1 w 170"/>
                      <a:gd name="T67" fmla="*/ 17 h 721"/>
                      <a:gd name="T68" fmla="*/ 1 w 170"/>
                      <a:gd name="T69" fmla="*/ 16 h 721"/>
                      <a:gd name="T70" fmla="*/ 1 w 170"/>
                      <a:gd name="T71" fmla="*/ 15 h 721"/>
                      <a:gd name="T72" fmla="*/ 1 w 170"/>
                      <a:gd name="T73" fmla="*/ 14 h 721"/>
                      <a:gd name="T74" fmla="*/ 1 w 170"/>
                      <a:gd name="T75" fmla="*/ 12 h 721"/>
                      <a:gd name="T76" fmla="*/ 1 w 170"/>
                      <a:gd name="T77" fmla="*/ 10 h 721"/>
                      <a:gd name="T78" fmla="*/ 0 w 170"/>
                      <a:gd name="T79" fmla="*/ 10 h 721"/>
                      <a:gd name="T80" fmla="*/ 0 w 170"/>
                      <a:gd name="T81" fmla="*/ 9 h 721"/>
                      <a:gd name="T82" fmla="*/ 0 w 170"/>
                      <a:gd name="T83" fmla="*/ 8 h 721"/>
                      <a:gd name="T84" fmla="*/ 0 w 170"/>
                      <a:gd name="T85" fmla="*/ 5 h 721"/>
                      <a:gd name="T86" fmla="*/ 0 w 170"/>
                      <a:gd name="T87" fmla="*/ 4 h 721"/>
                      <a:gd name="T88" fmla="*/ 1 w 170"/>
                      <a:gd name="T89" fmla="*/ 3 h 721"/>
                      <a:gd name="T90" fmla="*/ 1 w 170"/>
                      <a:gd name="T91" fmla="*/ 3 h 721"/>
                      <a:gd name="T92" fmla="*/ 2 w 170"/>
                      <a:gd name="T93" fmla="*/ 3 h 721"/>
                      <a:gd name="T94" fmla="*/ 2 w 170"/>
                      <a:gd name="T95" fmla="*/ 3 h 721"/>
                      <a:gd name="T96" fmla="*/ 2 w 170"/>
                      <a:gd name="T97" fmla="*/ 3 h 721"/>
                      <a:gd name="T98" fmla="*/ 2 w 170"/>
                      <a:gd name="T99" fmla="*/ 1 h 721"/>
                      <a:gd name="T100" fmla="*/ 2 w 170"/>
                      <a:gd name="T101" fmla="*/ 0 h 721"/>
                      <a:gd name="T102" fmla="*/ 2 w 170"/>
                      <a:gd name="T103" fmla="*/ 0 h 721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w 170"/>
                      <a:gd name="T157" fmla="*/ 0 h 721"/>
                      <a:gd name="T158" fmla="*/ 170 w 170"/>
                      <a:gd name="T159" fmla="*/ 721 h 721"/>
                    </a:gdLst>
                    <a:ahLst/>
                    <a:cxnLst>
                      <a:cxn ang="T104">
                        <a:pos x="T0" y="T1"/>
                      </a:cxn>
                      <a:cxn ang="T105">
                        <a:pos x="T2" y="T3"/>
                      </a:cxn>
                      <a:cxn ang="T106">
                        <a:pos x="T4" y="T5"/>
                      </a:cxn>
                      <a:cxn ang="T107">
                        <a:pos x="T6" y="T7"/>
                      </a:cxn>
                      <a:cxn ang="T108">
                        <a:pos x="T8" y="T9"/>
                      </a:cxn>
                      <a:cxn ang="T109">
                        <a:pos x="T10" y="T11"/>
                      </a:cxn>
                      <a:cxn ang="T110">
                        <a:pos x="T12" y="T13"/>
                      </a:cxn>
                      <a:cxn ang="T111">
                        <a:pos x="T14" y="T15"/>
                      </a:cxn>
                      <a:cxn ang="T112">
                        <a:pos x="T16" y="T17"/>
                      </a:cxn>
                      <a:cxn ang="T113">
                        <a:pos x="T18" y="T19"/>
                      </a:cxn>
                      <a:cxn ang="T114">
                        <a:pos x="T20" y="T21"/>
                      </a:cxn>
                      <a:cxn ang="T115">
                        <a:pos x="T22" y="T23"/>
                      </a:cxn>
                      <a:cxn ang="T116">
                        <a:pos x="T24" y="T25"/>
                      </a:cxn>
                      <a:cxn ang="T117">
                        <a:pos x="T26" y="T27"/>
                      </a:cxn>
                      <a:cxn ang="T118">
                        <a:pos x="T28" y="T29"/>
                      </a:cxn>
                      <a:cxn ang="T119">
                        <a:pos x="T30" y="T31"/>
                      </a:cxn>
                      <a:cxn ang="T120">
                        <a:pos x="T32" y="T33"/>
                      </a:cxn>
                      <a:cxn ang="T121">
                        <a:pos x="T34" y="T35"/>
                      </a:cxn>
                      <a:cxn ang="T122">
                        <a:pos x="T36" y="T37"/>
                      </a:cxn>
                      <a:cxn ang="T123">
                        <a:pos x="T38" y="T39"/>
                      </a:cxn>
                      <a:cxn ang="T124">
                        <a:pos x="T40" y="T41"/>
                      </a:cxn>
                      <a:cxn ang="T125">
                        <a:pos x="T42" y="T43"/>
                      </a:cxn>
                      <a:cxn ang="T126">
                        <a:pos x="T44" y="T45"/>
                      </a:cxn>
                      <a:cxn ang="T127">
                        <a:pos x="T46" y="T47"/>
                      </a:cxn>
                      <a:cxn ang="T128">
                        <a:pos x="T48" y="T49"/>
                      </a:cxn>
                      <a:cxn ang="T129">
                        <a:pos x="T50" y="T51"/>
                      </a:cxn>
                      <a:cxn ang="T130">
                        <a:pos x="T52" y="T53"/>
                      </a:cxn>
                      <a:cxn ang="T131">
                        <a:pos x="T54" y="T55"/>
                      </a:cxn>
                      <a:cxn ang="T132">
                        <a:pos x="T56" y="T57"/>
                      </a:cxn>
                      <a:cxn ang="T133">
                        <a:pos x="T58" y="T59"/>
                      </a:cxn>
                      <a:cxn ang="T134">
                        <a:pos x="T60" y="T61"/>
                      </a:cxn>
                      <a:cxn ang="T135">
                        <a:pos x="T62" y="T63"/>
                      </a:cxn>
                      <a:cxn ang="T136">
                        <a:pos x="T64" y="T65"/>
                      </a:cxn>
                      <a:cxn ang="T137">
                        <a:pos x="T66" y="T67"/>
                      </a:cxn>
                      <a:cxn ang="T138">
                        <a:pos x="T68" y="T69"/>
                      </a:cxn>
                      <a:cxn ang="T139">
                        <a:pos x="T70" y="T71"/>
                      </a:cxn>
                      <a:cxn ang="T140">
                        <a:pos x="T72" y="T73"/>
                      </a:cxn>
                      <a:cxn ang="T141">
                        <a:pos x="T74" y="T75"/>
                      </a:cxn>
                      <a:cxn ang="T142">
                        <a:pos x="T76" y="T77"/>
                      </a:cxn>
                      <a:cxn ang="T143">
                        <a:pos x="T78" y="T79"/>
                      </a:cxn>
                      <a:cxn ang="T144">
                        <a:pos x="T80" y="T81"/>
                      </a:cxn>
                      <a:cxn ang="T145">
                        <a:pos x="T82" y="T83"/>
                      </a:cxn>
                      <a:cxn ang="T146">
                        <a:pos x="T84" y="T85"/>
                      </a:cxn>
                      <a:cxn ang="T147">
                        <a:pos x="T86" y="T87"/>
                      </a:cxn>
                      <a:cxn ang="T148">
                        <a:pos x="T88" y="T89"/>
                      </a:cxn>
                      <a:cxn ang="T149">
                        <a:pos x="T90" y="T91"/>
                      </a:cxn>
                      <a:cxn ang="T150">
                        <a:pos x="T92" y="T93"/>
                      </a:cxn>
                      <a:cxn ang="T151">
                        <a:pos x="T94" y="T95"/>
                      </a:cxn>
                      <a:cxn ang="T152">
                        <a:pos x="T96" y="T97"/>
                      </a:cxn>
                      <a:cxn ang="T153">
                        <a:pos x="T98" y="T99"/>
                      </a:cxn>
                      <a:cxn ang="T154">
                        <a:pos x="T100" y="T101"/>
                      </a:cxn>
                      <a:cxn ang="T155">
                        <a:pos x="T102" y="T103"/>
                      </a:cxn>
                    </a:cxnLst>
                    <a:rect l="T156" t="T157" r="T158" b="T159"/>
                    <a:pathLst>
                      <a:path w="170" h="721">
                        <a:moveTo>
                          <a:pt x="52" y="3"/>
                        </a:moveTo>
                        <a:lnTo>
                          <a:pt x="55" y="0"/>
                        </a:lnTo>
                        <a:lnTo>
                          <a:pt x="63" y="4"/>
                        </a:lnTo>
                        <a:lnTo>
                          <a:pt x="69" y="22"/>
                        </a:lnTo>
                        <a:lnTo>
                          <a:pt x="73" y="59"/>
                        </a:lnTo>
                        <a:lnTo>
                          <a:pt x="76" y="79"/>
                        </a:lnTo>
                        <a:lnTo>
                          <a:pt x="87" y="113"/>
                        </a:lnTo>
                        <a:lnTo>
                          <a:pt x="92" y="144"/>
                        </a:lnTo>
                        <a:lnTo>
                          <a:pt x="93" y="166"/>
                        </a:lnTo>
                        <a:lnTo>
                          <a:pt x="90" y="187"/>
                        </a:lnTo>
                        <a:lnTo>
                          <a:pt x="82" y="192"/>
                        </a:lnTo>
                        <a:lnTo>
                          <a:pt x="84" y="210"/>
                        </a:lnTo>
                        <a:lnTo>
                          <a:pt x="89" y="229"/>
                        </a:lnTo>
                        <a:lnTo>
                          <a:pt x="90" y="243"/>
                        </a:lnTo>
                        <a:lnTo>
                          <a:pt x="89" y="258"/>
                        </a:lnTo>
                        <a:lnTo>
                          <a:pt x="92" y="257"/>
                        </a:lnTo>
                        <a:lnTo>
                          <a:pt x="98" y="272"/>
                        </a:lnTo>
                        <a:lnTo>
                          <a:pt x="102" y="289"/>
                        </a:lnTo>
                        <a:lnTo>
                          <a:pt x="103" y="292"/>
                        </a:lnTo>
                        <a:lnTo>
                          <a:pt x="116" y="344"/>
                        </a:lnTo>
                        <a:lnTo>
                          <a:pt x="135" y="407"/>
                        </a:lnTo>
                        <a:lnTo>
                          <a:pt x="139" y="425"/>
                        </a:lnTo>
                        <a:lnTo>
                          <a:pt x="144" y="445"/>
                        </a:lnTo>
                        <a:lnTo>
                          <a:pt x="150" y="459"/>
                        </a:lnTo>
                        <a:lnTo>
                          <a:pt x="157" y="474"/>
                        </a:lnTo>
                        <a:lnTo>
                          <a:pt x="168" y="487"/>
                        </a:lnTo>
                        <a:lnTo>
                          <a:pt x="170" y="496"/>
                        </a:lnTo>
                        <a:lnTo>
                          <a:pt x="149" y="466"/>
                        </a:lnTo>
                        <a:lnTo>
                          <a:pt x="135" y="456"/>
                        </a:lnTo>
                        <a:lnTo>
                          <a:pt x="119" y="448"/>
                        </a:lnTo>
                        <a:lnTo>
                          <a:pt x="104" y="445"/>
                        </a:lnTo>
                        <a:lnTo>
                          <a:pt x="92" y="447"/>
                        </a:lnTo>
                        <a:lnTo>
                          <a:pt x="80" y="457"/>
                        </a:lnTo>
                        <a:lnTo>
                          <a:pt x="75" y="475"/>
                        </a:lnTo>
                        <a:lnTo>
                          <a:pt x="73" y="491"/>
                        </a:lnTo>
                        <a:lnTo>
                          <a:pt x="65" y="509"/>
                        </a:lnTo>
                        <a:lnTo>
                          <a:pt x="55" y="549"/>
                        </a:lnTo>
                        <a:lnTo>
                          <a:pt x="53" y="566"/>
                        </a:lnTo>
                        <a:lnTo>
                          <a:pt x="53" y="586"/>
                        </a:lnTo>
                        <a:lnTo>
                          <a:pt x="61" y="602"/>
                        </a:lnTo>
                        <a:lnTo>
                          <a:pt x="77" y="623"/>
                        </a:lnTo>
                        <a:lnTo>
                          <a:pt x="80" y="635"/>
                        </a:lnTo>
                        <a:lnTo>
                          <a:pt x="84" y="645"/>
                        </a:lnTo>
                        <a:lnTo>
                          <a:pt x="89" y="651"/>
                        </a:lnTo>
                        <a:lnTo>
                          <a:pt x="97" y="656"/>
                        </a:lnTo>
                        <a:lnTo>
                          <a:pt x="100" y="654"/>
                        </a:lnTo>
                        <a:lnTo>
                          <a:pt x="103" y="657"/>
                        </a:lnTo>
                        <a:lnTo>
                          <a:pt x="108" y="684"/>
                        </a:lnTo>
                        <a:lnTo>
                          <a:pt x="107" y="700"/>
                        </a:lnTo>
                        <a:lnTo>
                          <a:pt x="102" y="713"/>
                        </a:lnTo>
                        <a:lnTo>
                          <a:pt x="95" y="674"/>
                        </a:lnTo>
                        <a:lnTo>
                          <a:pt x="69" y="663"/>
                        </a:lnTo>
                        <a:lnTo>
                          <a:pt x="55" y="662"/>
                        </a:lnTo>
                        <a:lnTo>
                          <a:pt x="46" y="673"/>
                        </a:lnTo>
                        <a:lnTo>
                          <a:pt x="36" y="706"/>
                        </a:lnTo>
                        <a:lnTo>
                          <a:pt x="31" y="721"/>
                        </a:lnTo>
                        <a:lnTo>
                          <a:pt x="18" y="714"/>
                        </a:lnTo>
                        <a:lnTo>
                          <a:pt x="15" y="689"/>
                        </a:lnTo>
                        <a:lnTo>
                          <a:pt x="15" y="666"/>
                        </a:lnTo>
                        <a:lnTo>
                          <a:pt x="21" y="623"/>
                        </a:lnTo>
                        <a:lnTo>
                          <a:pt x="26" y="565"/>
                        </a:lnTo>
                        <a:lnTo>
                          <a:pt x="32" y="554"/>
                        </a:lnTo>
                        <a:lnTo>
                          <a:pt x="31" y="539"/>
                        </a:lnTo>
                        <a:lnTo>
                          <a:pt x="23" y="522"/>
                        </a:lnTo>
                        <a:lnTo>
                          <a:pt x="17" y="499"/>
                        </a:lnTo>
                        <a:lnTo>
                          <a:pt x="17" y="479"/>
                        </a:lnTo>
                        <a:lnTo>
                          <a:pt x="22" y="463"/>
                        </a:lnTo>
                        <a:lnTo>
                          <a:pt x="28" y="425"/>
                        </a:lnTo>
                        <a:lnTo>
                          <a:pt x="28" y="394"/>
                        </a:lnTo>
                        <a:lnTo>
                          <a:pt x="32" y="392"/>
                        </a:lnTo>
                        <a:lnTo>
                          <a:pt x="30" y="386"/>
                        </a:lnTo>
                        <a:lnTo>
                          <a:pt x="30" y="375"/>
                        </a:lnTo>
                        <a:lnTo>
                          <a:pt x="28" y="360"/>
                        </a:lnTo>
                        <a:lnTo>
                          <a:pt x="25" y="348"/>
                        </a:lnTo>
                        <a:lnTo>
                          <a:pt x="25" y="331"/>
                        </a:lnTo>
                        <a:lnTo>
                          <a:pt x="31" y="297"/>
                        </a:lnTo>
                        <a:lnTo>
                          <a:pt x="31" y="284"/>
                        </a:lnTo>
                        <a:lnTo>
                          <a:pt x="21" y="260"/>
                        </a:lnTo>
                        <a:lnTo>
                          <a:pt x="11" y="249"/>
                        </a:lnTo>
                        <a:lnTo>
                          <a:pt x="4" y="243"/>
                        </a:lnTo>
                        <a:lnTo>
                          <a:pt x="6" y="237"/>
                        </a:lnTo>
                        <a:lnTo>
                          <a:pt x="3" y="226"/>
                        </a:lnTo>
                        <a:lnTo>
                          <a:pt x="0" y="205"/>
                        </a:lnTo>
                        <a:lnTo>
                          <a:pt x="0" y="188"/>
                        </a:lnTo>
                        <a:lnTo>
                          <a:pt x="10" y="160"/>
                        </a:lnTo>
                        <a:lnTo>
                          <a:pt x="12" y="125"/>
                        </a:lnTo>
                        <a:lnTo>
                          <a:pt x="11" y="108"/>
                        </a:lnTo>
                        <a:lnTo>
                          <a:pt x="9" y="96"/>
                        </a:lnTo>
                        <a:lnTo>
                          <a:pt x="14" y="85"/>
                        </a:lnTo>
                        <a:lnTo>
                          <a:pt x="25" y="79"/>
                        </a:lnTo>
                        <a:lnTo>
                          <a:pt x="31" y="81"/>
                        </a:lnTo>
                        <a:lnTo>
                          <a:pt x="37" y="87"/>
                        </a:lnTo>
                        <a:lnTo>
                          <a:pt x="48" y="86"/>
                        </a:lnTo>
                        <a:lnTo>
                          <a:pt x="50" y="81"/>
                        </a:lnTo>
                        <a:lnTo>
                          <a:pt x="48" y="75"/>
                        </a:lnTo>
                        <a:lnTo>
                          <a:pt x="50" y="66"/>
                        </a:lnTo>
                        <a:lnTo>
                          <a:pt x="57" y="66"/>
                        </a:lnTo>
                        <a:lnTo>
                          <a:pt x="59" y="64"/>
                        </a:lnTo>
                        <a:lnTo>
                          <a:pt x="54" y="52"/>
                        </a:lnTo>
                        <a:lnTo>
                          <a:pt x="49" y="33"/>
                        </a:lnTo>
                        <a:lnTo>
                          <a:pt x="39" y="16"/>
                        </a:lnTo>
                        <a:lnTo>
                          <a:pt x="38" y="9"/>
                        </a:lnTo>
                        <a:lnTo>
                          <a:pt x="41" y="6"/>
                        </a:lnTo>
                        <a:lnTo>
                          <a:pt x="47" y="6"/>
                        </a:lnTo>
                        <a:lnTo>
                          <a:pt x="52" y="3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40000"/>
                      <a:lumOff val="60000"/>
                    </a:schemeClr>
                  </a:solidFill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00" name="Freeform 182"/>
                  <p:cNvSpPr>
                    <a:spLocks/>
                  </p:cNvSpPr>
                  <p:nvPr/>
                </p:nvSpPr>
                <p:spPr bwMode="gray">
                  <a:xfrm>
                    <a:off x="2817" y="1091"/>
                    <a:ext cx="1786" cy="901"/>
                  </a:xfrm>
                  <a:custGeom>
                    <a:avLst/>
                    <a:gdLst>
                      <a:gd name="T0" fmla="*/ 131 w 8931"/>
                      <a:gd name="T1" fmla="*/ 157 h 4504"/>
                      <a:gd name="T2" fmla="*/ 173 w 8931"/>
                      <a:gd name="T3" fmla="*/ 152 h 4504"/>
                      <a:gd name="T4" fmla="*/ 212 w 8931"/>
                      <a:gd name="T5" fmla="*/ 141 h 4504"/>
                      <a:gd name="T6" fmla="*/ 233 w 8931"/>
                      <a:gd name="T7" fmla="*/ 166 h 4504"/>
                      <a:gd name="T8" fmla="*/ 243 w 8931"/>
                      <a:gd name="T9" fmla="*/ 166 h 4504"/>
                      <a:gd name="T10" fmla="*/ 248 w 8931"/>
                      <a:gd name="T11" fmla="*/ 139 h 4504"/>
                      <a:gd name="T12" fmla="*/ 239 w 8931"/>
                      <a:gd name="T13" fmla="*/ 133 h 4504"/>
                      <a:gd name="T14" fmla="*/ 267 w 8931"/>
                      <a:gd name="T15" fmla="*/ 117 h 4504"/>
                      <a:gd name="T16" fmla="*/ 280 w 8931"/>
                      <a:gd name="T17" fmla="*/ 113 h 4504"/>
                      <a:gd name="T18" fmla="*/ 298 w 8931"/>
                      <a:gd name="T19" fmla="*/ 104 h 4504"/>
                      <a:gd name="T20" fmla="*/ 282 w 8931"/>
                      <a:gd name="T21" fmla="*/ 128 h 4504"/>
                      <a:gd name="T22" fmla="*/ 295 w 8931"/>
                      <a:gd name="T23" fmla="*/ 132 h 4504"/>
                      <a:gd name="T24" fmla="*/ 300 w 8931"/>
                      <a:gd name="T25" fmla="*/ 115 h 4504"/>
                      <a:gd name="T26" fmla="*/ 317 w 8931"/>
                      <a:gd name="T27" fmla="*/ 110 h 4504"/>
                      <a:gd name="T28" fmla="*/ 329 w 8931"/>
                      <a:gd name="T29" fmla="*/ 102 h 4504"/>
                      <a:gd name="T30" fmla="*/ 334 w 8931"/>
                      <a:gd name="T31" fmla="*/ 90 h 4504"/>
                      <a:gd name="T32" fmla="*/ 346 w 8931"/>
                      <a:gd name="T33" fmla="*/ 92 h 4504"/>
                      <a:gd name="T34" fmla="*/ 354 w 8931"/>
                      <a:gd name="T35" fmla="*/ 88 h 4504"/>
                      <a:gd name="T36" fmla="*/ 347 w 8931"/>
                      <a:gd name="T37" fmla="*/ 79 h 4504"/>
                      <a:gd name="T38" fmla="*/ 341 w 8931"/>
                      <a:gd name="T39" fmla="*/ 75 h 4504"/>
                      <a:gd name="T40" fmla="*/ 313 w 8931"/>
                      <a:gd name="T41" fmla="*/ 64 h 4504"/>
                      <a:gd name="T42" fmla="*/ 291 w 8931"/>
                      <a:gd name="T43" fmla="*/ 64 h 4504"/>
                      <a:gd name="T44" fmla="*/ 267 w 8931"/>
                      <a:gd name="T45" fmla="*/ 51 h 4504"/>
                      <a:gd name="T46" fmla="*/ 247 w 8931"/>
                      <a:gd name="T47" fmla="*/ 51 h 4504"/>
                      <a:gd name="T48" fmla="*/ 227 w 8931"/>
                      <a:gd name="T49" fmla="*/ 56 h 4504"/>
                      <a:gd name="T50" fmla="*/ 224 w 8931"/>
                      <a:gd name="T51" fmla="*/ 41 h 4504"/>
                      <a:gd name="T52" fmla="*/ 208 w 8931"/>
                      <a:gd name="T53" fmla="*/ 41 h 4504"/>
                      <a:gd name="T54" fmla="*/ 188 w 8931"/>
                      <a:gd name="T55" fmla="*/ 35 h 4504"/>
                      <a:gd name="T56" fmla="*/ 174 w 8931"/>
                      <a:gd name="T57" fmla="*/ 40 h 4504"/>
                      <a:gd name="T58" fmla="*/ 183 w 8931"/>
                      <a:gd name="T59" fmla="*/ 29 h 4504"/>
                      <a:gd name="T60" fmla="*/ 187 w 8931"/>
                      <a:gd name="T61" fmla="*/ 16 h 4504"/>
                      <a:gd name="T62" fmla="*/ 175 w 8931"/>
                      <a:gd name="T63" fmla="*/ 8 h 4504"/>
                      <a:gd name="T64" fmla="*/ 161 w 8931"/>
                      <a:gd name="T65" fmla="*/ 9 h 4504"/>
                      <a:gd name="T66" fmla="*/ 152 w 8931"/>
                      <a:gd name="T67" fmla="*/ 17 h 4504"/>
                      <a:gd name="T68" fmla="*/ 135 w 8931"/>
                      <a:gd name="T69" fmla="*/ 22 h 4504"/>
                      <a:gd name="T70" fmla="*/ 130 w 8931"/>
                      <a:gd name="T71" fmla="*/ 33 h 4504"/>
                      <a:gd name="T72" fmla="*/ 118 w 8931"/>
                      <a:gd name="T73" fmla="*/ 46 h 4504"/>
                      <a:gd name="T74" fmla="*/ 118 w 8931"/>
                      <a:gd name="T75" fmla="*/ 49 h 4504"/>
                      <a:gd name="T76" fmla="*/ 105 w 8931"/>
                      <a:gd name="T77" fmla="*/ 49 h 4504"/>
                      <a:gd name="T78" fmla="*/ 110 w 8931"/>
                      <a:gd name="T79" fmla="*/ 69 h 4504"/>
                      <a:gd name="T80" fmla="*/ 104 w 8931"/>
                      <a:gd name="T81" fmla="*/ 74 h 4504"/>
                      <a:gd name="T82" fmla="*/ 100 w 8931"/>
                      <a:gd name="T83" fmla="*/ 76 h 4504"/>
                      <a:gd name="T84" fmla="*/ 92 w 8931"/>
                      <a:gd name="T85" fmla="*/ 42 h 4504"/>
                      <a:gd name="T86" fmla="*/ 89 w 8931"/>
                      <a:gd name="T87" fmla="*/ 72 h 4504"/>
                      <a:gd name="T88" fmla="*/ 63 w 8931"/>
                      <a:gd name="T89" fmla="*/ 70 h 4504"/>
                      <a:gd name="T90" fmla="*/ 47 w 8931"/>
                      <a:gd name="T91" fmla="*/ 76 h 4504"/>
                      <a:gd name="T92" fmla="*/ 37 w 8931"/>
                      <a:gd name="T93" fmla="*/ 82 h 4504"/>
                      <a:gd name="T94" fmla="*/ 20 w 8931"/>
                      <a:gd name="T95" fmla="*/ 92 h 4504"/>
                      <a:gd name="T96" fmla="*/ 12 w 8931"/>
                      <a:gd name="T97" fmla="*/ 81 h 4504"/>
                      <a:gd name="T98" fmla="*/ 24 w 8931"/>
                      <a:gd name="T99" fmla="*/ 71 h 4504"/>
                      <a:gd name="T100" fmla="*/ 8 w 8931"/>
                      <a:gd name="T101" fmla="*/ 64 h 4504"/>
                      <a:gd name="T102" fmla="*/ 9 w 8931"/>
                      <a:gd name="T103" fmla="*/ 102 h 4504"/>
                      <a:gd name="T104" fmla="*/ 1 w 8931"/>
                      <a:gd name="T105" fmla="*/ 122 h 4504"/>
                      <a:gd name="T106" fmla="*/ 10 w 8931"/>
                      <a:gd name="T107" fmla="*/ 139 h 4504"/>
                      <a:gd name="T108" fmla="*/ 18 w 8931"/>
                      <a:gd name="T109" fmla="*/ 151 h 4504"/>
                      <a:gd name="T110" fmla="*/ 26 w 8931"/>
                      <a:gd name="T111" fmla="*/ 162 h 4504"/>
                      <a:gd name="T112" fmla="*/ 36 w 8931"/>
                      <a:gd name="T113" fmla="*/ 176 h 4504"/>
                      <a:gd name="T114" fmla="*/ 44 w 8931"/>
                      <a:gd name="T115" fmla="*/ 165 h 4504"/>
                      <a:gd name="T116" fmla="*/ 47 w 8931"/>
                      <a:gd name="T117" fmla="*/ 152 h 4504"/>
                      <a:gd name="T118" fmla="*/ 61 w 8931"/>
                      <a:gd name="T119" fmla="*/ 150 h 4504"/>
                      <a:gd name="T120" fmla="*/ 73 w 8931"/>
                      <a:gd name="T121" fmla="*/ 143 h 4504"/>
                      <a:gd name="T122" fmla="*/ 87 w 8931"/>
                      <a:gd name="T123" fmla="*/ 135 h 4504"/>
                      <a:gd name="T124" fmla="*/ 101 w 8931"/>
                      <a:gd name="T125" fmla="*/ 139 h 4504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60000 65536"/>
                      <a:gd name="T184" fmla="*/ 0 60000 65536"/>
                      <a:gd name="T185" fmla="*/ 0 60000 65536"/>
                      <a:gd name="T186" fmla="*/ 0 60000 65536"/>
                      <a:gd name="T187" fmla="*/ 0 60000 65536"/>
                      <a:gd name="T188" fmla="*/ 0 60000 65536"/>
                      <a:gd name="T189" fmla="*/ 0 w 8931"/>
                      <a:gd name="T190" fmla="*/ 0 h 4504"/>
                      <a:gd name="T191" fmla="*/ 8931 w 8931"/>
                      <a:gd name="T192" fmla="*/ 4504 h 4504"/>
                    </a:gdLst>
                    <a:ahLst/>
                    <a:cxnLst>
                      <a:cxn ang="T126">
                        <a:pos x="T0" y="T1"/>
                      </a:cxn>
                      <a:cxn ang="T127">
                        <a:pos x="T2" y="T3"/>
                      </a:cxn>
                      <a:cxn ang="T128">
                        <a:pos x="T4" y="T5"/>
                      </a:cxn>
                      <a:cxn ang="T129">
                        <a:pos x="T6" y="T7"/>
                      </a:cxn>
                      <a:cxn ang="T130">
                        <a:pos x="T8" y="T9"/>
                      </a:cxn>
                      <a:cxn ang="T131">
                        <a:pos x="T10" y="T11"/>
                      </a:cxn>
                      <a:cxn ang="T132">
                        <a:pos x="T12" y="T13"/>
                      </a:cxn>
                      <a:cxn ang="T133">
                        <a:pos x="T14" y="T15"/>
                      </a:cxn>
                      <a:cxn ang="T134">
                        <a:pos x="T16" y="T17"/>
                      </a:cxn>
                      <a:cxn ang="T135">
                        <a:pos x="T18" y="T19"/>
                      </a:cxn>
                      <a:cxn ang="T136">
                        <a:pos x="T20" y="T21"/>
                      </a:cxn>
                      <a:cxn ang="T137">
                        <a:pos x="T22" y="T23"/>
                      </a:cxn>
                      <a:cxn ang="T138">
                        <a:pos x="T24" y="T25"/>
                      </a:cxn>
                      <a:cxn ang="T139">
                        <a:pos x="T26" y="T27"/>
                      </a:cxn>
                      <a:cxn ang="T140">
                        <a:pos x="T28" y="T29"/>
                      </a:cxn>
                      <a:cxn ang="T141">
                        <a:pos x="T30" y="T31"/>
                      </a:cxn>
                      <a:cxn ang="T142">
                        <a:pos x="T32" y="T33"/>
                      </a:cxn>
                      <a:cxn ang="T143">
                        <a:pos x="T34" y="T35"/>
                      </a:cxn>
                      <a:cxn ang="T144">
                        <a:pos x="T36" y="T37"/>
                      </a:cxn>
                      <a:cxn ang="T145">
                        <a:pos x="T38" y="T39"/>
                      </a:cxn>
                      <a:cxn ang="T146">
                        <a:pos x="T40" y="T41"/>
                      </a:cxn>
                      <a:cxn ang="T147">
                        <a:pos x="T42" y="T43"/>
                      </a:cxn>
                      <a:cxn ang="T148">
                        <a:pos x="T44" y="T45"/>
                      </a:cxn>
                      <a:cxn ang="T149">
                        <a:pos x="T46" y="T47"/>
                      </a:cxn>
                      <a:cxn ang="T150">
                        <a:pos x="T48" y="T49"/>
                      </a:cxn>
                      <a:cxn ang="T151">
                        <a:pos x="T50" y="T51"/>
                      </a:cxn>
                      <a:cxn ang="T152">
                        <a:pos x="T52" y="T53"/>
                      </a:cxn>
                      <a:cxn ang="T153">
                        <a:pos x="T54" y="T55"/>
                      </a:cxn>
                      <a:cxn ang="T154">
                        <a:pos x="T56" y="T57"/>
                      </a:cxn>
                      <a:cxn ang="T155">
                        <a:pos x="T58" y="T59"/>
                      </a:cxn>
                      <a:cxn ang="T156">
                        <a:pos x="T60" y="T61"/>
                      </a:cxn>
                      <a:cxn ang="T157">
                        <a:pos x="T62" y="T63"/>
                      </a:cxn>
                      <a:cxn ang="T158">
                        <a:pos x="T64" y="T65"/>
                      </a:cxn>
                      <a:cxn ang="T159">
                        <a:pos x="T66" y="T67"/>
                      </a:cxn>
                      <a:cxn ang="T160">
                        <a:pos x="T68" y="T69"/>
                      </a:cxn>
                      <a:cxn ang="T161">
                        <a:pos x="T70" y="T71"/>
                      </a:cxn>
                      <a:cxn ang="T162">
                        <a:pos x="T72" y="T73"/>
                      </a:cxn>
                      <a:cxn ang="T163">
                        <a:pos x="T74" y="T75"/>
                      </a:cxn>
                      <a:cxn ang="T164">
                        <a:pos x="T76" y="T77"/>
                      </a:cxn>
                      <a:cxn ang="T165">
                        <a:pos x="T78" y="T79"/>
                      </a:cxn>
                      <a:cxn ang="T166">
                        <a:pos x="T80" y="T81"/>
                      </a:cxn>
                      <a:cxn ang="T167">
                        <a:pos x="T82" y="T83"/>
                      </a:cxn>
                      <a:cxn ang="T168">
                        <a:pos x="T84" y="T85"/>
                      </a:cxn>
                      <a:cxn ang="T169">
                        <a:pos x="T86" y="T87"/>
                      </a:cxn>
                      <a:cxn ang="T170">
                        <a:pos x="T88" y="T89"/>
                      </a:cxn>
                      <a:cxn ang="T171">
                        <a:pos x="T90" y="T91"/>
                      </a:cxn>
                      <a:cxn ang="T172">
                        <a:pos x="T92" y="T93"/>
                      </a:cxn>
                      <a:cxn ang="T173">
                        <a:pos x="T94" y="T95"/>
                      </a:cxn>
                      <a:cxn ang="T174">
                        <a:pos x="T96" y="T97"/>
                      </a:cxn>
                      <a:cxn ang="T175">
                        <a:pos x="T98" y="T99"/>
                      </a:cxn>
                      <a:cxn ang="T176">
                        <a:pos x="T100" y="T101"/>
                      </a:cxn>
                      <a:cxn ang="T177">
                        <a:pos x="T102" y="T103"/>
                      </a:cxn>
                      <a:cxn ang="T178">
                        <a:pos x="T104" y="T105"/>
                      </a:cxn>
                      <a:cxn ang="T179">
                        <a:pos x="T106" y="T107"/>
                      </a:cxn>
                      <a:cxn ang="T180">
                        <a:pos x="T108" y="T109"/>
                      </a:cxn>
                      <a:cxn ang="T181">
                        <a:pos x="T110" y="T111"/>
                      </a:cxn>
                      <a:cxn ang="T182">
                        <a:pos x="T112" y="T113"/>
                      </a:cxn>
                      <a:cxn ang="T183">
                        <a:pos x="T114" y="T115"/>
                      </a:cxn>
                      <a:cxn ang="T184">
                        <a:pos x="T116" y="T117"/>
                      </a:cxn>
                      <a:cxn ang="T185">
                        <a:pos x="T118" y="T119"/>
                      </a:cxn>
                      <a:cxn ang="T186">
                        <a:pos x="T120" y="T121"/>
                      </a:cxn>
                      <a:cxn ang="T187">
                        <a:pos x="T122" y="T123"/>
                      </a:cxn>
                      <a:cxn ang="T188">
                        <a:pos x="T124" y="T125"/>
                      </a:cxn>
                    </a:cxnLst>
                    <a:rect l="T189" t="T190" r="T191" b="T192"/>
                    <a:pathLst>
                      <a:path w="8931" h="4504">
                        <a:moveTo>
                          <a:pt x="2688" y="3454"/>
                        </a:moveTo>
                        <a:lnTo>
                          <a:pt x="2691" y="3461"/>
                        </a:lnTo>
                        <a:lnTo>
                          <a:pt x="2695" y="3463"/>
                        </a:lnTo>
                        <a:lnTo>
                          <a:pt x="2768" y="3530"/>
                        </a:lnTo>
                        <a:lnTo>
                          <a:pt x="2887" y="3748"/>
                        </a:lnTo>
                        <a:lnTo>
                          <a:pt x="2902" y="3737"/>
                        </a:lnTo>
                        <a:lnTo>
                          <a:pt x="2904" y="3730"/>
                        </a:lnTo>
                        <a:lnTo>
                          <a:pt x="2904" y="3723"/>
                        </a:lnTo>
                        <a:lnTo>
                          <a:pt x="2915" y="3709"/>
                        </a:lnTo>
                        <a:lnTo>
                          <a:pt x="2923" y="3708"/>
                        </a:lnTo>
                        <a:lnTo>
                          <a:pt x="2928" y="3714"/>
                        </a:lnTo>
                        <a:lnTo>
                          <a:pt x="2936" y="3717"/>
                        </a:lnTo>
                        <a:lnTo>
                          <a:pt x="2950" y="3725"/>
                        </a:lnTo>
                        <a:lnTo>
                          <a:pt x="2946" y="3732"/>
                        </a:lnTo>
                        <a:lnTo>
                          <a:pt x="2951" y="3739"/>
                        </a:lnTo>
                        <a:lnTo>
                          <a:pt x="2956" y="3740"/>
                        </a:lnTo>
                        <a:lnTo>
                          <a:pt x="2961" y="3753"/>
                        </a:lnTo>
                        <a:lnTo>
                          <a:pt x="2985" y="3751"/>
                        </a:lnTo>
                        <a:lnTo>
                          <a:pt x="3003" y="3756"/>
                        </a:lnTo>
                        <a:lnTo>
                          <a:pt x="3010" y="3753"/>
                        </a:lnTo>
                        <a:lnTo>
                          <a:pt x="3026" y="3753"/>
                        </a:lnTo>
                        <a:lnTo>
                          <a:pt x="3028" y="3746"/>
                        </a:lnTo>
                        <a:lnTo>
                          <a:pt x="3033" y="3740"/>
                        </a:lnTo>
                        <a:lnTo>
                          <a:pt x="3042" y="3741"/>
                        </a:lnTo>
                        <a:lnTo>
                          <a:pt x="3049" y="3741"/>
                        </a:lnTo>
                        <a:lnTo>
                          <a:pt x="3053" y="3734"/>
                        </a:lnTo>
                        <a:lnTo>
                          <a:pt x="3060" y="3729"/>
                        </a:lnTo>
                        <a:lnTo>
                          <a:pt x="3075" y="3734"/>
                        </a:lnTo>
                        <a:lnTo>
                          <a:pt x="3082" y="3737"/>
                        </a:lnTo>
                        <a:lnTo>
                          <a:pt x="3086" y="3745"/>
                        </a:lnTo>
                        <a:lnTo>
                          <a:pt x="3093" y="3748"/>
                        </a:lnTo>
                        <a:lnTo>
                          <a:pt x="3103" y="3761"/>
                        </a:lnTo>
                        <a:lnTo>
                          <a:pt x="3112" y="3764"/>
                        </a:lnTo>
                        <a:lnTo>
                          <a:pt x="3114" y="3772"/>
                        </a:lnTo>
                        <a:lnTo>
                          <a:pt x="3112" y="3779"/>
                        </a:lnTo>
                        <a:lnTo>
                          <a:pt x="3113" y="3788"/>
                        </a:lnTo>
                        <a:lnTo>
                          <a:pt x="3117" y="3795"/>
                        </a:lnTo>
                        <a:lnTo>
                          <a:pt x="3125" y="3796"/>
                        </a:lnTo>
                        <a:lnTo>
                          <a:pt x="3146" y="3807"/>
                        </a:lnTo>
                        <a:lnTo>
                          <a:pt x="3150" y="3815"/>
                        </a:lnTo>
                        <a:lnTo>
                          <a:pt x="3150" y="3822"/>
                        </a:lnTo>
                        <a:lnTo>
                          <a:pt x="3157" y="3826"/>
                        </a:lnTo>
                        <a:lnTo>
                          <a:pt x="3162" y="3831"/>
                        </a:lnTo>
                        <a:lnTo>
                          <a:pt x="3170" y="3845"/>
                        </a:lnTo>
                        <a:lnTo>
                          <a:pt x="3176" y="3849"/>
                        </a:lnTo>
                        <a:lnTo>
                          <a:pt x="3193" y="3852"/>
                        </a:lnTo>
                        <a:lnTo>
                          <a:pt x="3199" y="3857"/>
                        </a:lnTo>
                        <a:lnTo>
                          <a:pt x="3208" y="3859"/>
                        </a:lnTo>
                        <a:lnTo>
                          <a:pt x="3215" y="3860"/>
                        </a:lnTo>
                        <a:lnTo>
                          <a:pt x="3224" y="3860"/>
                        </a:lnTo>
                        <a:lnTo>
                          <a:pt x="3226" y="3853"/>
                        </a:lnTo>
                        <a:lnTo>
                          <a:pt x="3231" y="3847"/>
                        </a:lnTo>
                        <a:lnTo>
                          <a:pt x="3246" y="3841"/>
                        </a:lnTo>
                        <a:lnTo>
                          <a:pt x="3248" y="3849"/>
                        </a:lnTo>
                        <a:lnTo>
                          <a:pt x="3252" y="3857"/>
                        </a:lnTo>
                        <a:lnTo>
                          <a:pt x="3259" y="3861"/>
                        </a:lnTo>
                        <a:lnTo>
                          <a:pt x="3267" y="3875"/>
                        </a:lnTo>
                        <a:lnTo>
                          <a:pt x="3273" y="3880"/>
                        </a:lnTo>
                        <a:lnTo>
                          <a:pt x="3277" y="3887"/>
                        </a:lnTo>
                        <a:lnTo>
                          <a:pt x="3264" y="3913"/>
                        </a:lnTo>
                        <a:lnTo>
                          <a:pt x="3289" y="3920"/>
                        </a:lnTo>
                        <a:lnTo>
                          <a:pt x="3305" y="3904"/>
                        </a:lnTo>
                        <a:lnTo>
                          <a:pt x="3310" y="3904"/>
                        </a:lnTo>
                        <a:lnTo>
                          <a:pt x="3322" y="3882"/>
                        </a:lnTo>
                        <a:lnTo>
                          <a:pt x="3338" y="3865"/>
                        </a:lnTo>
                        <a:lnTo>
                          <a:pt x="3356" y="3858"/>
                        </a:lnTo>
                        <a:lnTo>
                          <a:pt x="3375" y="3852"/>
                        </a:lnTo>
                        <a:lnTo>
                          <a:pt x="3394" y="3839"/>
                        </a:lnTo>
                        <a:lnTo>
                          <a:pt x="3414" y="3823"/>
                        </a:lnTo>
                        <a:lnTo>
                          <a:pt x="3439" y="3811"/>
                        </a:lnTo>
                        <a:lnTo>
                          <a:pt x="3464" y="3789"/>
                        </a:lnTo>
                        <a:lnTo>
                          <a:pt x="3505" y="3777"/>
                        </a:lnTo>
                        <a:lnTo>
                          <a:pt x="3530" y="3766"/>
                        </a:lnTo>
                        <a:lnTo>
                          <a:pt x="3553" y="3763"/>
                        </a:lnTo>
                        <a:lnTo>
                          <a:pt x="3575" y="3767"/>
                        </a:lnTo>
                        <a:lnTo>
                          <a:pt x="3591" y="3773"/>
                        </a:lnTo>
                        <a:lnTo>
                          <a:pt x="3604" y="3784"/>
                        </a:lnTo>
                        <a:lnTo>
                          <a:pt x="3623" y="3780"/>
                        </a:lnTo>
                        <a:lnTo>
                          <a:pt x="3644" y="3779"/>
                        </a:lnTo>
                        <a:lnTo>
                          <a:pt x="3661" y="3782"/>
                        </a:lnTo>
                        <a:lnTo>
                          <a:pt x="3692" y="3811"/>
                        </a:lnTo>
                        <a:lnTo>
                          <a:pt x="3697" y="3818"/>
                        </a:lnTo>
                        <a:lnTo>
                          <a:pt x="3714" y="3821"/>
                        </a:lnTo>
                        <a:lnTo>
                          <a:pt x="3761" y="3814"/>
                        </a:lnTo>
                        <a:lnTo>
                          <a:pt x="3774" y="3820"/>
                        </a:lnTo>
                        <a:lnTo>
                          <a:pt x="3818" y="3821"/>
                        </a:lnTo>
                        <a:lnTo>
                          <a:pt x="3856" y="3816"/>
                        </a:lnTo>
                        <a:lnTo>
                          <a:pt x="3866" y="3811"/>
                        </a:lnTo>
                        <a:lnTo>
                          <a:pt x="3866" y="3803"/>
                        </a:lnTo>
                        <a:lnTo>
                          <a:pt x="3862" y="3791"/>
                        </a:lnTo>
                        <a:lnTo>
                          <a:pt x="3865" y="3777"/>
                        </a:lnTo>
                        <a:lnTo>
                          <a:pt x="3875" y="3761"/>
                        </a:lnTo>
                        <a:lnTo>
                          <a:pt x="3875" y="3745"/>
                        </a:lnTo>
                        <a:lnTo>
                          <a:pt x="3864" y="3730"/>
                        </a:lnTo>
                        <a:lnTo>
                          <a:pt x="3860" y="3712"/>
                        </a:lnTo>
                        <a:lnTo>
                          <a:pt x="3862" y="3694"/>
                        </a:lnTo>
                        <a:lnTo>
                          <a:pt x="3878" y="3680"/>
                        </a:lnTo>
                        <a:lnTo>
                          <a:pt x="3892" y="3664"/>
                        </a:lnTo>
                        <a:lnTo>
                          <a:pt x="3910" y="3649"/>
                        </a:lnTo>
                        <a:lnTo>
                          <a:pt x="3921" y="3632"/>
                        </a:lnTo>
                        <a:lnTo>
                          <a:pt x="3935" y="3631"/>
                        </a:lnTo>
                        <a:lnTo>
                          <a:pt x="3955" y="3637"/>
                        </a:lnTo>
                        <a:lnTo>
                          <a:pt x="3969" y="3648"/>
                        </a:lnTo>
                        <a:lnTo>
                          <a:pt x="4006" y="3658"/>
                        </a:lnTo>
                        <a:lnTo>
                          <a:pt x="4017" y="3672"/>
                        </a:lnTo>
                        <a:lnTo>
                          <a:pt x="4041" y="3678"/>
                        </a:lnTo>
                        <a:lnTo>
                          <a:pt x="4065" y="3681"/>
                        </a:lnTo>
                        <a:lnTo>
                          <a:pt x="4082" y="3688"/>
                        </a:lnTo>
                        <a:lnTo>
                          <a:pt x="4092" y="3704"/>
                        </a:lnTo>
                        <a:lnTo>
                          <a:pt x="4097" y="3734"/>
                        </a:lnTo>
                        <a:lnTo>
                          <a:pt x="4097" y="3755"/>
                        </a:lnTo>
                        <a:lnTo>
                          <a:pt x="4102" y="3755"/>
                        </a:lnTo>
                        <a:lnTo>
                          <a:pt x="4117" y="3769"/>
                        </a:lnTo>
                        <a:lnTo>
                          <a:pt x="4140" y="3785"/>
                        </a:lnTo>
                        <a:lnTo>
                          <a:pt x="4174" y="3796"/>
                        </a:lnTo>
                        <a:lnTo>
                          <a:pt x="4202" y="3790"/>
                        </a:lnTo>
                        <a:lnTo>
                          <a:pt x="4229" y="3775"/>
                        </a:lnTo>
                        <a:lnTo>
                          <a:pt x="4254" y="3763"/>
                        </a:lnTo>
                        <a:lnTo>
                          <a:pt x="4285" y="3771"/>
                        </a:lnTo>
                        <a:lnTo>
                          <a:pt x="4333" y="3788"/>
                        </a:lnTo>
                        <a:lnTo>
                          <a:pt x="4343" y="3800"/>
                        </a:lnTo>
                        <a:lnTo>
                          <a:pt x="4344" y="3800"/>
                        </a:lnTo>
                        <a:lnTo>
                          <a:pt x="4350" y="3805"/>
                        </a:lnTo>
                        <a:lnTo>
                          <a:pt x="4372" y="3817"/>
                        </a:lnTo>
                        <a:lnTo>
                          <a:pt x="4393" y="3823"/>
                        </a:lnTo>
                        <a:lnTo>
                          <a:pt x="4414" y="3832"/>
                        </a:lnTo>
                        <a:lnTo>
                          <a:pt x="4428" y="3852"/>
                        </a:lnTo>
                        <a:lnTo>
                          <a:pt x="4455" y="3868"/>
                        </a:lnTo>
                        <a:lnTo>
                          <a:pt x="4487" y="3873"/>
                        </a:lnTo>
                        <a:lnTo>
                          <a:pt x="4510" y="3880"/>
                        </a:lnTo>
                        <a:lnTo>
                          <a:pt x="4528" y="3881"/>
                        </a:lnTo>
                        <a:lnTo>
                          <a:pt x="4553" y="3879"/>
                        </a:lnTo>
                        <a:lnTo>
                          <a:pt x="4571" y="3887"/>
                        </a:lnTo>
                        <a:lnTo>
                          <a:pt x="4627" y="3868"/>
                        </a:lnTo>
                        <a:lnTo>
                          <a:pt x="4661" y="3860"/>
                        </a:lnTo>
                        <a:lnTo>
                          <a:pt x="4688" y="3855"/>
                        </a:lnTo>
                        <a:lnTo>
                          <a:pt x="4725" y="3826"/>
                        </a:lnTo>
                        <a:lnTo>
                          <a:pt x="4749" y="3810"/>
                        </a:lnTo>
                        <a:lnTo>
                          <a:pt x="4774" y="3801"/>
                        </a:lnTo>
                        <a:lnTo>
                          <a:pt x="4799" y="3811"/>
                        </a:lnTo>
                        <a:lnTo>
                          <a:pt x="4817" y="3826"/>
                        </a:lnTo>
                        <a:lnTo>
                          <a:pt x="4838" y="3830"/>
                        </a:lnTo>
                        <a:lnTo>
                          <a:pt x="4855" y="3826"/>
                        </a:lnTo>
                        <a:lnTo>
                          <a:pt x="4869" y="3818"/>
                        </a:lnTo>
                        <a:lnTo>
                          <a:pt x="4875" y="3821"/>
                        </a:lnTo>
                        <a:lnTo>
                          <a:pt x="4886" y="3823"/>
                        </a:lnTo>
                        <a:lnTo>
                          <a:pt x="4899" y="3833"/>
                        </a:lnTo>
                        <a:lnTo>
                          <a:pt x="4931" y="3843"/>
                        </a:lnTo>
                        <a:lnTo>
                          <a:pt x="4956" y="3855"/>
                        </a:lnTo>
                        <a:lnTo>
                          <a:pt x="4967" y="3853"/>
                        </a:lnTo>
                        <a:lnTo>
                          <a:pt x="4982" y="3842"/>
                        </a:lnTo>
                        <a:lnTo>
                          <a:pt x="5032" y="3811"/>
                        </a:lnTo>
                        <a:lnTo>
                          <a:pt x="5033" y="3804"/>
                        </a:lnTo>
                        <a:lnTo>
                          <a:pt x="5031" y="3791"/>
                        </a:lnTo>
                        <a:lnTo>
                          <a:pt x="5034" y="3779"/>
                        </a:lnTo>
                        <a:lnTo>
                          <a:pt x="5045" y="3766"/>
                        </a:lnTo>
                        <a:lnTo>
                          <a:pt x="5052" y="3755"/>
                        </a:lnTo>
                        <a:lnTo>
                          <a:pt x="5059" y="3725"/>
                        </a:lnTo>
                        <a:lnTo>
                          <a:pt x="5064" y="3703"/>
                        </a:lnTo>
                        <a:lnTo>
                          <a:pt x="5071" y="3686"/>
                        </a:lnTo>
                        <a:lnTo>
                          <a:pt x="5090" y="3676"/>
                        </a:lnTo>
                        <a:lnTo>
                          <a:pt x="5114" y="3649"/>
                        </a:lnTo>
                        <a:lnTo>
                          <a:pt x="5114" y="3644"/>
                        </a:lnTo>
                        <a:lnTo>
                          <a:pt x="5109" y="3633"/>
                        </a:lnTo>
                        <a:lnTo>
                          <a:pt x="5111" y="3606"/>
                        </a:lnTo>
                        <a:lnTo>
                          <a:pt x="5104" y="3602"/>
                        </a:lnTo>
                        <a:lnTo>
                          <a:pt x="5093" y="3602"/>
                        </a:lnTo>
                        <a:lnTo>
                          <a:pt x="5075" y="3607"/>
                        </a:lnTo>
                        <a:lnTo>
                          <a:pt x="5071" y="3602"/>
                        </a:lnTo>
                        <a:lnTo>
                          <a:pt x="5076" y="3589"/>
                        </a:lnTo>
                        <a:lnTo>
                          <a:pt x="5100" y="3565"/>
                        </a:lnTo>
                        <a:lnTo>
                          <a:pt x="5108" y="3553"/>
                        </a:lnTo>
                        <a:lnTo>
                          <a:pt x="5124" y="3541"/>
                        </a:lnTo>
                        <a:lnTo>
                          <a:pt x="5158" y="3535"/>
                        </a:lnTo>
                        <a:lnTo>
                          <a:pt x="5199" y="3520"/>
                        </a:lnTo>
                        <a:lnTo>
                          <a:pt x="5224" y="3521"/>
                        </a:lnTo>
                        <a:lnTo>
                          <a:pt x="5259" y="3515"/>
                        </a:lnTo>
                        <a:lnTo>
                          <a:pt x="5271" y="3515"/>
                        </a:lnTo>
                        <a:lnTo>
                          <a:pt x="5290" y="3524"/>
                        </a:lnTo>
                        <a:lnTo>
                          <a:pt x="5307" y="3536"/>
                        </a:lnTo>
                        <a:lnTo>
                          <a:pt x="5318" y="3548"/>
                        </a:lnTo>
                        <a:lnTo>
                          <a:pt x="5334" y="3552"/>
                        </a:lnTo>
                        <a:lnTo>
                          <a:pt x="5353" y="3549"/>
                        </a:lnTo>
                        <a:lnTo>
                          <a:pt x="5369" y="3553"/>
                        </a:lnTo>
                        <a:lnTo>
                          <a:pt x="5383" y="3559"/>
                        </a:lnTo>
                        <a:lnTo>
                          <a:pt x="5391" y="3573"/>
                        </a:lnTo>
                        <a:lnTo>
                          <a:pt x="5403" y="3591"/>
                        </a:lnTo>
                        <a:lnTo>
                          <a:pt x="5404" y="3604"/>
                        </a:lnTo>
                        <a:lnTo>
                          <a:pt x="5412" y="3611"/>
                        </a:lnTo>
                        <a:lnTo>
                          <a:pt x="5421" y="3617"/>
                        </a:lnTo>
                        <a:lnTo>
                          <a:pt x="5423" y="3626"/>
                        </a:lnTo>
                        <a:lnTo>
                          <a:pt x="5424" y="3621"/>
                        </a:lnTo>
                        <a:lnTo>
                          <a:pt x="5426" y="3634"/>
                        </a:lnTo>
                        <a:lnTo>
                          <a:pt x="5431" y="3649"/>
                        </a:lnTo>
                        <a:lnTo>
                          <a:pt x="5434" y="3670"/>
                        </a:lnTo>
                        <a:lnTo>
                          <a:pt x="5442" y="3687"/>
                        </a:lnTo>
                        <a:lnTo>
                          <a:pt x="5447" y="3704"/>
                        </a:lnTo>
                        <a:lnTo>
                          <a:pt x="5468" y="3744"/>
                        </a:lnTo>
                        <a:lnTo>
                          <a:pt x="5474" y="3785"/>
                        </a:lnTo>
                        <a:lnTo>
                          <a:pt x="5483" y="3804"/>
                        </a:lnTo>
                        <a:lnTo>
                          <a:pt x="5482" y="3809"/>
                        </a:lnTo>
                        <a:lnTo>
                          <a:pt x="5483" y="3810"/>
                        </a:lnTo>
                        <a:lnTo>
                          <a:pt x="5485" y="3828"/>
                        </a:lnTo>
                        <a:lnTo>
                          <a:pt x="5485" y="3849"/>
                        </a:lnTo>
                        <a:lnTo>
                          <a:pt x="5498" y="3860"/>
                        </a:lnTo>
                        <a:lnTo>
                          <a:pt x="5521" y="3863"/>
                        </a:lnTo>
                        <a:lnTo>
                          <a:pt x="5542" y="3855"/>
                        </a:lnTo>
                        <a:lnTo>
                          <a:pt x="5558" y="3863"/>
                        </a:lnTo>
                        <a:lnTo>
                          <a:pt x="5577" y="3865"/>
                        </a:lnTo>
                        <a:lnTo>
                          <a:pt x="5595" y="3874"/>
                        </a:lnTo>
                        <a:lnTo>
                          <a:pt x="5627" y="3902"/>
                        </a:lnTo>
                        <a:lnTo>
                          <a:pt x="5642" y="3909"/>
                        </a:lnTo>
                        <a:lnTo>
                          <a:pt x="5654" y="3911"/>
                        </a:lnTo>
                        <a:lnTo>
                          <a:pt x="5658" y="3918"/>
                        </a:lnTo>
                        <a:lnTo>
                          <a:pt x="5658" y="3923"/>
                        </a:lnTo>
                        <a:lnTo>
                          <a:pt x="5660" y="3922"/>
                        </a:lnTo>
                        <a:lnTo>
                          <a:pt x="5661" y="3938"/>
                        </a:lnTo>
                        <a:lnTo>
                          <a:pt x="5668" y="3947"/>
                        </a:lnTo>
                        <a:lnTo>
                          <a:pt x="5667" y="3963"/>
                        </a:lnTo>
                        <a:lnTo>
                          <a:pt x="5668" y="3981"/>
                        </a:lnTo>
                        <a:lnTo>
                          <a:pt x="5678" y="3997"/>
                        </a:lnTo>
                        <a:lnTo>
                          <a:pt x="5684" y="4010"/>
                        </a:lnTo>
                        <a:lnTo>
                          <a:pt x="5703" y="4009"/>
                        </a:lnTo>
                        <a:lnTo>
                          <a:pt x="5722" y="4015"/>
                        </a:lnTo>
                        <a:lnTo>
                          <a:pt x="5740" y="4013"/>
                        </a:lnTo>
                        <a:lnTo>
                          <a:pt x="5771" y="3998"/>
                        </a:lnTo>
                        <a:lnTo>
                          <a:pt x="5805" y="3976"/>
                        </a:lnTo>
                        <a:lnTo>
                          <a:pt x="5823" y="3974"/>
                        </a:lnTo>
                        <a:lnTo>
                          <a:pt x="5856" y="3956"/>
                        </a:lnTo>
                        <a:lnTo>
                          <a:pt x="5888" y="3947"/>
                        </a:lnTo>
                        <a:lnTo>
                          <a:pt x="5889" y="3950"/>
                        </a:lnTo>
                        <a:lnTo>
                          <a:pt x="5881" y="3963"/>
                        </a:lnTo>
                        <a:lnTo>
                          <a:pt x="5881" y="3983"/>
                        </a:lnTo>
                        <a:lnTo>
                          <a:pt x="5886" y="3999"/>
                        </a:lnTo>
                        <a:lnTo>
                          <a:pt x="5883" y="4019"/>
                        </a:lnTo>
                        <a:lnTo>
                          <a:pt x="5871" y="4029"/>
                        </a:lnTo>
                        <a:lnTo>
                          <a:pt x="5857" y="4042"/>
                        </a:lnTo>
                        <a:lnTo>
                          <a:pt x="5855" y="4063"/>
                        </a:lnTo>
                        <a:lnTo>
                          <a:pt x="5841" y="4096"/>
                        </a:lnTo>
                        <a:lnTo>
                          <a:pt x="5833" y="4138"/>
                        </a:lnTo>
                        <a:lnTo>
                          <a:pt x="5814" y="4176"/>
                        </a:lnTo>
                        <a:lnTo>
                          <a:pt x="5801" y="4194"/>
                        </a:lnTo>
                        <a:lnTo>
                          <a:pt x="5796" y="4214"/>
                        </a:lnTo>
                        <a:lnTo>
                          <a:pt x="5784" y="4224"/>
                        </a:lnTo>
                        <a:lnTo>
                          <a:pt x="5779" y="4220"/>
                        </a:lnTo>
                        <a:lnTo>
                          <a:pt x="5728" y="4208"/>
                        </a:lnTo>
                        <a:lnTo>
                          <a:pt x="5715" y="4215"/>
                        </a:lnTo>
                        <a:lnTo>
                          <a:pt x="5679" y="4250"/>
                        </a:lnTo>
                        <a:lnTo>
                          <a:pt x="5687" y="4263"/>
                        </a:lnTo>
                        <a:lnTo>
                          <a:pt x="5693" y="4290"/>
                        </a:lnTo>
                        <a:lnTo>
                          <a:pt x="5693" y="4349"/>
                        </a:lnTo>
                        <a:lnTo>
                          <a:pt x="5677" y="4374"/>
                        </a:lnTo>
                        <a:lnTo>
                          <a:pt x="5657" y="4391"/>
                        </a:lnTo>
                        <a:lnTo>
                          <a:pt x="5657" y="4409"/>
                        </a:lnTo>
                        <a:lnTo>
                          <a:pt x="5657" y="4415"/>
                        </a:lnTo>
                        <a:lnTo>
                          <a:pt x="5661" y="4423"/>
                        </a:lnTo>
                        <a:lnTo>
                          <a:pt x="5669" y="4419"/>
                        </a:lnTo>
                        <a:lnTo>
                          <a:pt x="5667" y="4412"/>
                        </a:lnTo>
                        <a:lnTo>
                          <a:pt x="5665" y="4407"/>
                        </a:lnTo>
                        <a:lnTo>
                          <a:pt x="5673" y="4404"/>
                        </a:lnTo>
                        <a:lnTo>
                          <a:pt x="5693" y="4406"/>
                        </a:lnTo>
                        <a:lnTo>
                          <a:pt x="5699" y="4396"/>
                        </a:lnTo>
                        <a:lnTo>
                          <a:pt x="5705" y="4390"/>
                        </a:lnTo>
                        <a:lnTo>
                          <a:pt x="5709" y="4382"/>
                        </a:lnTo>
                        <a:lnTo>
                          <a:pt x="5721" y="4369"/>
                        </a:lnTo>
                        <a:lnTo>
                          <a:pt x="5728" y="4345"/>
                        </a:lnTo>
                        <a:lnTo>
                          <a:pt x="5730" y="4354"/>
                        </a:lnTo>
                        <a:lnTo>
                          <a:pt x="5737" y="4355"/>
                        </a:lnTo>
                        <a:lnTo>
                          <a:pt x="5732" y="4365"/>
                        </a:lnTo>
                        <a:lnTo>
                          <a:pt x="5736" y="4370"/>
                        </a:lnTo>
                        <a:lnTo>
                          <a:pt x="5748" y="4361"/>
                        </a:lnTo>
                        <a:lnTo>
                          <a:pt x="5754" y="4359"/>
                        </a:lnTo>
                        <a:lnTo>
                          <a:pt x="5754" y="4366"/>
                        </a:lnTo>
                        <a:lnTo>
                          <a:pt x="5753" y="4374"/>
                        </a:lnTo>
                        <a:lnTo>
                          <a:pt x="5753" y="4385"/>
                        </a:lnTo>
                        <a:lnTo>
                          <a:pt x="5755" y="4387"/>
                        </a:lnTo>
                        <a:lnTo>
                          <a:pt x="5764" y="4387"/>
                        </a:lnTo>
                        <a:lnTo>
                          <a:pt x="5774" y="4390"/>
                        </a:lnTo>
                        <a:lnTo>
                          <a:pt x="5784" y="4396"/>
                        </a:lnTo>
                        <a:lnTo>
                          <a:pt x="5787" y="4395"/>
                        </a:lnTo>
                        <a:lnTo>
                          <a:pt x="5794" y="4398"/>
                        </a:lnTo>
                        <a:lnTo>
                          <a:pt x="5806" y="4401"/>
                        </a:lnTo>
                        <a:lnTo>
                          <a:pt x="5828" y="4393"/>
                        </a:lnTo>
                        <a:lnTo>
                          <a:pt x="5835" y="4393"/>
                        </a:lnTo>
                        <a:lnTo>
                          <a:pt x="5846" y="4387"/>
                        </a:lnTo>
                        <a:lnTo>
                          <a:pt x="5860" y="4376"/>
                        </a:lnTo>
                        <a:lnTo>
                          <a:pt x="5903" y="4347"/>
                        </a:lnTo>
                        <a:lnTo>
                          <a:pt x="5916" y="4332"/>
                        </a:lnTo>
                        <a:lnTo>
                          <a:pt x="5925" y="4318"/>
                        </a:lnTo>
                        <a:lnTo>
                          <a:pt x="5939" y="4299"/>
                        </a:lnTo>
                        <a:lnTo>
                          <a:pt x="5940" y="4290"/>
                        </a:lnTo>
                        <a:lnTo>
                          <a:pt x="5947" y="4279"/>
                        </a:lnTo>
                        <a:lnTo>
                          <a:pt x="5957" y="4269"/>
                        </a:lnTo>
                        <a:lnTo>
                          <a:pt x="5968" y="4263"/>
                        </a:lnTo>
                        <a:lnTo>
                          <a:pt x="5982" y="4240"/>
                        </a:lnTo>
                        <a:lnTo>
                          <a:pt x="5989" y="4232"/>
                        </a:lnTo>
                        <a:lnTo>
                          <a:pt x="6000" y="4215"/>
                        </a:lnTo>
                        <a:lnTo>
                          <a:pt x="6050" y="4161"/>
                        </a:lnTo>
                        <a:lnTo>
                          <a:pt x="6055" y="4148"/>
                        </a:lnTo>
                        <a:lnTo>
                          <a:pt x="6066" y="4138"/>
                        </a:lnTo>
                        <a:lnTo>
                          <a:pt x="6069" y="4134"/>
                        </a:lnTo>
                        <a:lnTo>
                          <a:pt x="6083" y="4106"/>
                        </a:lnTo>
                        <a:lnTo>
                          <a:pt x="6095" y="4070"/>
                        </a:lnTo>
                        <a:lnTo>
                          <a:pt x="6102" y="4056"/>
                        </a:lnTo>
                        <a:lnTo>
                          <a:pt x="6123" y="4031"/>
                        </a:lnTo>
                        <a:lnTo>
                          <a:pt x="6140" y="4001"/>
                        </a:lnTo>
                        <a:lnTo>
                          <a:pt x="6160" y="3979"/>
                        </a:lnTo>
                        <a:lnTo>
                          <a:pt x="6169" y="3967"/>
                        </a:lnTo>
                        <a:lnTo>
                          <a:pt x="6172" y="3961"/>
                        </a:lnTo>
                        <a:lnTo>
                          <a:pt x="6179" y="3957"/>
                        </a:lnTo>
                        <a:lnTo>
                          <a:pt x="6188" y="3949"/>
                        </a:lnTo>
                        <a:lnTo>
                          <a:pt x="6192" y="3924"/>
                        </a:lnTo>
                        <a:lnTo>
                          <a:pt x="6194" y="3912"/>
                        </a:lnTo>
                        <a:lnTo>
                          <a:pt x="6193" y="3902"/>
                        </a:lnTo>
                        <a:lnTo>
                          <a:pt x="6195" y="3890"/>
                        </a:lnTo>
                        <a:lnTo>
                          <a:pt x="6204" y="3871"/>
                        </a:lnTo>
                        <a:lnTo>
                          <a:pt x="6205" y="3861"/>
                        </a:lnTo>
                        <a:lnTo>
                          <a:pt x="6201" y="3827"/>
                        </a:lnTo>
                        <a:lnTo>
                          <a:pt x="6210" y="3816"/>
                        </a:lnTo>
                        <a:lnTo>
                          <a:pt x="6209" y="3810"/>
                        </a:lnTo>
                        <a:lnTo>
                          <a:pt x="6205" y="3806"/>
                        </a:lnTo>
                        <a:lnTo>
                          <a:pt x="6199" y="3778"/>
                        </a:lnTo>
                        <a:lnTo>
                          <a:pt x="6199" y="3757"/>
                        </a:lnTo>
                        <a:lnTo>
                          <a:pt x="6205" y="3747"/>
                        </a:lnTo>
                        <a:lnTo>
                          <a:pt x="6208" y="3734"/>
                        </a:lnTo>
                        <a:lnTo>
                          <a:pt x="6209" y="3713"/>
                        </a:lnTo>
                        <a:lnTo>
                          <a:pt x="6214" y="3712"/>
                        </a:lnTo>
                        <a:lnTo>
                          <a:pt x="6214" y="3705"/>
                        </a:lnTo>
                        <a:lnTo>
                          <a:pt x="6219" y="3702"/>
                        </a:lnTo>
                        <a:lnTo>
                          <a:pt x="6216" y="3696"/>
                        </a:lnTo>
                        <a:lnTo>
                          <a:pt x="6228" y="3676"/>
                        </a:lnTo>
                        <a:lnTo>
                          <a:pt x="6236" y="3671"/>
                        </a:lnTo>
                        <a:lnTo>
                          <a:pt x="6241" y="3661"/>
                        </a:lnTo>
                        <a:lnTo>
                          <a:pt x="6247" y="3653"/>
                        </a:lnTo>
                        <a:lnTo>
                          <a:pt x="6248" y="3643"/>
                        </a:lnTo>
                        <a:lnTo>
                          <a:pt x="6253" y="3631"/>
                        </a:lnTo>
                        <a:lnTo>
                          <a:pt x="6233" y="3610"/>
                        </a:lnTo>
                        <a:lnTo>
                          <a:pt x="6241" y="3591"/>
                        </a:lnTo>
                        <a:lnTo>
                          <a:pt x="6238" y="3578"/>
                        </a:lnTo>
                        <a:lnTo>
                          <a:pt x="6235" y="3565"/>
                        </a:lnTo>
                        <a:lnTo>
                          <a:pt x="6225" y="3559"/>
                        </a:lnTo>
                        <a:lnTo>
                          <a:pt x="6214" y="3549"/>
                        </a:lnTo>
                        <a:lnTo>
                          <a:pt x="6203" y="3551"/>
                        </a:lnTo>
                        <a:lnTo>
                          <a:pt x="6190" y="3542"/>
                        </a:lnTo>
                        <a:lnTo>
                          <a:pt x="6176" y="3537"/>
                        </a:lnTo>
                        <a:lnTo>
                          <a:pt x="6168" y="3538"/>
                        </a:lnTo>
                        <a:lnTo>
                          <a:pt x="6174" y="3532"/>
                        </a:lnTo>
                        <a:lnTo>
                          <a:pt x="6188" y="3532"/>
                        </a:lnTo>
                        <a:lnTo>
                          <a:pt x="6200" y="3542"/>
                        </a:lnTo>
                        <a:lnTo>
                          <a:pt x="6209" y="3543"/>
                        </a:lnTo>
                        <a:lnTo>
                          <a:pt x="6219" y="3542"/>
                        </a:lnTo>
                        <a:lnTo>
                          <a:pt x="6237" y="3554"/>
                        </a:lnTo>
                        <a:lnTo>
                          <a:pt x="6241" y="3551"/>
                        </a:lnTo>
                        <a:lnTo>
                          <a:pt x="6249" y="3540"/>
                        </a:lnTo>
                        <a:lnTo>
                          <a:pt x="6248" y="3529"/>
                        </a:lnTo>
                        <a:lnTo>
                          <a:pt x="6241" y="3526"/>
                        </a:lnTo>
                        <a:lnTo>
                          <a:pt x="6215" y="3508"/>
                        </a:lnTo>
                        <a:lnTo>
                          <a:pt x="6203" y="3495"/>
                        </a:lnTo>
                        <a:lnTo>
                          <a:pt x="6192" y="3487"/>
                        </a:lnTo>
                        <a:lnTo>
                          <a:pt x="6189" y="3482"/>
                        </a:lnTo>
                        <a:lnTo>
                          <a:pt x="6189" y="3468"/>
                        </a:lnTo>
                        <a:lnTo>
                          <a:pt x="6182" y="3461"/>
                        </a:lnTo>
                        <a:lnTo>
                          <a:pt x="6173" y="3454"/>
                        </a:lnTo>
                        <a:lnTo>
                          <a:pt x="6163" y="3450"/>
                        </a:lnTo>
                        <a:lnTo>
                          <a:pt x="6161" y="3445"/>
                        </a:lnTo>
                        <a:lnTo>
                          <a:pt x="6161" y="3440"/>
                        </a:lnTo>
                        <a:lnTo>
                          <a:pt x="6158" y="3440"/>
                        </a:lnTo>
                        <a:lnTo>
                          <a:pt x="6150" y="3440"/>
                        </a:lnTo>
                        <a:lnTo>
                          <a:pt x="6135" y="3446"/>
                        </a:lnTo>
                        <a:lnTo>
                          <a:pt x="6124" y="3446"/>
                        </a:lnTo>
                        <a:lnTo>
                          <a:pt x="6103" y="3438"/>
                        </a:lnTo>
                        <a:lnTo>
                          <a:pt x="6103" y="3457"/>
                        </a:lnTo>
                        <a:lnTo>
                          <a:pt x="6106" y="3459"/>
                        </a:lnTo>
                        <a:lnTo>
                          <a:pt x="6103" y="3467"/>
                        </a:lnTo>
                        <a:lnTo>
                          <a:pt x="6101" y="3483"/>
                        </a:lnTo>
                        <a:lnTo>
                          <a:pt x="6093" y="3504"/>
                        </a:lnTo>
                        <a:lnTo>
                          <a:pt x="6082" y="3510"/>
                        </a:lnTo>
                        <a:lnTo>
                          <a:pt x="6086" y="3495"/>
                        </a:lnTo>
                        <a:lnTo>
                          <a:pt x="6095" y="3481"/>
                        </a:lnTo>
                        <a:lnTo>
                          <a:pt x="6090" y="3471"/>
                        </a:lnTo>
                        <a:lnTo>
                          <a:pt x="6071" y="3493"/>
                        </a:lnTo>
                        <a:lnTo>
                          <a:pt x="6058" y="3500"/>
                        </a:lnTo>
                        <a:lnTo>
                          <a:pt x="6038" y="3505"/>
                        </a:lnTo>
                        <a:lnTo>
                          <a:pt x="6023" y="3504"/>
                        </a:lnTo>
                        <a:lnTo>
                          <a:pt x="6023" y="3499"/>
                        </a:lnTo>
                        <a:lnTo>
                          <a:pt x="6032" y="3495"/>
                        </a:lnTo>
                        <a:lnTo>
                          <a:pt x="6038" y="3488"/>
                        </a:lnTo>
                        <a:lnTo>
                          <a:pt x="6045" y="3477"/>
                        </a:lnTo>
                        <a:lnTo>
                          <a:pt x="6043" y="3470"/>
                        </a:lnTo>
                        <a:lnTo>
                          <a:pt x="6033" y="3465"/>
                        </a:lnTo>
                        <a:lnTo>
                          <a:pt x="6028" y="3455"/>
                        </a:lnTo>
                        <a:lnTo>
                          <a:pt x="6034" y="3452"/>
                        </a:lnTo>
                        <a:lnTo>
                          <a:pt x="6043" y="3443"/>
                        </a:lnTo>
                        <a:lnTo>
                          <a:pt x="6044" y="3438"/>
                        </a:lnTo>
                        <a:lnTo>
                          <a:pt x="6028" y="3439"/>
                        </a:lnTo>
                        <a:lnTo>
                          <a:pt x="6018" y="3445"/>
                        </a:lnTo>
                        <a:lnTo>
                          <a:pt x="6015" y="3454"/>
                        </a:lnTo>
                        <a:lnTo>
                          <a:pt x="6021" y="3462"/>
                        </a:lnTo>
                        <a:lnTo>
                          <a:pt x="6018" y="3470"/>
                        </a:lnTo>
                        <a:lnTo>
                          <a:pt x="6010" y="3479"/>
                        </a:lnTo>
                        <a:lnTo>
                          <a:pt x="6001" y="3479"/>
                        </a:lnTo>
                        <a:lnTo>
                          <a:pt x="5996" y="3487"/>
                        </a:lnTo>
                        <a:lnTo>
                          <a:pt x="5994" y="3484"/>
                        </a:lnTo>
                        <a:lnTo>
                          <a:pt x="5993" y="3466"/>
                        </a:lnTo>
                        <a:lnTo>
                          <a:pt x="5995" y="3455"/>
                        </a:lnTo>
                        <a:lnTo>
                          <a:pt x="5996" y="3444"/>
                        </a:lnTo>
                        <a:lnTo>
                          <a:pt x="5997" y="3434"/>
                        </a:lnTo>
                        <a:lnTo>
                          <a:pt x="5996" y="3430"/>
                        </a:lnTo>
                        <a:lnTo>
                          <a:pt x="5997" y="3417"/>
                        </a:lnTo>
                        <a:lnTo>
                          <a:pt x="5995" y="3408"/>
                        </a:lnTo>
                        <a:lnTo>
                          <a:pt x="5985" y="3406"/>
                        </a:lnTo>
                        <a:lnTo>
                          <a:pt x="5962" y="3412"/>
                        </a:lnTo>
                        <a:lnTo>
                          <a:pt x="5939" y="3413"/>
                        </a:lnTo>
                        <a:lnTo>
                          <a:pt x="5929" y="3405"/>
                        </a:lnTo>
                        <a:lnTo>
                          <a:pt x="5910" y="3396"/>
                        </a:lnTo>
                        <a:lnTo>
                          <a:pt x="5910" y="3390"/>
                        </a:lnTo>
                        <a:lnTo>
                          <a:pt x="5915" y="3376"/>
                        </a:lnTo>
                        <a:lnTo>
                          <a:pt x="5942" y="3354"/>
                        </a:lnTo>
                        <a:lnTo>
                          <a:pt x="5950" y="3350"/>
                        </a:lnTo>
                        <a:lnTo>
                          <a:pt x="5968" y="3336"/>
                        </a:lnTo>
                        <a:lnTo>
                          <a:pt x="5977" y="3320"/>
                        </a:lnTo>
                        <a:lnTo>
                          <a:pt x="5983" y="3314"/>
                        </a:lnTo>
                        <a:lnTo>
                          <a:pt x="5989" y="3312"/>
                        </a:lnTo>
                        <a:lnTo>
                          <a:pt x="5999" y="3305"/>
                        </a:lnTo>
                        <a:lnTo>
                          <a:pt x="6047" y="3260"/>
                        </a:lnTo>
                        <a:lnTo>
                          <a:pt x="6056" y="3241"/>
                        </a:lnTo>
                        <a:lnTo>
                          <a:pt x="6065" y="3235"/>
                        </a:lnTo>
                        <a:lnTo>
                          <a:pt x="6069" y="3226"/>
                        </a:lnTo>
                        <a:lnTo>
                          <a:pt x="6070" y="3218"/>
                        </a:lnTo>
                        <a:lnTo>
                          <a:pt x="6076" y="3212"/>
                        </a:lnTo>
                        <a:lnTo>
                          <a:pt x="6083" y="3202"/>
                        </a:lnTo>
                        <a:lnTo>
                          <a:pt x="6087" y="3194"/>
                        </a:lnTo>
                        <a:lnTo>
                          <a:pt x="6093" y="3196"/>
                        </a:lnTo>
                        <a:lnTo>
                          <a:pt x="6099" y="3182"/>
                        </a:lnTo>
                        <a:lnTo>
                          <a:pt x="6114" y="3169"/>
                        </a:lnTo>
                        <a:lnTo>
                          <a:pt x="6130" y="3145"/>
                        </a:lnTo>
                        <a:lnTo>
                          <a:pt x="6140" y="3147"/>
                        </a:lnTo>
                        <a:lnTo>
                          <a:pt x="6158" y="3127"/>
                        </a:lnTo>
                        <a:lnTo>
                          <a:pt x="6166" y="3111"/>
                        </a:lnTo>
                        <a:lnTo>
                          <a:pt x="6169" y="3112"/>
                        </a:lnTo>
                        <a:lnTo>
                          <a:pt x="6182" y="3101"/>
                        </a:lnTo>
                        <a:lnTo>
                          <a:pt x="6193" y="3095"/>
                        </a:lnTo>
                        <a:lnTo>
                          <a:pt x="6201" y="3078"/>
                        </a:lnTo>
                        <a:lnTo>
                          <a:pt x="6204" y="3063"/>
                        </a:lnTo>
                        <a:lnTo>
                          <a:pt x="6219" y="3043"/>
                        </a:lnTo>
                        <a:lnTo>
                          <a:pt x="6258" y="3011"/>
                        </a:lnTo>
                        <a:lnTo>
                          <a:pt x="6270" y="2994"/>
                        </a:lnTo>
                        <a:lnTo>
                          <a:pt x="6280" y="2976"/>
                        </a:lnTo>
                        <a:lnTo>
                          <a:pt x="6298" y="2960"/>
                        </a:lnTo>
                        <a:lnTo>
                          <a:pt x="6316" y="2946"/>
                        </a:lnTo>
                        <a:lnTo>
                          <a:pt x="6345" y="2932"/>
                        </a:lnTo>
                        <a:lnTo>
                          <a:pt x="6400" y="2927"/>
                        </a:lnTo>
                        <a:lnTo>
                          <a:pt x="6436" y="2927"/>
                        </a:lnTo>
                        <a:lnTo>
                          <a:pt x="6456" y="2924"/>
                        </a:lnTo>
                        <a:lnTo>
                          <a:pt x="6464" y="2927"/>
                        </a:lnTo>
                        <a:lnTo>
                          <a:pt x="6475" y="2925"/>
                        </a:lnTo>
                        <a:lnTo>
                          <a:pt x="6488" y="2929"/>
                        </a:lnTo>
                        <a:lnTo>
                          <a:pt x="6495" y="2929"/>
                        </a:lnTo>
                        <a:lnTo>
                          <a:pt x="6495" y="2941"/>
                        </a:lnTo>
                        <a:lnTo>
                          <a:pt x="6500" y="2950"/>
                        </a:lnTo>
                        <a:lnTo>
                          <a:pt x="6507" y="2951"/>
                        </a:lnTo>
                        <a:lnTo>
                          <a:pt x="6518" y="2949"/>
                        </a:lnTo>
                        <a:lnTo>
                          <a:pt x="6521" y="2944"/>
                        </a:lnTo>
                        <a:lnTo>
                          <a:pt x="6522" y="2923"/>
                        </a:lnTo>
                        <a:lnTo>
                          <a:pt x="6527" y="2919"/>
                        </a:lnTo>
                        <a:lnTo>
                          <a:pt x="6585" y="2943"/>
                        </a:lnTo>
                        <a:lnTo>
                          <a:pt x="6602" y="2940"/>
                        </a:lnTo>
                        <a:lnTo>
                          <a:pt x="6602" y="2932"/>
                        </a:lnTo>
                        <a:lnTo>
                          <a:pt x="6610" y="2927"/>
                        </a:lnTo>
                        <a:lnTo>
                          <a:pt x="6630" y="2928"/>
                        </a:lnTo>
                        <a:lnTo>
                          <a:pt x="6638" y="2937"/>
                        </a:lnTo>
                        <a:lnTo>
                          <a:pt x="6641" y="2944"/>
                        </a:lnTo>
                        <a:lnTo>
                          <a:pt x="6646" y="2945"/>
                        </a:lnTo>
                        <a:lnTo>
                          <a:pt x="6660" y="2941"/>
                        </a:lnTo>
                        <a:lnTo>
                          <a:pt x="6660" y="2932"/>
                        </a:lnTo>
                        <a:lnTo>
                          <a:pt x="6656" y="2932"/>
                        </a:lnTo>
                        <a:lnTo>
                          <a:pt x="6651" y="2923"/>
                        </a:lnTo>
                        <a:lnTo>
                          <a:pt x="6660" y="2918"/>
                        </a:lnTo>
                        <a:lnTo>
                          <a:pt x="6673" y="2918"/>
                        </a:lnTo>
                        <a:lnTo>
                          <a:pt x="6672" y="2912"/>
                        </a:lnTo>
                        <a:lnTo>
                          <a:pt x="6667" y="2905"/>
                        </a:lnTo>
                        <a:lnTo>
                          <a:pt x="6668" y="2898"/>
                        </a:lnTo>
                        <a:lnTo>
                          <a:pt x="6679" y="2891"/>
                        </a:lnTo>
                        <a:lnTo>
                          <a:pt x="6692" y="2890"/>
                        </a:lnTo>
                        <a:lnTo>
                          <a:pt x="6705" y="2892"/>
                        </a:lnTo>
                        <a:lnTo>
                          <a:pt x="6737" y="2905"/>
                        </a:lnTo>
                        <a:lnTo>
                          <a:pt x="6747" y="2905"/>
                        </a:lnTo>
                        <a:lnTo>
                          <a:pt x="6760" y="2913"/>
                        </a:lnTo>
                        <a:lnTo>
                          <a:pt x="6762" y="2918"/>
                        </a:lnTo>
                        <a:lnTo>
                          <a:pt x="6770" y="2921"/>
                        </a:lnTo>
                        <a:lnTo>
                          <a:pt x="6775" y="2908"/>
                        </a:lnTo>
                        <a:lnTo>
                          <a:pt x="6785" y="2906"/>
                        </a:lnTo>
                        <a:lnTo>
                          <a:pt x="6798" y="2910"/>
                        </a:lnTo>
                        <a:lnTo>
                          <a:pt x="6808" y="2916"/>
                        </a:lnTo>
                        <a:lnTo>
                          <a:pt x="6817" y="2927"/>
                        </a:lnTo>
                        <a:lnTo>
                          <a:pt x="6822" y="2937"/>
                        </a:lnTo>
                        <a:lnTo>
                          <a:pt x="6841" y="2940"/>
                        </a:lnTo>
                        <a:lnTo>
                          <a:pt x="6845" y="2948"/>
                        </a:lnTo>
                        <a:lnTo>
                          <a:pt x="6833" y="2953"/>
                        </a:lnTo>
                        <a:lnTo>
                          <a:pt x="6817" y="2954"/>
                        </a:lnTo>
                        <a:lnTo>
                          <a:pt x="6795" y="2954"/>
                        </a:lnTo>
                        <a:lnTo>
                          <a:pt x="6784" y="2959"/>
                        </a:lnTo>
                        <a:lnTo>
                          <a:pt x="6785" y="2965"/>
                        </a:lnTo>
                        <a:lnTo>
                          <a:pt x="6800" y="2984"/>
                        </a:lnTo>
                        <a:lnTo>
                          <a:pt x="6816" y="2986"/>
                        </a:lnTo>
                        <a:lnTo>
                          <a:pt x="6829" y="2984"/>
                        </a:lnTo>
                        <a:lnTo>
                          <a:pt x="6843" y="2981"/>
                        </a:lnTo>
                        <a:lnTo>
                          <a:pt x="6849" y="2971"/>
                        </a:lnTo>
                        <a:lnTo>
                          <a:pt x="6859" y="2966"/>
                        </a:lnTo>
                        <a:lnTo>
                          <a:pt x="6866" y="2973"/>
                        </a:lnTo>
                        <a:lnTo>
                          <a:pt x="6878" y="2978"/>
                        </a:lnTo>
                        <a:lnTo>
                          <a:pt x="6886" y="2972"/>
                        </a:lnTo>
                        <a:lnTo>
                          <a:pt x="6892" y="2962"/>
                        </a:lnTo>
                        <a:lnTo>
                          <a:pt x="6905" y="2960"/>
                        </a:lnTo>
                        <a:lnTo>
                          <a:pt x="6907" y="2953"/>
                        </a:lnTo>
                        <a:lnTo>
                          <a:pt x="6919" y="2946"/>
                        </a:lnTo>
                        <a:lnTo>
                          <a:pt x="6935" y="2951"/>
                        </a:lnTo>
                        <a:lnTo>
                          <a:pt x="6942" y="2962"/>
                        </a:lnTo>
                        <a:lnTo>
                          <a:pt x="6951" y="2962"/>
                        </a:lnTo>
                        <a:lnTo>
                          <a:pt x="6963" y="2959"/>
                        </a:lnTo>
                        <a:lnTo>
                          <a:pt x="6967" y="2950"/>
                        </a:lnTo>
                        <a:lnTo>
                          <a:pt x="6981" y="2951"/>
                        </a:lnTo>
                        <a:lnTo>
                          <a:pt x="6988" y="2956"/>
                        </a:lnTo>
                        <a:lnTo>
                          <a:pt x="6991" y="2950"/>
                        </a:lnTo>
                        <a:lnTo>
                          <a:pt x="7001" y="2950"/>
                        </a:lnTo>
                        <a:lnTo>
                          <a:pt x="7002" y="2943"/>
                        </a:lnTo>
                        <a:lnTo>
                          <a:pt x="7000" y="2933"/>
                        </a:lnTo>
                        <a:lnTo>
                          <a:pt x="6993" y="2922"/>
                        </a:lnTo>
                        <a:lnTo>
                          <a:pt x="6972" y="2913"/>
                        </a:lnTo>
                        <a:lnTo>
                          <a:pt x="6951" y="2917"/>
                        </a:lnTo>
                        <a:lnTo>
                          <a:pt x="6952" y="2910"/>
                        </a:lnTo>
                        <a:lnTo>
                          <a:pt x="6958" y="2902"/>
                        </a:lnTo>
                        <a:lnTo>
                          <a:pt x="6950" y="2879"/>
                        </a:lnTo>
                        <a:lnTo>
                          <a:pt x="6953" y="2875"/>
                        </a:lnTo>
                        <a:lnTo>
                          <a:pt x="6959" y="2879"/>
                        </a:lnTo>
                        <a:lnTo>
                          <a:pt x="6962" y="2879"/>
                        </a:lnTo>
                        <a:lnTo>
                          <a:pt x="6975" y="2849"/>
                        </a:lnTo>
                        <a:lnTo>
                          <a:pt x="6983" y="2837"/>
                        </a:lnTo>
                        <a:lnTo>
                          <a:pt x="6986" y="2827"/>
                        </a:lnTo>
                        <a:lnTo>
                          <a:pt x="6999" y="2815"/>
                        </a:lnTo>
                        <a:lnTo>
                          <a:pt x="7011" y="2809"/>
                        </a:lnTo>
                        <a:lnTo>
                          <a:pt x="7047" y="2776"/>
                        </a:lnTo>
                        <a:lnTo>
                          <a:pt x="7047" y="2767"/>
                        </a:lnTo>
                        <a:lnTo>
                          <a:pt x="7051" y="2757"/>
                        </a:lnTo>
                        <a:lnTo>
                          <a:pt x="7074" y="2731"/>
                        </a:lnTo>
                        <a:lnTo>
                          <a:pt x="7083" y="2723"/>
                        </a:lnTo>
                        <a:lnTo>
                          <a:pt x="7088" y="2697"/>
                        </a:lnTo>
                        <a:lnTo>
                          <a:pt x="7099" y="2690"/>
                        </a:lnTo>
                        <a:lnTo>
                          <a:pt x="7118" y="2670"/>
                        </a:lnTo>
                        <a:lnTo>
                          <a:pt x="7128" y="2666"/>
                        </a:lnTo>
                        <a:lnTo>
                          <a:pt x="7137" y="2659"/>
                        </a:lnTo>
                        <a:lnTo>
                          <a:pt x="7165" y="2661"/>
                        </a:lnTo>
                        <a:lnTo>
                          <a:pt x="7205" y="2653"/>
                        </a:lnTo>
                        <a:lnTo>
                          <a:pt x="7211" y="2648"/>
                        </a:lnTo>
                        <a:lnTo>
                          <a:pt x="7215" y="2642"/>
                        </a:lnTo>
                        <a:lnTo>
                          <a:pt x="7221" y="2643"/>
                        </a:lnTo>
                        <a:lnTo>
                          <a:pt x="7235" y="2652"/>
                        </a:lnTo>
                        <a:lnTo>
                          <a:pt x="7241" y="2659"/>
                        </a:lnTo>
                        <a:lnTo>
                          <a:pt x="7244" y="2670"/>
                        </a:lnTo>
                        <a:lnTo>
                          <a:pt x="7260" y="2669"/>
                        </a:lnTo>
                        <a:lnTo>
                          <a:pt x="7270" y="2658"/>
                        </a:lnTo>
                        <a:lnTo>
                          <a:pt x="7290" y="2638"/>
                        </a:lnTo>
                        <a:lnTo>
                          <a:pt x="7281" y="2685"/>
                        </a:lnTo>
                        <a:lnTo>
                          <a:pt x="7273" y="2693"/>
                        </a:lnTo>
                        <a:lnTo>
                          <a:pt x="7269" y="2703"/>
                        </a:lnTo>
                        <a:lnTo>
                          <a:pt x="7263" y="2712"/>
                        </a:lnTo>
                        <a:lnTo>
                          <a:pt x="7263" y="2725"/>
                        </a:lnTo>
                        <a:lnTo>
                          <a:pt x="7269" y="2733"/>
                        </a:lnTo>
                        <a:lnTo>
                          <a:pt x="7268" y="2741"/>
                        </a:lnTo>
                        <a:lnTo>
                          <a:pt x="7263" y="2745"/>
                        </a:lnTo>
                        <a:lnTo>
                          <a:pt x="7260" y="2752"/>
                        </a:lnTo>
                        <a:lnTo>
                          <a:pt x="7265" y="2756"/>
                        </a:lnTo>
                        <a:lnTo>
                          <a:pt x="7280" y="2749"/>
                        </a:lnTo>
                        <a:lnTo>
                          <a:pt x="7292" y="2746"/>
                        </a:lnTo>
                        <a:lnTo>
                          <a:pt x="7281" y="2771"/>
                        </a:lnTo>
                        <a:lnTo>
                          <a:pt x="7278" y="2787"/>
                        </a:lnTo>
                        <a:lnTo>
                          <a:pt x="7279" y="2797"/>
                        </a:lnTo>
                        <a:lnTo>
                          <a:pt x="7286" y="2793"/>
                        </a:lnTo>
                        <a:lnTo>
                          <a:pt x="7300" y="2781"/>
                        </a:lnTo>
                        <a:lnTo>
                          <a:pt x="7309" y="2781"/>
                        </a:lnTo>
                        <a:lnTo>
                          <a:pt x="7345" y="2734"/>
                        </a:lnTo>
                        <a:lnTo>
                          <a:pt x="7355" y="2728"/>
                        </a:lnTo>
                        <a:lnTo>
                          <a:pt x="7367" y="2713"/>
                        </a:lnTo>
                        <a:lnTo>
                          <a:pt x="7378" y="2704"/>
                        </a:lnTo>
                        <a:lnTo>
                          <a:pt x="7399" y="2680"/>
                        </a:lnTo>
                        <a:lnTo>
                          <a:pt x="7414" y="2679"/>
                        </a:lnTo>
                        <a:lnTo>
                          <a:pt x="7420" y="2675"/>
                        </a:lnTo>
                        <a:lnTo>
                          <a:pt x="7422" y="2666"/>
                        </a:lnTo>
                        <a:lnTo>
                          <a:pt x="7430" y="2671"/>
                        </a:lnTo>
                        <a:lnTo>
                          <a:pt x="7429" y="2680"/>
                        </a:lnTo>
                        <a:lnTo>
                          <a:pt x="7431" y="2688"/>
                        </a:lnTo>
                        <a:lnTo>
                          <a:pt x="7438" y="2687"/>
                        </a:lnTo>
                        <a:lnTo>
                          <a:pt x="7447" y="2669"/>
                        </a:lnTo>
                        <a:lnTo>
                          <a:pt x="7437" y="2666"/>
                        </a:lnTo>
                        <a:lnTo>
                          <a:pt x="7434" y="2656"/>
                        </a:lnTo>
                        <a:lnTo>
                          <a:pt x="7437" y="2642"/>
                        </a:lnTo>
                        <a:lnTo>
                          <a:pt x="7438" y="2627"/>
                        </a:lnTo>
                        <a:lnTo>
                          <a:pt x="7438" y="2618"/>
                        </a:lnTo>
                        <a:lnTo>
                          <a:pt x="7448" y="2601"/>
                        </a:lnTo>
                        <a:lnTo>
                          <a:pt x="7448" y="2593"/>
                        </a:lnTo>
                        <a:lnTo>
                          <a:pt x="7452" y="2583"/>
                        </a:lnTo>
                        <a:lnTo>
                          <a:pt x="7467" y="2569"/>
                        </a:lnTo>
                        <a:lnTo>
                          <a:pt x="7511" y="2553"/>
                        </a:lnTo>
                        <a:lnTo>
                          <a:pt x="7526" y="2557"/>
                        </a:lnTo>
                        <a:lnTo>
                          <a:pt x="7542" y="2572"/>
                        </a:lnTo>
                        <a:lnTo>
                          <a:pt x="7535" y="2585"/>
                        </a:lnTo>
                        <a:lnTo>
                          <a:pt x="7524" y="2582"/>
                        </a:lnTo>
                        <a:lnTo>
                          <a:pt x="7506" y="2596"/>
                        </a:lnTo>
                        <a:lnTo>
                          <a:pt x="7496" y="2607"/>
                        </a:lnTo>
                        <a:lnTo>
                          <a:pt x="7494" y="2623"/>
                        </a:lnTo>
                        <a:lnTo>
                          <a:pt x="7490" y="2631"/>
                        </a:lnTo>
                        <a:lnTo>
                          <a:pt x="7489" y="2644"/>
                        </a:lnTo>
                        <a:lnTo>
                          <a:pt x="7489" y="2670"/>
                        </a:lnTo>
                        <a:lnTo>
                          <a:pt x="7478" y="2681"/>
                        </a:lnTo>
                        <a:lnTo>
                          <a:pt x="7477" y="2688"/>
                        </a:lnTo>
                        <a:lnTo>
                          <a:pt x="7478" y="2699"/>
                        </a:lnTo>
                        <a:lnTo>
                          <a:pt x="7480" y="2706"/>
                        </a:lnTo>
                        <a:lnTo>
                          <a:pt x="7479" y="2718"/>
                        </a:lnTo>
                        <a:lnTo>
                          <a:pt x="7472" y="2728"/>
                        </a:lnTo>
                        <a:lnTo>
                          <a:pt x="7465" y="2731"/>
                        </a:lnTo>
                        <a:lnTo>
                          <a:pt x="7464" y="2738"/>
                        </a:lnTo>
                        <a:lnTo>
                          <a:pt x="7463" y="2749"/>
                        </a:lnTo>
                        <a:lnTo>
                          <a:pt x="7472" y="2755"/>
                        </a:lnTo>
                        <a:lnTo>
                          <a:pt x="7472" y="2762"/>
                        </a:lnTo>
                        <a:lnTo>
                          <a:pt x="7462" y="2771"/>
                        </a:lnTo>
                        <a:lnTo>
                          <a:pt x="7451" y="2777"/>
                        </a:lnTo>
                        <a:lnTo>
                          <a:pt x="7440" y="2774"/>
                        </a:lnTo>
                        <a:lnTo>
                          <a:pt x="7427" y="2779"/>
                        </a:lnTo>
                        <a:lnTo>
                          <a:pt x="7415" y="2797"/>
                        </a:lnTo>
                        <a:lnTo>
                          <a:pt x="7402" y="2798"/>
                        </a:lnTo>
                        <a:lnTo>
                          <a:pt x="7376" y="2809"/>
                        </a:lnTo>
                        <a:lnTo>
                          <a:pt x="7372" y="2814"/>
                        </a:lnTo>
                        <a:lnTo>
                          <a:pt x="7372" y="2826"/>
                        </a:lnTo>
                        <a:lnTo>
                          <a:pt x="7367" y="2838"/>
                        </a:lnTo>
                        <a:lnTo>
                          <a:pt x="7356" y="2848"/>
                        </a:lnTo>
                        <a:lnTo>
                          <a:pt x="7343" y="2864"/>
                        </a:lnTo>
                        <a:lnTo>
                          <a:pt x="7318" y="2897"/>
                        </a:lnTo>
                        <a:lnTo>
                          <a:pt x="7293" y="2911"/>
                        </a:lnTo>
                        <a:lnTo>
                          <a:pt x="7286" y="2929"/>
                        </a:lnTo>
                        <a:lnTo>
                          <a:pt x="7276" y="2934"/>
                        </a:lnTo>
                        <a:lnTo>
                          <a:pt x="7258" y="2960"/>
                        </a:lnTo>
                        <a:lnTo>
                          <a:pt x="7255" y="2978"/>
                        </a:lnTo>
                        <a:lnTo>
                          <a:pt x="7236" y="3002"/>
                        </a:lnTo>
                        <a:lnTo>
                          <a:pt x="7225" y="3019"/>
                        </a:lnTo>
                        <a:lnTo>
                          <a:pt x="7210" y="3031"/>
                        </a:lnTo>
                        <a:lnTo>
                          <a:pt x="7195" y="3047"/>
                        </a:lnTo>
                        <a:lnTo>
                          <a:pt x="7182" y="3066"/>
                        </a:lnTo>
                        <a:lnTo>
                          <a:pt x="7162" y="3075"/>
                        </a:lnTo>
                        <a:lnTo>
                          <a:pt x="7144" y="3075"/>
                        </a:lnTo>
                        <a:lnTo>
                          <a:pt x="7137" y="3085"/>
                        </a:lnTo>
                        <a:lnTo>
                          <a:pt x="7128" y="3096"/>
                        </a:lnTo>
                        <a:lnTo>
                          <a:pt x="7108" y="3091"/>
                        </a:lnTo>
                        <a:lnTo>
                          <a:pt x="7098" y="3093"/>
                        </a:lnTo>
                        <a:lnTo>
                          <a:pt x="7103" y="3105"/>
                        </a:lnTo>
                        <a:lnTo>
                          <a:pt x="7106" y="3124"/>
                        </a:lnTo>
                        <a:lnTo>
                          <a:pt x="7093" y="3164"/>
                        </a:lnTo>
                        <a:lnTo>
                          <a:pt x="7077" y="3174"/>
                        </a:lnTo>
                        <a:lnTo>
                          <a:pt x="7065" y="3186"/>
                        </a:lnTo>
                        <a:lnTo>
                          <a:pt x="7051" y="3193"/>
                        </a:lnTo>
                        <a:lnTo>
                          <a:pt x="7045" y="3206"/>
                        </a:lnTo>
                        <a:lnTo>
                          <a:pt x="7040" y="3229"/>
                        </a:lnTo>
                        <a:lnTo>
                          <a:pt x="7028" y="3279"/>
                        </a:lnTo>
                        <a:lnTo>
                          <a:pt x="7027" y="3328"/>
                        </a:lnTo>
                        <a:lnTo>
                          <a:pt x="7028" y="3352"/>
                        </a:lnTo>
                        <a:lnTo>
                          <a:pt x="7031" y="3374"/>
                        </a:lnTo>
                        <a:lnTo>
                          <a:pt x="7032" y="3403"/>
                        </a:lnTo>
                        <a:lnTo>
                          <a:pt x="7036" y="3418"/>
                        </a:lnTo>
                        <a:lnTo>
                          <a:pt x="7040" y="3459"/>
                        </a:lnTo>
                        <a:lnTo>
                          <a:pt x="7042" y="3463"/>
                        </a:lnTo>
                        <a:lnTo>
                          <a:pt x="7044" y="3467"/>
                        </a:lnTo>
                        <a:lnTo>
                          <a:pt x="7051" y="3503"/>
                        </a:lnTo>
                        <a:lnTo>
                          <a:pt x="7056" y="3524"/>
                        </a:lnTo>
                        <a:lnTo>
                          <a:pt x="7058" y="3551"/>
                        </a:lnTo>
                        <a:lnTo>
                          <a:pt x="7061" y="3573"/>
                        </a:lnTo>
                        <a:lnTo>
                          <a:pt x="7066" y="3596"/>
                        </a:lnTo>
                        <a:lnTo>
                          <a:pt x="7075" y="3617"/>
                        </a:lnTo>
                        <a:lnTo>
                          <a:pt x="7081" y="3640"/>
                        </a:lnTo>
                        <a:lnTo>
                          <a:pt x="7081" y="3685"/>
                        </a:lnTo>
                        <a:lnTo>
                          <a:pt x="7082" y="3705"/>
                        </a:lnTo>
                        <a:lnTo>
                          <a:pt x="7092" y="3729"/>
                        </a:lnTo>
                        <a:lnTo>
                          <a:pt x="7094" y="3742"/>
                        </a:lnTo>
                        <a:lnTo>
                          <a:pt x="7108" y="3728"/>
                        </a:lnTo>
                        <a:lnTo>
                          <a:pt x="7120" y="3718"/>
                        </a:lnTo>
                        <a:lnTo>
                          <a:pt x="7131" y="3704"/>
                        </a:lnTo>
                        <a:lnTo>
                          <a:pt x="7139" y="3691"/>
                        </a:lnTo>
                        <a:lnTo>
                          <a:pt x="7150" y="3682"/>
                        </a:lnTo>
                        <a:lnTo>
                          <a:pt x="7172" y="3656"/>
                        </a:lnTo>
                        <a:lnTo>
                          <a:pt x="7184" y="3626"/>
                        </a:lnTo>
                        <a:lnTo>
                          <a:pt x="7185" y="3613"/>
                        </a:lnTo>
                        <a:lnTo>
                          <a:pt x="7184" y="3595"/>
                        </a:lnTo>
                        <a:lnTo>
                          <a:pt x="7188" y="3589"/>
                        </a:lnTo>
                        <a:lnTo>
                          <a:pt x="7192" y="3573"/>
                        </a:lnTo>
                        <a:lnTo>
                          <a:pt x="7187" y="3569"/>
                        </a:lnTo>
                        <a:lnTo>
                          <a:pt x="7192" y="3561"/>
                        </a:lnTo>
                        <a:lnTo>
                          <a:pt x="7198" y="3562"/>
                        </a:lnTo>
                        <a:lnTo>
                          <a:pt x="7203" y="3567"/>
                        </a:lnTo>
                        <a:lnTo>
                          <a:pt x="7212" y="3556"/>
                        </a:lnTo>
                        <a:lnTo>
                          <a:pt x="7228" y="3545"/>
                        </a:lnTo>
                        <a:lnTo>
                          <a:pt x="7252" y="3536"/>
                        </a:lnTo>
                        <a:lnTo>
                          <a:pt x="7269" y="3542"/>
                        </a:lnTo>
                        <a:lnTo>
                          <a:pt x="7268" y="3536"/>
                        </a:lnTo>
                        <a:lnTo>
                          <a:pt x="7264" y="3529"/>
                        </a:lnTo>
                        <a:lnTo>
                          <a:pt x="7262" y="3516"/>
                        </a:lnTo>
                        <a:lnTo>
                          <a:pt x="7262" y="3479"/>
                        </a:lnTo>
                        <a:lnTo>
                          <a:pt x="7263" y="3463"/>
                        </a:lnTo>
                        <a:lnTo>
                          <a:pt x="7273" y="3450"/>
                        </a:lnTo>
                        <a:lnTo>
                          <a:pt x="7301" y="3423"/>
                        </a:lnTo>
                        <a:lnTo>
                          <a:pt x="7319" y="3413"/>
                        </a:lnTo>
                        <a:lnTo>
                          <a:pt x="7335" y="3409"/>
                        </a:lnTo>
                        <a:lnTo>
                          <a:pt x="7341" y="3418"/>
                        </a:lnTo>
                        <a:lnTo>
                          <a:pt x="7354" y="3418"/>
                        </a:lnTo>
                        <a:lnTo>
                          <a:pt x="7366" y="3414"/>
                        </a:lnTo>
                        <a:lnTo>
                          <a:pt x="7382" y="3398"/>
                        </a:lnTo>
                        <a:lnTo>
                          <a:pt x="7384" y="3390"/>
                        </a:lnTo>
                        <a:lnTo>
                          <a:pt x="7365" y="3362"/>
                        </a:lnTo>
                        <a:lnTo>
                          <a:pt x="7360" y="3347"/>
                        </a:lnTo>
                        <a:lnTo>
                          <a:pt x="7357" y="3335"/>
                        </a:lnTo>
                        <a:lnTo>
                          <a:pt x="7359" y="3322"/>
                        </a:lnTo>
                        <a:lnTo>
                          <a:pt x="7362" y="3305"/>
                        </a:lnTo>
                        <a:lnTo>
                          <a:pt x="7368" y="3293"/>
                        </a:lnTo>
                        <a:lnTo>
                          <a:pt x="7372" y="3279"/>
                        </a:lnTo>
                        <a:lnTo>
                          <a:pt x="7381" y="3267"/>
                        </a:lnTo>
                        <a:lnTo>
                          <a:pt x="7397" y="3256"/>
                        </a:lnTo>
                        <a:lnTo>
                          <a:pt x="7394" y="3247"/>
                        </a:lnTo>
                        <a:lnTo>
                          <a:pt x="7391" y="3242"/>
                        </a:lnTo>
                        <a:lnTo>
                          <a:pt x="7389" y="3237"/>
                        </a:lnTo>
                        <a:lnTo>
                          <a:pt x="7405" y="3231"/>
                        </a:lnTo>
                        <a:lnTo>
                          <a:pt x="7422" y="3229"/>
                        </a:lnTo>
                        <a:lnTo>
                          <a:pt x="7429" y="3222"/>
                        </a:lnTo>
                        <a:lnTo>
                          <a:pt x="7431" y="3226"/>
                        </a:lnTo>
                        <a:lnTo>
                          <a:pt x="7424" y="3237"/>
                        </a:lnTo>
                        <a:lnTo>
                          <a:pt x="7416" y="3242"/>
                        </a:lnTo>
                        <a:lnTo>
                          <a:pt x="7413" y="3251"/>
                        </a:lnTo>
                        <a:lnTo>
                          <a:pt x="7422" y="3271"/>
                        </a:lnTo>
                        <a:lnTo>
                          <a:pt x="7431" y="3274"/>
                        </a:lnTo>
                        <a:lnTo>
                          <a:pt x="7435" y="3274"/>
                        </a:lnTo>
                        <a:lnTo>
                          <a:pt x="7445" y="3258"/>
                        </a:lnTo>
                        <a:lnTo>
                          <a:pt x="7447" y="3247"/>
                        </a:lnTo>
                        <a:lnTo>
                          <a:pt x="7442" y="3212"/>
                        </a:lnTo>
                        <a:lnTo>
                          <a:pt x="7437" y="3203"/>
                        </a:lnTo>
                        <a:lnTo>
                          <a:pt x="7421" y="3206"/>
                        </a:lnTo>
                        <a:lnTo>
                          <a:pt x="7419" y="3202"/>
                        </a:lnTo>
                        <a:lnTo>
                          <a:pt x="7419" y="3180"/>
                        </a:lnTo>
                        <a:lnTo>
                          <a:pt x="7416" y="3159"/>
                        </a:lnTo>
                        <a:lnTo>
                          <a:pt x="7418" y="3147"/>
                        </a:lnTo>
                        <a:lnTo>
                          <a:pt x="7421" y="3137"/>
                        </a:lnTo>
                        <a:lnTo>
                          <a:pt x="7434" y="3126"/>
                        </a:lnTo>
                        <a:lnTo>
                          <a:pt x="7445" y="3106"/>
                        </a:lnTo>
                        <a:lnTo>
                          <a:pt x="7443" y="3097"/>
                        </a:lnTo>
                        <a:lnTo>
                          <a:pt x="7413" y="3079"/>
                        </a:lnTo>
                        <a:lnTo>
                          <a:pt x="7400" y="3083"/>
                        </a:lnTo>
                        <a:lnTo>
                          <a:pt x="7397" y="3096"/>
                        </a:lnTo>
                        <a:lnTo>
                          <a:pt x="7394" y="3100"/>
                        </a:lnTo>
                        <a:lnTo>
                          <a:pt x="7387" y="3097"/>
                        </a:lnTo>
                        <a:lnTo>
                          <a:pt x="7381" y="3093"/>
                        </a:lnTo>
                        <a:lnTo>
                          <a:pt x="7377" y="3081"/>
                        </a:lnTo>
                        <a:lnTo>
                          <a:pt x="7377" y="3063"/>
                        </a:lnTo>
                        <a:lnTo>
                          <a:pt x="7381" y="3051"/>
                        </a:lnTo>
                        <a:lnTo>
                          <a:pt x="7386" y="3032"/>
                        </a:lnTo>
                        <a:lnTo>
                          <a:pt x="7393" y="3019"/>
                        </a:lnTo>
                        <a:lnTo>
                          <a:pt x="7407" y="2999"/>
                        </a:lnTo>
                        <a:lnTo>
                          <a:pt x="7420" y="2983"/>
                        </a:lnTo>
                        <a:lnTo>
                          <a:pt x="7427" y="2970"/>
                        </a:lnTo>
                        <a:lnTo>
                          <a:pt x="7426" y="2960"/>
                        </a:lnTo>
                        <a:lnTo>
                          <a:pt x="7430" y="2954"/>
                        </a:lnTo>
                        <a:lnTo>
                          <a:pt x="7440" y="2957"/>
                        </a:lnTo>
                        <a:lnTo>
                          <a:pt x="7437" y="2950"/>
                        </a:lnTo>
                        <a:lnTo>
                          <a:pt x="7437" y="2943"/>
                        </a:lnTo>
                        <a:lnTo>
                          <a:pt x="7446" y="2938"/>
                        </a:lnTo>
                        <a:lnTo>
                          <a:pt x="7450" y="2932"/>
                        </a:lnTo>
                        <a:lnTo>
                          <a:pt x="7446" y="2918"/>
                        </a:lnTo>
                        <a:lnTo>
                          <a:pt x="7447" y="2905"/>
                        </a:lnTo>
                        <a:lnTo>
                          <a:pt x="7454" y="2892"/>
                        </a:lnTo>
                        <a:lnTo>
                          <a:pt x="7456" y="2881"/>
                        </a:lnTo>
                        <a:lnTo>
                          <a:pt x="7462" y="2875"/>
                        </a:lnTo>
                        <a:lnTo>
                          <a:pt x="7472" y="2871"/>
                        </a:lnTo>
                        <a:lnTo>
                          <a:pt x="7485" y="2862"/>
                        </a:lnTo>
                        <a:lnTo>
                          <a:pt x="7492" y="2867"/>
                        </a:lnTo>
                        <a:lnTo>
                          <a:pt x="7496" y="2876"/>
                        </a:lnTo>
                        <a:lnTo>
                          <a:pt x="7505" y="2864"/>
                        </a:lnTo>
                        <a:lnTo>
                          <a:pt x="7517" y="2855"/>
                        </a:lnTo>
                        <a:lnTo>
                          <a:pt x="7527" y="2865"/>
                        </a:lnTo>
                        <a:lnTo>
                          <a:pt x="7532" y="2879"/>
                        </a:lnTo>
                        <a:lnTo>
                          <a:pt x="7542" y="2881"/>
                        </a:lnTo>
                        <a:lnTo>
                          <a:pt x="7547" y="2864"/>
                        </a:lnTo>
                        <a:lnTo>
                          <a:pt x="7547" y="2852"/>
                        </a:lnTo>
                        <a:lnTo>
                          <a:pt x="7556" y="2840"/>
                        </a:lnTo>
                        <a:lnTo>
                          <a:pt x="7563" y="2836"/>
                        </a:lnTo>
                        <a:lnTo>
                          <a:pt x="7581" y="2830"/>
                        </a:lnTo>
                        <a:lnTo>
                          <a:pt x="7588" y="2824"/>
                        </a:lnTo>
                        <a:lnTo>
                          <a:pt x="7598" y="2809"/>
                        </a:lnTo>
                        <a:lnTo>
                          <a:pt x="7604" y="2803"/>
                        </a:lnTo>
                        <a:lnTo>
                          <a:pt x="7609" y="2806"/>
                        </a:lnTo>
                        <a:lnTo>
                          <a:pt x="7612" y="2814"/>
                        </a:lnTo>
                        <a:lnTo>
                          <a:pt x="7607" y="2821"/>
                        </a:lnTo>
                        <a:lnTo>
                          <a:pt x="7610" y="2841"/>
                        </a:lnTo>
                        <a:lnTo>
                          <a:pt x="7606" y="2855"/>
                        </a:lnTo>
                        <a:lnTo>
                          <a:pt x="7606" y="2864"/>
                        </a:lnTo>
                        <a:lnTo>
                          <a:pt x="7604" y="2870"/>
                        </a:lnTo>
                        <a:lnTo>
                          <a:pt x="7602" y="2875"/>
                        </a:lnTo>
                        <a:lnTo>
                          <a:pt x="7602" y="2880"/>
                        </a:lnTo>
                        <a:lnTo>
                          <a:pt x="7606" y="2880"/>
                        </a:lnTo>
                        <a:lnTo>
                          <a:pt x="7618" y="2863"/>
                        </a:lnTo>
                        <a:lnTo>
                          <a:pt x="7647" y="2835"/>
                        </a:lnTo>
                        <a:lnTo>
                          <a:pt x="7649" y="2828"/>
                        </a:lnTo>
                        <a:lnTo>
                          <a:pt x="7647" y="2819"/>
                        </a:lnTo>
                        <a:lnTo>
                          <a:pt x="7650" y="2815"/>
                        </a:lnTo>
                        <a:lnTo>
                          <a:pt x="7658" y="2822"/>
                        </a:lnTo>
                        <a:lnTo>
                          <a:pt x="7667" y="2814"/>
                        </a:lnTo>
                        <a:lnTo>
                          <a:pt x="7678" y="2812"/>
                        </a:lnTo>
                        <a:lnTo>
                          <a:pt x="7694" y="2800"/>
                        </a:lnTo>
                        <a:lnTo>
                          <a:pt x="7706" y="2799"/>
                        </a:lnTo>
                        <a:lnTo>
                          <a:pt x="7714" y="2790"/>
                        </a:lnTo>
                        <a:lnTo>
                          <a:pt x="7720" y="2795"/>
                        </a:lnTo>
                        <a:lnTo>
                          <a:pt x="7726" y="2794"/>
                        </a:lnTo>
                        <a:lnTo>
                          <a:pt x="7755" y="2795"/>
                        </a:lnTo>
                        <a:lnTo>
                          <a:pt x="7770" y="2799"/>
                        </a:lnTo>
                        <a:lnTo>
                          <a:pt x="7781" y="2804"/>
                        </a:lnTo>
                        <a:lnTo>
                          <a:pt x="7795" y="2815"/>
                        </a:lnTo>
                        <a:lnTo>
                          <a:pt x="7800" y="2827"/>
                        </a:lnTo>
                        <a:lnTo>
                          <a:pt x="7819" y="2857"/>
                        </a:lnTo>
                        <a:lnTo>
                          <a:pt x="7820" y="2863"/>
                        </a:lnTo>
                        <a:lnTo>
                          <a:pt x="7833" y="2865"/>
                        </a:lnTo>
                        <a:lnTo>
                          <a:pt x="7836" y="2863"/>
                        </a:lnTo>
                        <a:lnTo>
                          <a:pt x="7836" y="2846"/>
                        </a:lnTo>
                        <a:lnTo>
                          <a:pt x="7848" y="2820"/>
                        </a:lnTo>
                        <a:lnTo>
                          <a:pt x="7848" y="2814"/>
                        </a:lnTo>
                        <a:lnTo>
                          <a:pt x="7845" y="2811"/>
                        </a:lnTo>
                        <a:lnTo>
                          <a:pt x="7852" y="2809"/>
                        </a:lnTo>
                        <a:lnTo>
                          <a:pt x="7865" y="2800"/>
                        </a:lnTo>
                        <a:lnTo>
                          <a:pt x="7871" y="2799"/>
                        </a:lnTo>
                        <a:lnTo>
                          <a:pt x="7875" y="2792"/>
                        </a:lnTo>
                        <a:lnTo>
                          <a:pt x="7879" y="2795"/>
                        </a:lnTo>
                        <a:lnTo>
                          <a:pt x="7886" y="2795"/>
                        </a:lnTo>
                        <a:lnTo>
                          <a:pt x="7899" y="2778"/>
                        </a:lnTo>
                        <a:lnTo>
                          <a:pt x="7903" y="2777"/>
                        </a:lnTo>
                        <a:lnTo>
                          <a:pt x="7903" y="2772"/>
                        </a:lnTo>
                        <a:lnTo>
                          <a:pt x="7913" y="2765"/>
                        </a:lnTo>
                        <a:lnTo>
                          <a:pt x="7921" y="2763"/>
                        </a:lnTo>
                        <a:lnTo>
                          <a:pt x="7925" y="2760"/>
                        </a:lnTo>
                        <a:lnTo>
                          <a:pt x="7931" y="2758"/>
                        </a:lnTo>
                        <a:lnTo>
                          <a:pt x="7932" y="2754"/>
                        </a:lnTo>
                        <a:lnTo>
                          <a:pt x="7931" y="2749"/>
                        </a:lnTo>
                        <a:lnTo>
                          <a:pt x="7926" y="2744"/>
                        </a:lnTo>
                        <a:lnTo>
                          <a:pt x="7927" y="2739"/>
                        </a:lnTo>
                        <a:lnTo>
                          <a:pt x="7936" y="2746"/>
                        </a:lnTo>
                        <a:lnTo>
                          <a:pt x="7941" y="2749"/>
                        </a:lnTo>
                        <a:lnTo>
                          <a:pt x="7946" y="2745"/>
                        </a:lnTo>
                        <a:lnTo>
                          <a:pt x="7948" y="2733"/>
                        </a:lnTo>
                        <a:lnTo>
                          <a:pt x="7946" y="2727"/>
                        </a:lnTo>
                        <a:lnTo>
                          <a:pt x="7957" y="2727"/>
                        </a:lnTo>
                        <a:lnTo>
                          <a:pt x="7968" y="2719"/>
                        </a:lnTo>
                        <a:lnTo>
                          <a:pt x="7970" y="2719"/>
                        </a:lnTo>
                        <a:lnTo>
                          <a:pt x="7973" y="2714"/>
                        </a:lnTo>
                        <a:lnTo>
                          <a:pt x="7968" y="2703"/>
                        </a:lnTo>
                        <a:lnTo>
                          <a:pt x="7972" y="2701"/>
                        </a:lnTo>
                        <a:lnTo>
                          <a:pt x="7978" y="2706"/>
                        </a:lnTo>
                        <a:lnTo>
                          <a:pt x="7981" y="2706"/>
                        </a:lnTo>
                        <a:lnTo>
                          <a:pt x="7988" y="2702"/>
                        </a:lnTo>
                        <a:lnTo>
                          <a:pt x="7992" y="2696"/>
                        </a:lnTo>
                        <a:lnTo>
                          <a:pt x="7996" y="2688"/>
                        </a:lnTo>
                        <a:lnTo>
                          <a:pt x="8000" y="2688"/>
                        </a:lnTo>
                        <a:lnTo>
                          <a:pt x="8002" y="2684"/>
                        </a:lnTo>
                        <a:lnTo>
                          <a:pt x="8004" y="2671"/>
                        </a:lnTo>
                        <a:lnTo>
                          <a:pt x="8006" y="2664"/>
                        </a:lnTo>
                        <a:lnTo>
                          <a:pt x="8012" y="2665"/>
                        </a:lnTo>
                        <a:lnTo>
                          <a:pt x="8017" y="2674"/>
                        </a:lnTo>
                        <a:lnTo>
                          <a:pt x="8022" y="2675"/>
                        </a:lnTo>
                        <a:lnTo>
                          <a:pt x="8027" y="2672"/>
                        </a:lnTo>
                        <a:lnTo>
                          <a:pt x="8040" y="2660"/>
                        </a:lnTo>
                        <a:lnTo>
                          <a:pt x="8067" y="2652"/>
                        </a:lnTo>
                        <a:lnTo>
                          <a:pt x="8075" y="2644"/>
                        </a:lnTo>
                        <a:lnTo>
                          <a:pt x="8090" y="2637"/>
                        </a:lnTo>
                        <a:lnTo>
                          <a:pt x="8093" y="2629"/>
                        </a:lnTo>
                        <a:lnTo>
                          <a:pt x="8094" y="2623"/>
                        </a:lnTo>
                        <a:lnTo>
                          <a:pt x="8094" y="2616"/>
                        </a:lnTo>
                        <a:lnTo>
                          <a:pt x="8103" y="2614"/>
                        </a:lnTo>
                        <a:lnTo>
                          <a:pt x="8102" y="2618"/>
                        </a:lnTo>
                        <a:lnTo>
                          <a:pt x="8099" y="2625"/>
                        </a:lnTo>
                        <a:lnTo>
                          <a:pt x="8103" y="2625"/>
                        </a:lnTo>
                        <a:lnTo>
                          <a:pt x="8126" y="2612"/>
                        </a:lnTo>
                        <a:lnTo>
                          <a:pt x="8133" y="2612"/>
                        </a:lnTo>
                        <a:lnTo>
                          <a:pt x="8146" y="2605"/>
                        </a:lnTo>
                        <a:lnTo>
                          <a:pt x="8182" y="2579"/>
                        </a:lnTo>
                        <a:lnTo>
                          <a:pt x="8209" y="2569"/>
                        </a:lnTo>
                        <a:lnTo>
                          <a:pt x="8212" y="2566"/>
                        </a:lnTo>
                        <a:lnTo>
                          <a:pt x="8210" y="2563"/>
                        </a:lnTo>
                        <a:lnTo>
                          <a:pt x="8205" y="2559"/>
                        </a:lnTo>
                        <a:lnTo>
                          <a:pt x="8199" y="2543"/>
                        </a:lnTo>
                        <a:lnTo>
                          <a:pt x="8196" y="2534"/>
                        </a:lnTo>
                        <a:lnTo>
                          <a:pt x="8200" y="2530"/>
                        </a:lnTo>
                        <a:lnTo>
                          <a:pt x="8204" y="2536"/>
                        </a:lnTo>
                        <a:lnTo>
                          <a:pt x="8209" y="2548"/>
                        </a:lnTo>
                        <a:lnTo>
                          <a:pt x="8215" y="2557"/>
                        </a:lnTo>
                        <a:lnTo>
                          <a:pt x="8219" y="2557"/>
                        </a:lnTo>
                        <a:lnTo>
                          <a:pt x="8219" y="2563"/>
                        </a:lnTo>
                        <a:lnTo>
                          <a:pt x="8221" y="2566"/>
                        </a:lnTo>
                        <a:lnTo>
                          <a:pt x="8232" y="2567"/>
                        </a:lnTo>
                        <a:lnTo>
                          <a:pt x="8231" y="2559"/>
                        </a:lnTo>
                        <a:lnTo>
                          <a:pt x="8227" y="2553"/>
                        </a:lnTo>
                        <a:lnTo>
                          <a:pt x="8233" y="2553"/>
                        </a:lnTo>
                        <a:lnTo>
                          <a:pt x="8237" y="2561"/>
                        </a:lnTo>
                        <a:lnTo>
                          <a:pt x="8243" y="2568"/>
                        </a:lnTo>
                        <a:lnTo>
                          <a:pt x="8253" y="2568"/>
                        </a:lnTo>
                        <a:lnTo>
                          <a:pt x="8266" y="2573"/>
                        </a:lnTo>
                        <a:lnTo>
                          <a:pt x="8275" y="2582"/>
                        </a:lnTo>
                        <a:lnTo>
                          <a:pt x="8290" y="2591"/>
                        </a:lnTo>
                        <a:lnTo>
                          <a:pt x="8306" y="2596"/>
                        </a:lnTo>
                        <a:lnTo>
                          <a:pt x="8309" y="2594"/>
                        </a:lnTo>
                        <a:lnTo>
                          <a:pt x="8313" y="2582"/>
                        </a:lnTo>
                        <a:lnTo>
                          <a:pt x="8320" y="2580"/>
                        </a:lnTo>
                        <a:lnTo>
                          <a:pt x="8334" y="2558"/>
                        </a:lnTo>
                        <a:lnTo>
                          <a:pt x="8338" y="2545"/>
                        </a:lnTo>
                        <a:lnTo>
                          <a:pt x="8334" y="2535"/>
                        </a:lnTo>
                        <a:lnTo>
                          <a:pt x="8324" y="2526"/>
                        </a:lnTo>
                        <a:lnTo>
                          <a:pt x="8311" y="2521"/>
                        </a:lnTo>
                        <a:lnTo>
                          <a:pt x="8308" y="2518"/>
                        </a:lnTo>
                        <a:lnTo>
                          <a:pt x="8307" y="2512"/>
                        </a:lnTo>
                        <a:lnTo>
                          <a:pt x="8309" y="2512"/>
                        </a:lnTo>
                        <a:lnTo>
                          <a:pt x="8316" y="2509"/>
                        </a:lnTo>
                        <a:lnTo>
                          <a:pt x="8327" y="2510"/>
                        </a:lnTo>
                        <a:lnTo>
                          <a:pt x="8332" y="2507"/>
                        </a:lnTo>
                        <a:lnTo>
                          <a:pt x="8324" y="2491"/>
                        </a:lnTo>
                        <a:lnTo>
                          <a:pt x="8317" y="2491"/>
                        </a:lnTo>
                        <a:lnTo>
                          <a:pt x="8308" y="2478"/>
                        </a:lnTo>
                        <a:lnTo>
                          <a:pt x="8301" y="2464"/>
                        </a:lnTo>
                        <a:lnTo>
                          <a:pt x="8297" y="2443"/>
                        </a:lnTo>
                        <a:lnTo>
                          <a:pt x="8295" y="2435"/>
                        </a:lnTo>
                        <a:lnTo>
                          <a:pt x="8291" y="2396"/>
                        </a:lnTo>
                        <a:lnTo>
                          <a:pt x="8280" y="2402"/>
                        </a:lnTo>
                        <a:lnTo>
                          <a:pt x="8271" y="2390"/>
                        </a:lnTo>
                        <a:lnTo>
                          <a:pt x="8270" y="2384"/>
                        </a:lnTo>
                        <a:lnTo>
                          <a:pt x="8280" y="2381"/>
                        </a:lnTo>
                        <a:lnTo>
                          <a:pt x="8284" y="2384"/>
                        </a:lnTo>
                        <a:lnTo>
                          <a:pt x="8280" y="2369"/>
                        </a:lnTo>
                        <a:lnTo>
                          <a:pt x="8273" y="2347"/>
                        </a:lnTo>
                        <a:lnTo>
                          <a:pt x="8266" y="2359"/>
                        </a:lnTo>
                        <a:lnTo>
                          <a:pt x="8260" y="2363"/>
                        </a:lnTo>
                        <a:lnTo>
                          <a:pt x="8249" y="2358"/>
                        </a:lnTo>
                        <a:lnTo>
                          <a:pt x="8242" y="2349"/>
                        </a:lnTo>
                        <a:lnTo>
                          <a:pt x="8231" y="2346"/>
                        </a:lnTo>
                        <a:lnTo>
                          <a:pt x="8222" y="2335"/>
                        </a:lnTo>
                        <a:lnTo>
                          <a:pt x="8221" y="2321"/>
                        </a:lnTo>
                        <a:lnTo>
                          <a:pt x="8221" y="2311"/>
                        </a:lnTo>
                        <a:lnTo>
                          <a:pt x="8222" y="2300"/>
                        </a:lnTo>
                        <a:lnTo>
                          <a:pt x="8230" y="2292"/>
                        </a:lnTo>
                        <a:lnTo>
                          <a:pt x="8239" y="2300"/>
                        </a:lnTo>
                        <a:lnTo>
                          <a:pt x="8258" y="2305"/>
                        </a:lnTo>
                        <a:lnTo>
                          <a:pt x="8268" y="2298"/>
                        </a:lnTo>
                        <a:lnTo>
                          <a:pt x="8266" y="2302"/>
                        </a:lnTo>
                        <a:lnTo>
                          <a:pt x="8271" y="2309"/>
                        </a:lnTo>
                        <a:lnTo>
                          <a:pt x="8289" y="2305"/>
                        </a:lnTo>
                        <a:lnTo>
                          <a:pt x="8285" y="2314"/>
                        </a:lnTo>
                        <a:lnTo>
                          <a:pt x="8286" y="2319"/>
                        </a:lnTo>
                        <a:lnTo>
                          <a:pt x="8298" y="2310"/>
                        </a:lnTo>
                        <a:lnTo>
                          <a:pt x="8306" y="2299"/>
                        </a:lnTo>
                        <a:lnTo>
                          <a:pt x="8320" y="2292"/>
                        </a:lnTo>
                        <a:lnTo>
                          <a:pt x="8335" y="2288"/>
                        </a:lnTo>
                        <a:lnTo>
                          <a:pt x="8355" y="2263"/>
                        </a:lnTo>
                        <a:lnTo>
                          <a:pt x="8363" y="2256"/>
                        </a:lnTo>
                        <a:lnTo>
                          <a:pt x="8363" y="2254"/>
                        </a:lnTo>
                        <a:lnTo>
                          <a:pt x="8377" y="2243"/>
                        </a:lnTo>
                        <a:lnTo>
                          <a:pt x="8393" y="2219"/>
                        </a:lnTo>
                        <a:lnTo>
                          <a:pt x="8395" y="2204"/>
                        </a:lnTo>
                        <a:lnTo>
                          <a:pt x="8404" y="2193"/>
                        </a:lnTo>
                        <a:lnTo>
                          <a:pt x="8403" y="2179"/>
                        </a:lnTo>
                        <a:lnTo>
                          <a:pt x="8390" y="2170"/>
                        </a:lnTo>
                        <a:lnTo>
                          <a:pt x="8373" y="2149"/>
                        </a:lnTo>
                        <a:lnTo>
                          <a:pt x="8372" y="2130"/>
                        </a:lnTo>
                        <a:lnTo>
                          <a:pt x="8370" y="2115"/>
                        </a:lnTo>
                        <a:lnTo>
                          <a:pt x="8378" y="2115"/>
                        </a:lnTo>
                        <a:lnTo>
                          <a:pt x="8384" y="2111"/>
                        </a:lnTo>
                        <a:lnTo>
                          <a:pt x="8389" y="2119"/>
                        </a:lnTo>
                        <a:lnTo>
                          <a:pt x="8402" y="2112"/>
                        </a:lnTo>
                        <a:lnTo>
                          <a:pt x="8400" y="2088"/>
                        </a:lnTo>
                        <a:lnTo>
                          <a:pt x="8408" y="2095"/>
                        </a:lnTo>
                        <a:lnTo>
                          <a:pt x="8410" y="2085"/>
                        </a:lnTo>
                        <a:lnTo>
                          <a:pt x="8413" y="2096"/>
                        </a:lnTo>
                        <a:lnTo>
                          <a:pt x="8424" y="2110"/>
                        </a:lnTo>
                        <a:lnTo>
                          <a:pt x="8431" y="2107"/>
                        </a:lnTo>
                        <a:lnTo>
                          <a:pt x="8437" y="2095"/>
                        </a:lnTo>
                        <a:lnTo>
                          <a:pt x="8440" y="2085"/>
                        </a:lnTo>
                        <a:lnTo>
                          <a:pt x="8446" y="2084"/>
                        </a:lnTo>
                        <a:lnTo>
                          <a:pt x="8447" y="2087"/>
                        </a:lnTo>
                        <a:lnTo>
                          <a:pt x="8443" y="2106"/>
                        </a:lnTo>
                        <a:lnTo>
                          <a:pt x="8445" y="2120"/>
                        </a:lnTo>
                        <a:lnTo>
                          <a:pt x="8436" y="2126"/>
                        </a:lnTo>
                        <a:lnTo>
                          <a:pt x="8430" y="2126"/>
                        </a:lnTo>
                        <a:lnTo>
                          <a:pt x="8422" y="2123"/>
                        </a:lnTo>
                        <a:lnTo>
                          <a:pt x="8427" y="2137"/>
                        </a:lnTo>
                        <a:lnTo>
                          <a:pt x="8432" y="2147"/>
                        </a:lnTo>
                        <a:lnTo>
                          <a:pt x="8437" y="2158"/>
                        </a:lnTo>
                        <a:lnTo>
                          <a:pt x="8443" y="2159"/>
                        </a:lnTo>
                        <a:lnTo>
                          <a:pt x="8448" y="2173"/>
                        </a:lnTo>
                        <a:lnTo>
                          <a:pt x="8448" y="2190"/>
                        </a:lnTo>
                        <a:lnTo>
                          <a:pt x="8459" y="2195"/>
                        </a:lnTo>
                        <a:lnTo>
                          <a:pt x="8473" y="2195"/>
                        </a:lnTo>
                        <a:lnTo>
                          <a:pt x="8491" y="2200"/>
                        </a:lnTo>
                        <a:lnTo>
                          <a:pt x="8511" y="2193"/>
                        </a:lnTo>
                        <a:lnTo>
                          <a:pt x="8516" y="2185"/>
                        </a:lnTo>
                        <a:lnTo>
                          <a:pt x="8526" y="2184"/>
                        </a:lnTo>
                        <a:lnTo>
                          <a:pt x="8546" y="2187"/>
                        </a:lnTo>
                        <a:lnTo>
                          <a:pt x="8556" y="2185"/>
                        </a:lnTo>
                        <a:lnTo>
                          <a:pt x="8564" y="2192"/>
                        </a:lnTo>
                        <a:lnTo>
                          <a:pt x="8569" y="2200"/>
                        </a:lnTo>
                        <a:lnTo>
                          <a:pt x="8578" y="2200"/>
                        </a:lnTo>
                        <a:lnTo>
                          <a:pt x="8589" y="2204"/>
                        </a:lnTo>
                        <a:lnTo>
                          <a:pt x="8588" y="2222"/>
                        </a:lnTo>
                        <a:lnTo>
                          <a:pt x="8593" y="2233"/>
                        </a:lnTo>
                        <a:lnTo>
                          <a:pt x="8593" y="2247"/>
                        </a:lnTo>
                        <a:lnTo>
                          <a:pt x="8591" y="2259"/>
                        </a:lnTo>
                        <a:lnTo>
                          <a:pt x="8613" y="2278"/>
                        </a:lnTo>
                        <a:lnTo>
                          <a:pt x="8618" y="2286"/>
                        </a:lnTo>
                        <a:lnTo>
                          <a:pt x="8619" y="2293"/>
                        </a:lnTo>
                        <a:lnTo>
                          <a:pt x="8630" y="2294"/>
                        </a:lnTo>
                        <a:lnTo>
                          <a:pt x="8640" y="2299"/>
                        </a:lnTo>
                        <a:lnTo>
                          <a:pt x="8645" y="2298"/>
                        </a:lnTo>
                        <a:lnTo>
                          <a:pt x="8637" y="2292"/>
                        </a:lnTo>
                        <a:lnTo>
                          <a:pt x="8644" y="2281"/>
                        </a:lnTo>
                        <a:lnTo>
                          <a:pt x="8646" y="2287"/>
                        </a:lnTo>
                        <a:lnTo>
                          <a:pt x="8656" y="2288"/>
                        </a:lnTo>
                        <a:lnTo>
                          <a:pt x="8656" y="2272"/>
                        </a:lnTo>
                        <a:lnTo>
                          <a:pt x="8660" y="2266"/>
                        </a:lnTo>
                        <a:lnTo>
                          <a:pt x="8661" y="2270"/>
                        </a:lnTo>
                        <a:lnTo>
                          <a:pt x="8660" y="2286"/>
                        </a:lnTo>
                        <a:lnTo>
                          <a:pt x="8652" y="2295"/>
                        </a:lnTo>
                        <a:lnTo>
                          <a:pt x="8668" y="2309"/>
                        </a:lnTo>
                        <a:lnTo>
                          <a:pt x="8678" y="2309"/>
                        </a:lnTo>
                        <a:lnTo>
                          <a:pt x="8684" y="2313"/>
                        </a:lnTo>
                        <a:lnTo>
                          <a:pt x="8682" y="2319"/>
                        </a:lnTo>
                        <a:lnTo>
                          <a:pt x="8693" y="2329"/>
                        </a:lnTo>
                        <a:lnTo>
                          <a:pt x="8693" y="2340"/>
                        </a:lnTo>
                        <a:lnTo>
                          <a:pt x="8705" y="2340"/>
                        </a:lnTo>
                        <a:lnTo>
                          <a:pt x="8709" y="2330"/>
                        </a:lnTo>
                        <a:lnTo>
                          <a:pt x="8707" y="2345"/>
                        </a:lnTo>
                        <a:lnTo>
                          <a:pt x="8718" y="2348"/>
                        </a:lnTo>
                        <a:lnTo>
                          <a:pt x="8727" y="2343"/>
                        </a:lnTo>
                        <a:lnTo>
                          <a:pt x="8731" y="2331"/>
                        </a:lnTo>
                        <a:lnTo>
                          <a:pt x="8732" y="2317"/>
                        </a:lnTo>
                        <a:lnTo>
                          <a:pt x="8737" y="2324"/>
                        </a:lnTo>
                        <a:lnTo>
                          <a:pt x="8736" y="2332"/>
                        </a:lnTo>
                        <a:lnTo>
                          <a:pt x="8728" y="2351"/>
                        </a:lnTo>
                        <a:lnTo>
                          <a:pt x="8736" y="2358"/>
                        </a:lnTo>
                        <a:lnTo>
                          <a:pt x="8744" y="2360"/>
                        </a:lnTo>
                        <a:lnTo>
                          <a:pt x="8749" y="2359"/>
                        </a:lnTo>
                        <a:lnTo>
                          <a:pt x="8757" y="2352"/>
                        </a:lnTo>
                        <a:lnTo>
                          <a:pt x="8757" y="2335"/>
                        </a:lnTo>
                        <a:lnTo>
                          <a:pt x="8747" y="2333"/>
                        </a:lnTo>
                        <a:lnTo>
                          <a:pt x="8746" y="2329"/>
                        </a:lnTo>
                        <a:lnTo>
                          <a:pt x="8755" y="2326"/>
                        </a:lnTo>
                        <a:lnTo>
                          <a:pt x="8764" y="2331"/>
                        </a:lnTo>
                        <a:lnTo>
                          <a:pt x="8773" y="2341"/>
                        </a:lnTo>
                        <a:lnTo>
                          <a:pt x="8785" y="2337"/>
                        </a:lnTo>
                        <a:lnTo>
                          <a:pt x="8776" y="2319"/>
                        </a:lnTo>
                        <a:lnTo>
                          <a:pt x="8776" y="2315"/>
                        </a:lnTo>
                        <a:lnTo>
                          <a:pt x="8770" y="2309"/>
                        </a:lnTo>
                        <a:lnTo>
                          <a:pt x="8758" y="2311"/>
                        </a:lnTo>
                        <a:lnTo>
                          <a:pt x="8758" y="2309"/>
                        </a:lnTo>
                        <a:lnTo>
                          <a:pt x="8752" y="2305"/>
                        </a:lnTo>
                        <a:lnTo>
                          <a:pt x="8750" y="2300"/>
                        </a:lnTo>
                        <a:lnTo>
                          <a:pt x="8761" y="2299"/>
                        </a:lnTo>
                        <a:lnTo>
                          <a:pt x="8764" y="2293"/>
                        </a:lnTo>
                        <a:lnTo>
                          <a:pt x="8758" y="2287"/>
                        </a:lnTo>
                        <a:lnTo>
                          <a:pt x="8744" y="2290"/>
                        </a:lnTo>
                        <a:lnTo>
                          <a:pt x="8753" y="2283"/>
                        </a:lnTo>
                        <a:lnTo>
                          <a:pt x="8765" y="2283"/>
                        </a:lnTo>
                        <a:lnTo>
                          <a:pt x="8770" y="2278"/>
                        </a:lnTo>
                        <a:lnTo>
                          <a:pt x="8769" y="2270"/>
                        </a:lnTo>
                        <a:lnTo>
                          <a:pt x="8779" y="2276"/>
                        </a:lnTo>
                        <a:lnTo>
                          <a:pt x="8801" y="2256"/>
                        </a:lnTo>
                        <a:lnTo>
                          <a:pt x="8796" y="2249"/>
                        </a:lnTo>
                        <a:lnTo>
                          <a:pt x="8790" y="2236"/>
                        </a:lnTo>
                        <a:lnTo>
                          <a:pt x="8780" y="2238"/>
                        </a:lnTo>
                        <a:lnTo>
                          <a:pt x="8769" y="2233"/>
                        </a:lnTo>
                        <a:lnTo>
                          <a:pt x="8795" y="2232"/>
                        </a:lnTo>
                        <a:lnTo>
                          <a:pt x="8792" y="2220"/>
                        </a:lnTo>
                        <a:lnTo>
                          <a:pt x="8796" y="2209"/>
                        </a:lnTo>
                        <a:lnTo>
                          <a:pt x="8811" y="2197"/>
                        </a:lnTo>
                        <a:lnTo>
                          <a:pt x="8824" y="2195"/>
                        </a:lnTo>
                        <a:lnTo>
                          <a:pt x="8841" y="2201"/>
                        </a:lnTo>
                        <a:lnTo>
                          <a:pt x="8852" y="2201"/>
                        </a:lnTo>
                        <a:lnTo>
                          <a:pt x="8857" y="2195"/>
                        </a:lnTo>
                        <a:lnTo>
                          <a:pt x="8854" y="2186"/>
                        </a:lnTo>
                        <a:lnTo>
                          <a:pt x="8839" y="2176"/>
                        </a:lnTo>
                        <a:lnTo>
                          <a:pt x="8835" y="2160"/>
                        </a:lnTo>
                        <a:lnTo>
                          <a:pt x="8840" y="2153"/>
                        </a:lnTo>
                        <a:lnTo>
                          <a:pt x="8850" y="2166"/>
                        </a:lnTo>
                        <a:lnTo>
                          <a:pt x="8861" y="2173"/>
                        </a:lnTo>
                        <a:lnTo>
                          <a:pt x="8867" y="2182"/>
                        </a:lnTo>
                        <a:lnTo>
                          <a:pt x="8881" y="2184"/>
                        </a:lnTo>
                        <a:lnTo>
                          <a:pt x="8883" y="2174"/>
                        </a:lnTo>
                        <a:lnTo>
                          <a:pt x="8882" y="2164"/>
                        </a:lnTo>
                        <a:lnTo>
                          <a:pt x="8886" y="2142"/>
                        </a:lnTo>
                        <a:lnTo>
                          <a:pt x="8898" y="2137"/>
                        </a:lnTo>
                        <a:lnTo>
                          <a:pt x="8906" y="2126"/>
                        </a:lnTo>
                        <a:lnTo>
                          <a:pt x="8916" y="2125"/>
                        </a:lnTo>
                        <a:lnTo>
                          <a:pt x="8926" y="2127"/>
                        </a:lnTo>
                        <a:lnTo>
                          <a:pt x="8931" y="2116"/>
                        </a:lnTo>
                        <a:lnTo>
                          <a:pt x="8921" y="2114"/>
                        </a:lnTo>
                        <a:lnTo>
                          <a:pt x="8917" y="2116"/>
                        </a:lnTo>
                        <a:lnTo>
                          <a:pt x="8909" y="2110"/>
                        </a:lnTo>
                        <a:lnTo>
                          <a:pt x="8902" y="2109"/>
                        </a:lnTo>
                        <a:lnTo>
                          <a:pt x="8904" y="2101"/>
                        </a:lnTo>
                        <a:lnTo>
                          <a:pt x="8895" y="2091"/>
                        </a:lnTo>
                        <a:lnTo>
                          <a:pt x="8883" y="2104"/>
                        </a:lnTo>
                        <a:lnTo>
                          <a:pt x="8878" y="2098"/>
                        </a:lnTo>
                        <a:lnTo>
                          <a:pt x="8886" y="2093"/>
                        </a:lnTo>
                        <a:lnTo>
                          <a:pt x="8886" y="2089"/>
                        </a:lnTo>
                        <a:lnTo>
                          <a:pt x="8874" y="2078"/>
                        </a:lnTo>
                        <a:lnTo>
                          <a:pt x="8862" y="2071"/>
                        </a:lnTo>
                        <a:lnTo>
                          <a:pt x="8856" y="2058"/>
                        </a:lnTo>
                        <a:lnTo>
                          <a:pt x="8841" y="2046"/>
                        </a:lnTo>
                        <a:lnTo>
                          <a:pt x="8834" y="2035"/>
                        </a:lnTo>
                        <a:lnTo>
                          <a:pt x="8834" y="2026"/>
                        </a:lnTo>
                        <a:lnTo>
                          <a:pt x="8823" y="2020"/>
                        </a:lnTo>
                        <a:lnTo>
                          <a:pt x="8819" y="2013"/>
                        </a:lnTo>
                        <a:lnTo>
                          <a:pt x="8817" y="2002"/>
                        </a:lnTo>
                        <a:lnTo>
                          <a:pt x="8769" y="1992"/>
                        </a:lnTo>
                        <a:lnTo>
                          <a:pt x="8759" y="1996"/>
                        </a:lnTo>
                        <a:lnTo>
                          <a:pt x="8781" y="2002"/>
                        </a:lnTo>
                        <a:lnTo>
                          <a:pt x="8777" y="2009"/>
                        </a:lnTo>
                        <a:lnTo>
                          <a:pt x="8766" y="2010"/>
                        </a:lnTo>
                        <a:lnTo>
                          <a:pt x="8755" y="2008"/>
                        </a:lnTo>
                        <a:lnTo>
                          <a:pt x="8737" y="1997"/>
                        </a:lnTo>
                        <a:lnTo>
                          <a:pt x="8741" y="2010"/>
                        </a:lnTo>
                        <a:lnTo>
                          <a:pt x="8737" y="2019"/>
                        </a:lnTo>
                        <a:lnTo>
                          <a:pt x="8732" y="2019"/>
                        </a:lnTo>
                        <a:lnTo>
                          <a:pt x="8728" y="2009"/>
                        </a:lnTo>
                        <a:lnTo>
                          <a:pt x="8723" y="2002"/>
                        </a:lnTo>
                        <a:lnTo>
                          <a:pt x="8726" y="1992"/>
                        </a:lnTo>
                        <a:lnTo>
                          <a:pt x="8734" y="1990"/>
                        </a:lnTo>
                        <a:lnTo>
                          <a:pt x="8723" y="1983"/>
                        </a:lnTo>
                        <a:lnTo>
                          <a:pt x="8717" y="1983"/>
                        </a:lnTo>
                        <a:lnTo>
                          <a:pt x="8715" y="1977"/>
                        </a:lnTo>
                        <a:lnTo>
                          <a:pt x="8707" y="1975"/>
                        </a:lnTo>
                        <a:lnTo>
                          <a:pt x="8709" y="1982"/>
                        </a:lnTo>
                        <a:lnTo>
                          <a:pt x="8704" y="1993"/>
                        </a:lnTo>
                        <a:lnTo>
                          <a:pt x="8700" y="1991"/>
                        </a:lnTo>
                        <a:lnTo>
                          <a:pt x="8698" y="1985"/>
                        </a:lnTo>
                        <a:lnTo>
                          <a:pt x="8685" y="1981"/>
                        </a:lnTo>
                        <a:lnTo>
                          <a:pt x="8674" y="1982"/>
                        </a:lnTo>
                        <a:lnTo>
                          <a:pt x="8663" y="1987"/>
                        </a:lnTo>
                        <a:lnTo>
                          <a:pt x="8668" y="1994"/>
                        </a:lnTo>
                        <a:lnTo>
                          <a:pt x="8671" y="1987"/>
                        </a:lnTo>
                        <a:lnTo>
                          <a:pt x="8683" y="1983"/>
                        </a:lnTo>
                        <a:lnTo>
                          <a:pt x="8684" y="1988"/>
                        </a:lnTo>
                        <a:lnTo>
                          <a:pt x="8677" y="1992"/>
                        </a:lnTo>
                        <a:lnTo>
                          <a:pt x="8690" y="1997"/>
                        </a:lnTo>
                        <a:lnTo>
                          <a:pt x="8690" y="2023"/>
                        </a:lnTo>
                        <a:lnTo>
                          <a:pt x="8685" y="2046"/>
                        </a:lnTo>
                        <a:lnTo>
                          <a:pt x="8693" y="2048"/>
                        </a:lnTo>
                        <a:lnTo>
                          <a:pt x="8696" y="2044"/>
                        </a:lnTo>
                        <a:lnTo>
                          <a:pt x="8700" y="2047"/>
                        </a:lnTo>
                        <a:lnTo>
                          <a:pt x="8706" y="2060"/>
                        </a:lnTo>
                        <a:lnTo>
                          <a:pt x="8706" y="2069"/>
                        </a:lnTo>
                        <a:lnTo>
                          <a:pt x="8704" y="2079"/>
                        </a:lnTo>
                        <a:lnTo>
                          <a:pt x="8696" y="2080"/>
                        </a:lnTo>
                        <a:lnTo>
                          <a:pt x="8693" y="2088"/>
                        </a:lnTo>
                        <a:lnTo>
                          <a:pt x="8693" y="2080"/>
                        </a:lnTo>
                        <a:lnTo>
                          <a:pt x="8695" y="2076"/>
                        </a:lnTo>
                        <a:lnTo>
                          <a:pt x="8695" y="2061"/>
                        </a:lnTo>
                        <a:lnTo>
                          <a:pt x="8683" y="2056"/>
                        </a:lnTo>
                        <a:lnTo>
                          <a:pt x="8673" y="2057"/>
                        </a:lnTo>
                        <a:lnTo>
                          <a:pt x="8671" y="2047"/>
                        </a:lnTo>
                        <a:lnTo>
                          <a:pt x="8672" y="2041"/>
                        </a:lnTo>
                        <a:lnTo>
                          <a:pt x="8660" y="2034"/>
                        </a:lnTo>
                        <a:lnTo>
                          <a:pt x="8655" y="2025"/>
                        </a:lnTo>
                        <a:lnTo>
                          <a:pt x="8657" y="2013"/>
                        </a:lnTo>
                        <a:lnTo>
                          <a:pt x="8656" y="2002"/>
                        </a:lnTo>
                        <a:lnTo>
                          <a:pt x="8650" y="1987"/>
                        </a:lnTo>
                        <a:lnTo>
                          <a:pt x="8647" y="1971"/>
                        </a:lnTo>
                        <a:lnTo>
                          <a:pt x="8642" y="1949"/>
                        </a:lnTo>
                        <a:lnTo>
                          <a:pt x="8637" y="1940"/>
                        </a:lnTo>
                        <a:lnTo>
                          <a:pt x="8640" y="1932"/>
                        </a:lnTo>
                        <a:lnTo>
                          <a:pt x="8647" y="1940"/>
                        </a:lnTo>
                        <a:lnTo>
                          <a:pt x="8648" y="1951"/>
                        </a:lnTo>
                        <a:lnTo>
                          <a:pt x="8651" y="1947"/>
                        </a:lnTo>
                        <a:lnTo>
                          <a:pt x="8647" y="1938"/>
                        </a:lnTo>
                        <a:lnTo>
                          <a:pt x="8623" y="1920"/>
                        </a:lnTo>
                        <a:lnTo>
                          <a:pt x="8619" y="1906"/>
                        </a:lnTo>
                        <a:lnTo>
                          <a:pt x="8618" y="1897"/>
                        </a:lnTo>
                        <a:lnTo>
                          <a:pt x="8592" y="1884"/>
                        </a:lnTo>
                        <a:lnTo>
                          <a:pt x="8588" y="1886"/>
                        </a:lnTo>
                        <a:lnTo>
                          <a:pt x="8592" y="1897"/>
                        </a:lnTo>
                        <a:lnTo>
                          <a:pt x="8599" y="1910"/>
                        </a:lnTo>
                        <a:lnTo>
                          <a:pt x="8605" y="1916"/>
                        </a:lnTo>
                        <a:lnTo>
                          <a:pt x="8610" y="1916"/>
                        </a:lnTo>
                        <a:lnTo>
                          <a:pt x="8615" y="1923"/>
                        </a:lnTo>
                        <a:lnTo>
                          <a:pt x="8617" y="1932"/>
                        </a:lnTo>
                        <a:lnTo>
                          <a:pt x="8608" y="1928"/>
                        </a:lnTo>
                        <a:lnTo>
                          <a:pt x="8578" y="1906"/>
                        </a:lnTo>
                        <a:lnTo>
                          <a:pt x="8569" y="1904"/>
                        </a:lnTo>
                        <a:lnTo>
                          <a:pt x="8559" y="1897"/>
                        </a:lnTo>
                        <a:lnTo>
                          <a:pt x="8564" y="1891"/>
                        </a:lnTo>
                        <a:lnTo>
                          <a:pt x="8574" y="1889"/>
                        </a:lnTo>
                        <a:lnTo>
                          <a:pt x="8575" y="1879"/>
                        </a:lnTo>
                        <a:lnTo>
                          <a:pt x="8577" y="1874"/>
                        </a:lnTo>
                        <a:lnTo>
                          <a:pt x="8556" y="1869"/>
                        </a:lnTo>
                        <a:lnTo>
                          <a:pt x="8545" y="1869"/>
                        </a:lnTo>
                        <a:lnTo>
                          <a:pt x="8538" y="1863"/>
                        </a:lnTo>
                        <a:lnTo>
                          <a:pt x="8527" y="1859"/>
                        </a:lnTo>
                        <a:lnTo>
                          <a:pt x="8532" y="1852"/>
                        </a:lnTo>
                        <a:lnTo>
                          <a:pt x="8537" y="1851"/>
                        </a:lnTo>
                        <a:lnTo>
                          <a:pt x="8534" y="1845"/>
                        </a:lnTo>
                        <a:lnTo>
                          <a:pt x="8532" y="1836"/>
                        </a:lnTo>
                        <a:lnTo>
                          <a:pt x="8515" y="1836"/>
                        </a:lnTo>
                        <a:lnTo>
                          <a:pt x="8517" y="1829"/>
                        </a:lnTo>
                        <a:lnTo>
                          <a:pt x="8510" y="1818"/>
                        </a:lnTo>
                        <a:lnTo>
                          <a:pt x="8501" y="1820"/>
                        </a:lnTo>
                        <a:lnTo>
                          <a:pt x="8501" y="1816"/>
                        </a:lnTo>
                        <a:lnTo>
                          <a:pt x="8489" y="1808"/>
                        </a:lnTo>
                        <a:lnTo>
                          <a:pt x="8470" y="1816"/>
                        </a:lnTo>
                        <a:lnTo>
                          <a:pt x="8469" y="1810"/>
                        </a:lnTo>
                        <a:lnTo>
                          <a:pt x="8472" y="1802"/>
                        </a:lnTo>
                        <a:lnTo>
                          <a:pt x="8470" y="1795"/>
                        </a:lnTo>
                        <a:lnTo>
                          <a:pt x="8465" y="1787"/>
                        </a:lnTo>
                        <a:lnTo>
                          <a:pt x="8453" y="1776"/>
                        </a:lnTo>
                        <a:lnTo>
                          <a:pt x="8463" y="1789"/>
                        </a:lnTo>
                        <a:lnTo>
                          <a:pt x="8448" y="1782"/>
                        </a:lnTo>
                        <a:lnTo>
                          <a:pt x="8442" y="1782"/>
                        </a:lnTo>
                        <a:lnTo>
                          <a:pt x="8433" y="1773"/>
                        </a:lnTo>
                        <a:lnTo>
                          <a:pt x="8431" y="1752"/>
                        </a:lnTo>
                        <a:lnTo>
                          <a:pt x="8425" y="1740"/>
                        </a:lnTo>
                        <a:lnTo>
                          <a:pt x="8419" y="1740"/>
                        </a:lnTo>
                        <a:lnTo>
                          <a:pt x="8394" y="1729"/>
                        </a:lnTo>
                        <a:lnTo>
                          <a:pt x="8387" y="1721"/>
                        </a:lnTo>
                        <a:lnTo>
                          <a:pt x="8375" y="1722"/>
                        </a:lnTo>
                        <a:lnTo>
                          <a:pt x="8363" y="1716"/>
                        </a:lnTo>
                        <a:lnTo>
                          <a:pt x="8317" y="1666"/>
                        </a:lnTo>
                        <a:lnTo>
                          <a:pt x="8295" y="1652"/>
                        </a:lnTo>
                        <a:lnTo>
                          <a:pt x="8282" y="1648"/>
                        </a:lnTo>
                        <a:lnTo>
                          <a:pt x="8276" y="1637"/>
                        </a:lnTo>
                        <a:lnTo>
                          <a:pt x="8271" y="1641"/>
                        </a:lnTo>
                        <a:lnTo>
                          <a:pt x="8234" y="1622"/>
                        </a:lnTo>
                        <a:lnTo>
                          <a:pt x="8220" y="1606"/>
                        </a:lnTo>
                        <a:lnTo>
                          <a:pt x="8212" y="1609"/>
                        </a:lnTo>
                        <a:lnTo>
                          <a:pt x="8191" y="1599"/>
                        </a:lnTo>
                        <a:lnTo>
                          <a:pt x="8179" y="1598"/>
                        </a:lnTo>
                        <a:lnTo>
                          <a:pt x="8150" y="1569"/>
                        </a:lnTo>
                        <a:lnTo>
                          <a:pt x="8137" y="1567"/>
                        </a:lnTo>
                        <a:lnTo>
                          <a:pt x="8086" y="1566"/>
                        </a:lnTo>
                        <a:lnTo>
                          <a:pt x="8081" y="1571"/>
                        </a:lnTo>
                        <a:lnTo>
                          <a:pt x="8066" y="1574"/>
                        </a:lnTo>
                        <a:lnTo>
                          <a:pt x="8056" y="1568"/>
                        </a:lnTo>
                        <a:lnTo>
                          <a:pt x="8042" y="1563"/>
                        </a:lnTo>
                        <a:lnTo>
                          <a:pt x="8028" y="1567"/>
                        </a:lnTo>
                        <a:lnTo>
                          <a:pt x="8005" y="1565"/>
                        </a:lnTo>
                        <a:lnTo>
                          <a:pt x="7992" y="1571"/>
                        </a:lnTo>
                        <a:lnTo>
                          <a:pt x="7978" y="1568"/>
                        </a:lnTo>
                        <a:lnTo>
                          <a:pt x="7952" y="1553"/>
                        </a:lnTo>
                        <a:lnTo>
                          <a:pt x="7945" y="1556"/>
                        </a:lnTo>
                        <a:lnTo>
                          <a:pt x="7877" y="1539"/>
                        </a:lnTo>
                        <a:lnTo>
                          <a:pt x="7850" y="1539"/>
                        </a:lnTo>
                        <a:lnTo>
                          <a:pt x="7840" y="1545"/>
                        </a:lnTo>
                        <a:lnTo>
                          <a:pt x="7839" y="1557"/>
                        </a:lnTo>
                        <a:lnTo>
                          <a:pt x="7843" y="1567"/>
                        </a:lnTo>
                        <a:lnTo>
                          <a:pt x="7841" y="1589"/>
                        </a:lnTo>
                        <a:lnTo>
                          <a:pt x="7824" y="1595"/>
                        </a:lnTo>
                        <a:lnTo>
                          <a:pt x="7819" y="1608"/>
                        </a:lnTo>
                        <a:lnTo>
                          <a:pt x="7849" y="1615"/>
                        </a:lnTo>
                        <a:lnTo>
                          <a:pt x="7860" y="1651"/>
                        </a:lnTo>
                        <a:lnTo>
                          <a:pt x="7866" y="1657"/>
                        </a:lnTo>
                        <a:lnTo>
                          <a:pt x="7866" y="1666"/>
                        </a:lnTo>
                        <a:lnTo>
                          <a:pt x="7871" y="1689"/>
                        </a:lnTo>
                        <a:lnTo>
                          <a:pt x="7840" y="1725"/>
                        </a:lnTo>
                        <a:lnTo>
                          <a:pt x="7820" y="1739"/>
                        </a:lnTo>
                        <a:lnTo>
                          <a:pt x="7797" y="1738"/>
                        </a:lnTo>
                        <a:lnTo>
                          <a:pt x="7790" y="1733"/>
                        </a:lnTo>
                        <a:lnTo>
                          <a:pt x="7782" y="1711"/>
                        </a:lnTo>
                        <a:lnTo>
                          <a:pt x="7777" y="1700"/>
                        </a:lnTo>
                        <a:lnTo>
                          <a:pt x="7762" y="1690"/>
                        </a:lnTo>
                        <a:lnTo>
                          <a:pt x="7760" y="1684"/>
                        </a:lnTo>
                        <a:lnTo>
                          <a:pt x="7750" y="1678"/>
                        </a:lnTo>
                        <a:lnTo>
                          <a:pt x="7727" y="1675"/>
                        </a:lnTo>
                        <a:lnTo>
                          <a:pt x="7721" y="1670"/>
                        </a:lnTo>
                        <a:lnTo>
                          <a:pt x="7719" y="1663"/>
                        </a:lnTo>
                        <a:lnTo>
                          <a:pt x="7717" y="1655"/>
                        </a:lnTo>
                        <a:lnTo>
                          <a:pt x="7720" y="1625"/>
                        </a:lnTo>
                        <a:lnTo>
                          <a:pt x="7716" y="1614"/>
                        </a:lnTo>
                        <a:lnTo>
                          <a:pt x="7698" y="1608"/>
                        </a:lnTo>
                        <a:lnTo>
                          <a:pt x="7700" y="1598"/>
                        </a:lnTo>
                        <a:lnTo>
                          <a:pt x="7707" y="1595"/>
                        </a:lnTo>
                        <a:lnTo>
                          <a:pt x="7706" y="1590"/>
                        </a:lnTo>
                        <a:lnTo>
                          <a:pt x="7693" y="1582"/>
                        </a:lnTo>
                        <a:lnTo>
                          <a:pt x="7685" y="1584"/>
                        </a:lnTo>
                        <a:lnTo>
                          <a:pt x="7679" y="1590"/>
                        </a:lnTo>
                        <a:lnTo>
                          <a:pt x="7650" y="1627"/>
                        </a:lnTo>
                        <a:lnTo>
                          <a:pt x="7641" y="1628"/>
                        </a:lnTo>
                        <a:lnTo>
                          <a:pt x="7635" y="1626"/>
                        </a:lnTo>
                        <a:lnTo>
                          <a:pt x="7613" y="1626"/>
                        </a:lnTo>
                        <a:lnTo>
                          <a:pt x="7591" y="1614"/>
                        </a:lnTo>
                        <a:lnTo>
                          <a:pt x="7559" y="1610"/>
                        </a:lnTo>
                        <a:lnTo>
                          <a:pt x="7547" y="1614"/>
                        </a:lnTo>
                        <a:lnTo>
                          <a:pt x="7544" y="1617"/>
                        </a:lnTo>
                        <a:lnTo>
                          <a:pt x="7542" y="1614"/>
                        </a:lnTo>
                        <a:lnTo>
                          <a:pt x="7518" y="1616"/>
                        </a:lnTo>
                        <a:lnTo>
                          <a:pt x="7504" y="1606"/>
                        </a:lnTo>
                        <a:lnTo>
                          <a:pt x="7489" y="1582"/>
                        </a:lnTo>
                        <a:lnTo>
                          <a:pt x="7469" y="1594"/>
                        </a:lnTo>
                        <a:lnTo>
                          <a:pt x="7438" y="1590"/>
                        </a:lnTo>
                        <a:lnTo>
                          <a:pt x="7420" y="1600"/>
                        </a:lnTo>
                        <a:lnTo>
                          <a:pt x="7405" y="1594"/>
                        </a:lnTo>
                        <a:lnTo>
                          <a:pt x="7398" y="1594"/>
                        </a:lnTo>
                        <a:lnTo>
                          <a:pt x="7393" y="1599"/>
                        </a:lnTo>
                        <a:lnTo>
                          <a:pt x="7389" y="1606"/>
                        </a:lnTo>
                        <a:lnTo>
                          <a:pt x="7382" y="1606"/>
                        </a:lnTo>
                        <a:lnTo>
                          <a:pt x="7378" y="1623"/>
                        </a:lnTo>
                        <a:lnTo>
                          <a:pt x="7362" y="1622"/>
                        </a:lnTo>
                        <a:lnTo>
                          <a:pt x="7356" y="1635"/>
                        </a:lnTo>
                        <a:lnTo>
                          <a:pt x="7346" y="1646"/>
                        </a:lnTo>
                        <a:lnTo>
                          <a:pt x="7338" y="1643"/>
                        </a:lnTo>
                        <a:lnTo>
                          <a:pt x="7339" y="1626"/>
                        </a:lnTo>
                        <a:lnTo>
                          <a:pt x="7336" y="1616"/>
                        </a:lnTo>
                        <a:lnTo>
                          <a:pt x="7327" y="1620"/>
                        </a:lnTo>
                        <a:lnTo>
                          <a:pt x="7322" y="1617"/>
                        </a:lnTo>
                        <a:lnTo>
                          <a:pt x="7314" y="1605"/>
                        </a:lnTo>
                        <a:lnTo>
                          <a:pt x="7306" y="1596"/>
                        </a:lnTo>
                        <a:lnTo>
                          <a:pt x="7293" y="1590"/>
                        </a:lnTo>
                        <a:lnTo>
                          <a:pt x="7284" y="1590"/>
                        </a:lnTo>
                        <a:lnTo>
                          <a:pt x="7273" y="1590"/>
                        </a:lnTo>
                        <a:lnTo>
                          <a:pt x="7268" y="1582"/>
                        </a:lnTo>
                        <a:lnTo>
                          <a:pt x="7250" y="1578"/>
                        </a:lnTo>
                        <a:lnTo>
                          <a:pt x="7250" y="1569"/>
                        </a:lnTo>
                        <a:lnTo>
                          <a:pt x="7270" y="1509"/>
                        </a:lnTo>
                        <a:lnTo>
                          <a:pt x="7270" y="1497"/>
                        </a:lnTo>
                        <a:lnTo>
                          <a:pt x="7268" y="1486"/>
                        </a:lnTo>
                        <a:lnTo>
                          <a:pt x="7268" y="1480"/>
                        </a:lnTo>
                        <a:lnTo>
                          <a:pt x="7258" y="1459"/>
                        </a:lnTo>
                        <a:lnTo>
                          <a:pt x="7258" y="1455"/>
                        </a:lnTo>
                        <a:lnTo>
                          <a:pt x="7247" y="1444"/>
                        </a:lnTo>
                        <a:lnTo>
                          <a:pt x="7238" y="1431"/>
                        </a:lnTo>
                        <a:lnTo>
                          <a:pt x="7232" y="1426"/>
                        </a:lnTo>
                        <a:lnTo>
                          <a:pt x="7222" y="1409"/>
                        </a:lnTo>
                        <a:lnTo>
                          <a:pt x="7212" y="1402"/>
                        </a:lnTo>
                        <a:lnTo>
                          <a:pt x="7204" y="1393"/>
                        </a:lnTo>
                        <a:lnTo>
                          <a:pt x="7192" y="1388"/>
                        </a:lnTo>
                        <a:lnTo>
                          <a:pt x="7152" y="1384"/>
                        </a:lnTo>
                        <a:lnTo>
                          <a:pt x="7139" y="1379"/>
                        </a:lnTo>
                        <a:lnTo>
                          <a:pt x="7112" y="1378"/>
                        </a:lnTo>
                        <a:lnTo>
                          <a:pt x="7090" y="1382"/>
                        </a:lnTo>
                        <a:lnTo>
                          <a:pt x="7064" y="1380"/>
                        </a:lnTo>
                        <a:lnTo>
                          <a:pt x="7051" y="1383"/>
                        </a:lnTo>
                        <a:lnTo>
                          <a:pt x="7047" y="1388"/>
                        </a:lnTo>
                        <a:lnTo>
                          <a:pt x="7024" y="1385"/>
                        </a:lnTo>
                        <a:lnTo>
                          <a:pt x="7017" y="1393"/>
                        </a:lnTo>
                        <a:lnTo>
                          <a:pt x="7006" y="1393"/>
                        </a:lnTo>
                        <a:lnTo>
                          <a:pt x="6979" y="1386"/>
                        </a:lnTo>
                        <a:lnTo>
                          <a:pt x="6973" y="1388"/>
                        </a:lnTo>
                        <a:lnTo>
                          <a:pt x="6964" y="1396"/>
                        </a:lnTo>
                        <a:lnTo>
                          <a:pt x="6951" y="1400"/>
                        </a:lnTo>
                        <a:lnTo>
                          <a:pt x="6941" y="1395"/>
                        </a:lnTo>
                        <a:lnTo>
                          <a:pt x="6920" y="1396"/>
                        </a:lnTo>
                        <a:lnTo>
                          <a:pt x="6913" y="1400"/>
                        </a:lnTo>
                        <a:lnTo>
                          <a:pt x="6905" y="1397"/>
                        </a:lnTo>
                        <a:lnTo>
                          <a:pt x="6881" y="1410"/>
                        </a:lnTo>
                        <a:lnTo>
                          <a:pt x="6870" y="1410"/>
                        </a:lnTo>
                        <a:lnTo>
                          <a:pt x="6861" y="1417"/>
                        </a:lnTo>
                        <a:lnTo>
                          <a:pt x="6855" y="1409"/>
                        </a:lnTo>
                        <a:lnTo>
                          <a:pt x="6837" y="1393"/>
                        </a:lnTo>
                        <a:lnTo>
                          <a:pt x="6823" y="1391"/>
                        </a:lnTo>
                        <a:lnTo>
                          <a:pt x="6817" y="1386"/>
                        </a:lnTo>
                        <a:lnTo>
                          <a:pt x="6840" y="1379"/>
                        </a:lnTo>
                        <a:lnTo>
                          <a:pt x="6848" y="1368"/>
                        </a:lnTo>
                        <a:lnTo>
                          <a:pt x="6850" y="1354"/>
                        </a:lnTo>
                        <a:lnTo>
                          <a:pt x="6814" y="1323"/>
                        </a:lnTo>
                        <a:lnTo>
                          <a:pt x="6811" y="1315"/>
                        </a:lnTo>
                        <a:lnTo>
                          <a:pt x="6808" y="1307"/>
                        </a:lnTo>
                        <a:lnTo>
                          <a:pt x="6786" y="1310"/>
                        </a:lnTo>
                        <a:lnTo>
                          <a:pt x="6769" y="1316"/>
                        </a:lnTo>
                        <a:lnTo>
                          <a:pt x="6759" y="1316"/>
                        </a:lnTo>
                        <a:lnTo>
                          <a:pt x="6755" y="1307"/>
                        </a:lnTo>
                        <a:lnTo>
                          <a:pt x="6755" y="1299"/>
                        </a:lnTo>
                        <a:lnTo>
                          <a:pt x="6737" y="1288"/>
                        </a:lnTo>
                        <a:lnTo>
                          <a:pt x="6732" y="1276"/>
                        </a:lnTo>
                        <a:lnTo>
                          <a:pt x="6725" y="1275"/>
                        </a:lnTo>
                        <a:lnTo>
                          <a:pt x="6706" y="1264"/>
                        </a:lnTo>
                        <a:lnTo>
                          <a:pt x="6701" y="1271"/>
                        </a:lnTo>
                        <a:lnTo>
                          <a:pt x="6692" y="1272"/>
                        </a:lnTo>
                        <a:lnTo>
                          <a:pt x="6685" y="1267"/>
                        </a:lnTo>
                        <a:lnTo>
                          <a:pt x="6671" y="1264"/>
                        </a:lnTo>
                        <a:lnTo>
                          <a:pt x="6665" y="1266"/>
                        </a:lnTo>
                        <a:lnTo>
                          <a:pt x="6665" y="1260"/>
                        </a:lnTo>
                        <a:lnTo>
                          <a:pt x="6684" y="1232"/>
                        </a:lnTo>
                        <a:lnTo>
                          <a:pt x="6690" y="1227"/>
                        </a:lnTo>
                        <a:lnTo>
                          <a:pt x="6703" y="1237"/>
                        </a:lnTo>
                        <a:lnTo>
                          <a:pt x="6709" y="1245"/>
                        </a:lnTo>
                        <a:lnTo>
                          <a:pt x="6722" y="1237"/>
                        </a:lnTo>
                        <a:lnTo>
                          <a:pt x="6722" y="1226"/>
                        </a:lnTo>
                        <a:lnTo>
                          <a:pt x="6721" y="1217"/>
                        </a:lnTo>
                        <a:lnTo>
                          <a:pt x="6708" y="1181"/>
                        </a:lnTo>
                        <a:lnTo>
                          <a:pt x="6689" y="1169"/>
                        </a:lnTo>
                        <a:lnTo>
                          <a:pt x="6678" y="1162"/>
                        </a:lnTo>
                        <a:lnTo>
                          <a:pt x="6662" y="1159"/>
                        </a:lnTo>
                        <a:lnTo>
                          <a:pt x="6656" y="1153"/>
                        </a:lnTo>
                        <a:lnTo>
                          <a:pt x="6636" y="1143"/>
                        </a:lnTo>
                        <a:lnTo>
                          <a:pt x="6617" y="1147"/>
                        </a:lnTo>
                        <a:lnTo>
                          <a:pt x="6615" y="1151"/>
                        </a:lnTo>
                        <a:lnTo>
                          <a:pt x="6612" y="1144"/>
                        </a:lnTo>
                        <a:lnTo>
                          <a:pt x="6603" y="1143"/>
                        </a:lnTo>
                        <a:lnTo>
                          <a:pt x="6575" y="1143"/>
                        </a:lnTo>
                        <a:lnTo>
                          <a:pt x="6565" y="1148"/>
                        </a:lnTo>
                        <a:lnTo>
                          <a:pt x="6540" y="1142"/>
                        </a:lnTo>
                        <a:lnTo>
                          <a:pt x="6528" y="1131"/>
                        </a:lnTo>
                        <a:lnTo>
                          <a:pt x="6512" y="1131"/>
                        </a:lnTo>
                        <a:lnTo>
                          <a:pt x="6490" y="1109"/>
                        </a:lnTo>
                        <a:lnTo>
                          <a:pt x="6484" y="1111"/>
                        </a:lnTo>
                        <a:lnTo>
                          <a:pt x="6443" y="1106"/>
                        </a:lnTo>
                        <a:lnTo>
                          <a:pt x="6419" y="1092"/>
                        </a:lnTo>
                        <a:lnTo>
                          <a:pt x="6378" y="1089"/>
                        </a:lnTo>
                        <a:lnTo>
                          <a:pt x="6365" y="1084"/>
                        </a:lnTo>
                        <a:lnTo>
                          <a:pt x="6319" y="1086"/>
                        </a:lnTo>
                        <a:lnTo>
                          <a:pt x="6264" y="1079"/>
                        </a:lnTo>
                        <a:lnTo>
                          <a:pt x="6257" y="1073"/>
                        </a:lnTo>
                        <a:lnTo>
                          <a:pt x="6252" y="1066"/>
                        </a:lnTo>
                        <a:lnTo>
                          <a:pt x="6242" y="1060"/>
                        </a:lnTo>
                        <a:lnTo>
                          <a:pt x="6232" y="1058"/>
                        </a:lnTo>
                        <a:lnTo>
                          <a:pt x="6225" y="1057"/>
                        </a:lnTo>
                        <a:lnTo>
                          <a:pt x="6217" y="1068"/>
                        </a:lnTo>
                        <a:lnTo>
                          <a:pt x="6216" y="1074"/>
                        </a:lnTo>
                        <a:lnTo>
                          <a:pt x="6226" y="1084"/>
                        </a:lnTo>
                        <a:lnTo>
                          <a:pt x="6227" y="1093"/>
                        </a:lnTo>
                        <a:lnTo>
                          <a:pt x="6235" y="1105"/>
                        </a:lnTo>
                        <a:lnTo>
                          <a:pt x="6227" y="1109"/>
                        </a:lnTo>
                        <a:lnTo>
                          <a:pt x="6216" y="1119"/>
                        </a:lnTo>
                        <a:lnTo>
                          <a:pt x="6211" y="1127"/>
                        </a:lnTo>
                        <a:lnTo>
                          <a:pt x="6206" y="1152"/>
                        </a:lnTo>
                        <a:lnTo>
                          <a:pt x="6199" y="1167"/>
                        </a:lnTo>
                        <a:lnTo>
                          <a:pt x="6192" y="1176"/>
                        </a:lnTo>
                        <a:lnTo>
                          <a:pt x="6179" y="1179"/>
                        </a:lnTo>
                        <a:lnTo>
                          <a:pt x="6166" y="1191"/>
                        </a:lnTo>
                        <a:lnTo>
                          <a:pt x="6158" y="1205"/>
                        </a:lnTo>
                        <a:lnTo>
                          <a:pt x="6157" y="1212"/>
                        </a:lnTo>
                        <a:lnTo>
                          <a:pt x="6163" y="1226"/>
                        </a:lnTo>
                        <a:lnTo>
                          <a:pt x="6165" y="1234"/>
                        </a:lnTo>
                        <a:lnTo>
                          <a:pt x="6155" y="1235"/>
                        </a:lnTo>
                        <a:lnTo>
                          <a:pt x="6156" y="1255"/>
                        </a:lnTo>
                        <a:lnTo>
                          <a:pt x="6161" y="1269"/>
                        </a:lnTo>
                        <a:lnTo>
                          <a:pt x="6171" y="1280"/>
                        </a:lnTo>
                        <a:lnTo>
                          <a:pt x="6173" y="1286"/>
                        </a:lnTo>
                        <a:lnTo>
                          <a:pt x="6173" y="1298"/>
                        </a:lnTo>
                        <a:lnTo>
                          <a:pt x="6171" y="1307"/>
                        </a:lnTo>
                        <a:lnTo>
                          <a:pt x="6161" y="1307"/>
                        </a:lnTo>
                        <a:lnTo>
                          <a:pt x="6141" y="1294"/>
                        </a:lnTo>
                        <a:lnTo>
                          <a:pt x="6135" y="1313"/>
                        </a:lnTo>
                        <a:lnTo>
                          <a:pt x="6120" y="1307"/>
                        </a:lnTo>
                        <a:lnTo>
                          <a:pt x="6115" y="1314"/>
                        </a:lnTo>
                        <a:lnTo>
                          <a:pt x="6113" y="1309"/>
                        </a:lnTo>
                        <a:lnTo>
                          <a:pt x="6093" y="1325"/>
                        </a:lnTo>
                        <a:lnTo>
                          <a:pt x="6088" y="1334"/>
                        </a:lnTo>
                        <a:lnTo>
                          <a:pt x="6080" y="1340"/>
                        </a:lnTo>
                        <a:lnTo>
                          <a:pt x="6076" y="1352"/>
                        </a:lnTo>
                        <a:lnTo>
                          <a:pt x="6065" y="1351"/>
                        </a:lnTo>
                        <a:lnTo>
                          <a:pt x="6060" y="1357"/>
                        </a:lnTo>
                        <a:lnTo>
                          <a:pt x="6054" y="1350"/>
                        </a:lnTo>
                        <a:lnTo>
                          <a:pt x="6047" y="1348"/>
                        </a:lnTo>
                        <a:lnTo>
                          <a:pt x="6042" y="1343"/>
                        </a:lnTo>
                        <a:lnTo>
                          <a:pt x="6042" y="1334"/>
                        </a:lnTo>
                        <a:lnTo>
                          <a:pt x="6033" y="1331"/>
                        </a:lnTo>
                        <a:lnTo>
                          <a:pt x="6029" y="1320"/>
                        </a:lnTo>
                        <a:lnTo>
                          <a:pt x="6021" y="1314"/>
                        </a:lnTo>
                        <a:lnTo>
                          <a:pt x="6013" y="1314"/>
                        </a:lnTo>
                        <a:lnTo>
                          <a:pt x="5985" y="1293"/>
                        </a:lnTo>
                        <a:lnTo>
                          <a:pt x="5972" y="1294"/>
                        </a:lnTo>
                        <a:lnTo>
                          <a:pt x="5956" y="1288"/>
                        </a:lnTo>
                        <a:lnTo>
                          <a:pt x="5950" y="1281"/>
                        </a:lnTo>
                        <a:lnTo>
                          <a:pt x="5941" y="1280"/>
                        </a:lnTo>
                        <a:lnTo>
                          <a:pt x="5929" y="1272"/>
                        </a:lnTo>
                        <a:lnTo>
                          <a:pt x="5898" y="1276"/>
                        </a:lnTo>
                        <a:lnTo>
                          <a:pt x="5887" y="1294"/>
                        </a:lnTo>
                        <a:lnTo>
                          <a:pt x="5886" y="1304"/>
                        </a:lnTo>
                        <a:lnTo>
                          <a:pt x="5888" y="1318"/>
                        </a:lnTo>
                        <a:lnTo>
                          <a:pt x="5887" y="1324"/>
                        </a:lnTo>
                        <a:lnTo>
                          <a:pt x="5877" y="1309"/>
                        </a:lnTo>
                        <a:lnTo>
                          <a:pt x="5872" y="1314"/>
                        </a:lnTo>
                        <a:lnTo>
                          <a:pt x="5845" y="1309"/>
                        </a:lnTo>
                        <a:lnTo>
                          <a:pt x="5834" y="1314"/>
                        </a:lnTo>
                        <a:lnTo>
                          <a:pt x="5824" y="1312"/>
                        </a:lnTo>
                        <a:lnTo>
                          <a:pt x="5811" y="1292"/>
                        </a:lnTo>
                        <a:lnTo>
                          <a:pt x="5802" y="1287"/>
                        </a:lnTo>
                        <a:lnTo>
                          <a:pt x="5792" y="1264"/>
                        </a:lnTo>
                        <a:lnTo>
                          <a:pt x="5783" y="1254"/>
                        </a:lnTo>
                        <a:lnTo>
                          <a:pt x="5775" y="1232"/>
                        </a:lnTo>
                        <a:lnTo>
                          <a:pt x="5774" y="1217"/>
                        </a:lnTo>
                        <a:lnTo>
                          <a:pt x="5773" y="1214"/>
                        </a:lnTo>
                        <a:lnTo>
                          <a:pt x="5767" y="1218"/>
                        </a:lnTo>
                        <a:lnTo>
                          <a:pt x="5762" y="1232"/>
                        </a:lnTo>
                        <a:lnTo>
                          <a:pt x="5744" y="1275"/>
                        </a:lnTo>
                        <a:lnTo>
                          <a:pt x="5737" y="1289"/>
                        </a:lnTo>
                        <a:lnTo>
                          <a:pt x="5736" y="1307"/>
                        </a:lnTo>
                        <a:lnTo>
                          <a:pt x="5733" y="1319"/>
                        </a:lnTo>
                        <a:lnTo>
                          <a:pt x="5735" y="1353"/>
                        </a:lnTo>
                        <a:lnTo>
                          <a:pt x="5727" y="1358"/>
                        </a:lnTo>
                        <a:lnTo>
                          <a:pt x="5719" y="1380"/>
                        </a:lnTo>
                        <a:lnTo>
                          <a:pt x="5712" y="1388"/>
                        </a:lnTo>
                        <a:lnTo>
                          <a:pt x="5710" y="1406"/>
                        </a:lnTo>
                        <a:lnTo>
                          <a:pt x="5700" y="1418"/>
                        </a:lnTo>
                        <a:lnTo>
                          <a:pt x="5697" y="1433"/>
                        </a:lnTo>
                        <a:lnTo>
                          <a:pt x="5684" y="1427"/>
                        </a:lnTo>
                        <a:lnTo>
                          <a:pt x="5674" y="1395"/>
                        </a:lnTo>
                        <a:lnTo>
                          <a:pt x="5671" y="1393"/>
                        </a:lnTo>
                        <a:lnTo>
                          <a:pt x="5669" y="1405"/>
                        </a:lnTo>
                        <a:lnTo>
                          <a:pt x="5662" y="1406"/>
                        </a:lnTo>
                        <a:lnTo>
                          <a:pt x="5656" y="1397"/>
                        </a:lnTo>
                        <a:lnTo>
                          <a:pt x="5649" y="1399"/>
                        </a:lnTo>
                        <a:lnTo>
                          <a:pt x="5641" y="1394"/>
                        </a:lnTo>
                        <a:lnTo>
                          <a:pt x="5636" y="1386"/>
                        </a:lnTo>
                        <a:lnTo>
                          <a:pt x="5636" y="1379"/>
                        </a:lnTo>
                        <a:lnTo>
                          <a:pt x="5627" y="1368"/>
                        </a:lnTo>
                        <a:lnTo>
                          <a:pt x="5620" y="1375"/>
                        </a:lnTo>
                        <a:lnTo>
                          <a:pt x="5618" y="1369"/>
                        </a:lnTo>
                        <a:lnTo>
                          <a:pt x="5613" y="1364"/>
                        </a:lnTo>
                        <a:lnTo>
                          <a:pt x="5609" y="1354"/>
                        </a:lnTo>
                        <a:lnTo>
                          <a:pt x="5607" y="1340"/>
                        </a:lnTo>
                        <a:lnTo>
                          <a:pt x="5599" y="1336"/>
                        </a:lnTo>
                        <a:lnTo>
                          <a:pt x="5596" y="1340"/>
                        </a:lnTo>
                        <a:lnTo>
                          <a:pt x="5596" y="1332"/>
                        </a:lnTo>
                        <a:lnTo>
                          <a:pt x="5588" y="1318"/>
                        </a:lnTo>
                        <a:lnTo>
                          <a:pt x="5586" y="1303"/>
                        </a:lnTo>
                        <a:lnTo>
                          <a:pt x="5582" y="1299"/>
                        </a:lnTo>
                        <a:lnTo>
                          <a:pt x="5582" y="1288"/>
                        </a:lnTo>
                        <a:lnTo>
                          <a:pt x="5579" y="1282"/>
                        </a:lnTo>
                        <a:lnTo>
                          <a:pt x="5576" y="1270"/>
                        </a:lnTo>
                        <a:lnTo>
                          <a:pt x="5575" y="1273"/>
                        </a:lnTo>
                        <a:lnTo>
                          <a:pt x="5565" y="1280"/>
                        </a:lnTo>
                        <a:lnTo>
                          <a:pt x="5559" y="1272"/>
                        </a:lnTo>
                        <a:lnTo>
                          <a:pt x="5561" y="1264"/>
                        </a:lnTo>
                        <a:lnTo>
                          <a:pt x="5559" y="1255"/>
                        </a:lnTo>
                        <a:lnTo>
                          <a:pt x="5555" y="1251"/>
                        </a:lnTo>
                        <a:lnTo>
                          <a:pt x="5554" y="1245"/>
                        </a:lnTo>
                        <a:lnTo>
                          <a:pt x="5553" y="1229"/>
                        </a:lnTo>
                        <a:lnTo>
                          <a:pt x="5572" y="1200"/>
                        </a:lnTo>
                        <a:lnTo>
                          <a:pt x="5577" y="1205"/>
                        </a:lnTo>
                        <a:lnTo>
                          <a:pt x="5582" y="1203"/>
                        </a:lnTo>
                        <a:lnTo>
                          <a:pt x="5579" y="1199"/>
                        </a:lnTo>
                        <a:lnTo>
                          <a:pt x="5580" y="1192"/>
                        </a:lnTo>
                        <a:lnTo>
                          <a:pt x="5591" y="1187"/>
                        </a:lnTo>
                        <a:lnTo>
                          <a:pt x="5597" y="1180"/>
                        </a:lnTo>
                        <a:lnTo>
                          <a:pt x="5591" y="1181"/>
                        </a:lnTo>
                        <a:lnTo>
                          <a:pt x="5591" y="1178"/>
                        </a:lnTo>
                        <a:lnTo>
                          <a:pt x="5596" y="1173"/>
                        </a:lnTo>
                        <a:lnTo>
                          <a:pt x="5593" y="1169"/>
                        </a:lnTo>
                        <a:lnTo>
                          <a:pt x="5593" y="1159"/>
                        </a:lnTo>
                        <a:lnTo>
                          <a:pt x="5603" y="1141"/>
                        </a:lnTo>
                        <a:lnTo>
                          <a:pt x="5581" y="1125"/>
                        </a:lnTo>
                        <a:lnTo>
                          <a:pt x="5582" y="1120"/>
                        </a:lnTo>
                        <a:lnTo>
                          <a:pt x="5590" y="1111"/>
                        </a:lnTo>
                        <a:lnTo>
                          <a:pt x="5580" y="1104"/>
                        </a:lnTo>
                        <a:lnTo>
                          <a:pt x="5582" y="1094"/>
                        </a:lnTo>
                        <a:lnTo>
                          <a:pt x="5588" y="1090"/>
                        </a:lnTo>
                        <a:lnTo>
                          <a:pt x="5588" y="1077"/>
                        </a:lnTo>
                        <a:lnTo>
                          <a:pt x="5591" y="1074"/>
                        </a:lnTo>
                        <a:lnTo>
                          <a:pt x="5587" y="1072"/>
                        </a:lnTo>
                        <a:lnTo>
                          <a:pt x="5586" y="1066"/>
                        </a:lnTo>
                        <a:lnTo>
                          <a:pt x="5587" y="1058"/>
                        </a:lnTo>
                        <a:lnTo>
                          <a:pt x="5585" y="1050"/>
                        </a:lnTo>
                        <a:lnTo>
                          <a:pt x="5592" y="1049"/>
                        </a:lnTo>
                        <a:lnTo>
                          <a:pt x="5593" y="1045"/>
                        </a:lnTo>
                        <a:lnTo>
                          <a:pt x="5595" y="1038"/>
                        </a:lnTo>
                        <a:lnTo>
                          <a:pt x="5597" y="1031"/>
                        </a:lnTo>
                        <a:lnTo>
                          <a:pt x="5593" y="1028"/>
                        </a:lnTo>
                        <a:lnTo>
                          <a:pt x="5593" y="1022"/>
                        </a:lnTo>
                        <a:lnTo>
                          <a:pt x="5577" y="1012"/>
                        </a:lnTo>
                        <a:lnTo>
                          <a:pt x="5572" y="1001"/>
                        </a:lnTo>
                        <a:lnTo>
                          <a:pt x="5565" y="992"/>
                        </a:lnTo>
                        <a:lnTo>
                          <a:pt x="5565" y="985"/>
                        </a:lnTo>
                        <a:lnTo>
                          <a:pt x="5541" y="971"/>
                        </a:lnTo>
                        <a:lnTo>
                          <a:pt x="5542" y="964"/>
                        </a:lnTo>
                        <a:lnTo>
                          <a:pt x="5541" y="957"/>
                        </a:lnTo>
                        <a:lnTo>
                          <a:pt x="5528" y="955"/>
                        </a:lnTo>
                        <a:lnTo>
                          <a:pt x="5523" y="952"/>
                        </a:lnTo>
                        <a:lnTo>
                          <a:pt x="5527" y="948"/>
                        </a:lnTo>
                        <a:lnTo>
                          <a:pt x="5521" y="939"/>
                        </a:lnTo>
                        <a:lnTo>
                          <a:pt x="5504" y="932"/>
                        </a:lnTo>
                        <a:lnTo>
                          <a:pt x="5494" y="936"/>
                        </a:lnTo>
                        <a:lnTo>
                          <a:pt x="5478" y="933"/>
                        </a:lnTo>
                        <a:lnTo>
                          <a:pt x="5461" y="925"/>
                        </a:lnTo>
                        <a:lnTo>
                          <a:pt x="5457" y="930"/>
                        </a:lnTo>
                        <a:lnTo>
                          <a:pt x="5455" y="938"/>
                        </a:lnTo>
                        <a:lnTo>
                          <a:pt x="5447" y="938"/>
                        </a:lnTo>
                        <a:lnTo>
                          <a:pt x="5437" y="950"/>
                        </a:lnTo>
                        <a:lnTo>
                          <a:pt x="5435" y="947"/>
                        </a:lnTo>
                        <a:lnTo>
                          <a:pt x="5434" y="941"/>
                        </a:lnTo>
                        <a:lnTo>
                          <a:pt x="5415" y="918"/>
                        </a:lnTo>
                        <a:lnTo>
                          <a:pt x="5408" y="925"/>
                        </a:lnTo>
                        <a:lnTo>
                          <a:pt x="5399" y="920"/>
                        </a:lnTo>
                        <a:lnTo>
                          <a:pt x="5392" y="922"/>
                        </a:lnTo>
                        <a:lnTo>
                          <a:pt x="5385" y="912"/>
                        </a:lnTo>
                        <a:lnTo>
                          <a:pt x="5380" y="916"/>
                        </a:lnTo>
                        <a:lnTo>
                          <a:pt x="5373" y="910"/>
                        </a:lnTo>
                        <a:lnTo>
                          <a:pt x="5370" y="918"/>
                        </a:lnTo>
                        <a:lnTo>
                          <a:pt x="5361" y="910"/>
                        </a:lnTo>
                        <a:lnTo>
                          <a:pt x="5361" y="904"/>
                        </a:lnTo>
                        <a:lnTo>
                          <a:pt x="5359" y="895"/>
                        </a:lnTo>
                        <a:lnTo>
                          <a:pt x="5354" y="891"/>
                        </a:lnTo>
                        <a:lnTo>
                          <a:pt x="5350" y="896"/>
                        </a:lnTo>
                        <a:lnTo>
                          <a:pt x="5339" y="883"/>
                        </a:lnTo>
                        <a:lnTo>
                          <a:pt x="5333" y="885"/>
                        </a:lnTo>
                        <a:lnTo>
                          <a:pt x="5323" y="879"/>
                        </a:lnTo>
                        <a:lnTo>
                          <a:pt x="5305" y="875"/>
                        </a:lnTo>
                        <a:lnTo>
                          <a:pt x="5292" y="866"/>
                        </a:lnTo>
                        <a:lnTo>
                          <a:pt x="5286" y="866"/>
                        </a:lnTo>
                        <a:lnTo>
                          <a:pt x="5285" y="873"/>
                        </a:lnTo>
                        <a:lnTo>
                          <a:pt x="5285" y="880"/>
                        </a:lnTo>
                        <a:lnTo>
                          <a:pt x="5286" y="890"/>
                        </a:lnTo>
                        <a:lnTo>
                          <a:pt x="5284" y="895"/>
                        </a:lnTo>
                        <a:lnTo>
                          <a:pt x="5268" y="893"/>
                        </a:lnTo>
                        <a:lnTo>
                          <a:pt x="5258" y="877"/>
                        </a:lnTo>
                        <a:lnTo>
                          <a:pt x="5257" y="883"/>
                        </a:lnTo>
                        <a:lnTo>
                          <a:pt x="5256" y="900"/>
                        </a:lnTo>
                        <a:lnTo>
                          <a:pt x="5247" y="942"/>
                        </a:lnTo>
                        <a:lnTo>
                          <a:pt x="5252" y="944"/>
                        </a:lnTo>
                        <a:lnTo>
                          <a:pt x="5249" y="950"/>
                        </a:lnTo>
                        <a:lnTo>
                          <a:pt x="5248" y="955"/>
                        </a:lnTo>
                        <a:lnTo>
                          <a:pt x="5251" y="970"/>
                        </a:lnTo>
                        <a:lnTo>
                          <a:pt x="5264" y="1003"/>
                        </a:lnTo>
                        <a:lnTo>
                          <a:pt x="5260" y="1011"/>
                        </a:lnTo>
                        <a:lnTo>
                          <a:pt x="5252" y="1019"/>
                        </a:lnTo>
                        <a:lnTo>
                          <a:pt x="5225" y="1024"/>
                        </a:lnTo>
                        <a:lnTo>
                          <a:pt x="5210" y="1036"/>
                        </a:lnTo>
                        <a:lnTo>
                          <a:pt x="5204" y="1031"/>
                        </a:lnTo>
                        <a:lnTo>
                          <a:pt x="5200" y="1038"/>
                        </a:lnTo>
                        <a:lnTo>
                          <a:pt x="5195" y="1034"/>
                        </a:lnTo>
                        <a:lnTo>
                          <a:pt x="5179" y="1038"/>
                        </a:lnTo>
                        <a:lnTo>
                          <a:pt x="5168" y="1033"/>
                        </a:lnTo>
                        <a:lnTo>
                          <a:pt x="5161" y="1033"/>
                        </a:lnTo>
                        <a:lnTo>
                          <a:pt x="5136" y="1038"/>
                        </a:lnTo>
                        <a:lnTo>
                          <a:pt x="5131" y="1041"/>
                        </a:lnTo>
                        <a:lnTo>
                          <a:pt x="5112" y="1030"/>
                        </a:lnTo>
                        <a:lnTo>
                          <a:pt x="5082" y="1023"/>
                        </a:lnTo>
                        <a:lnTo>
                          <a:pt x="5074" y="1022"/>
                        </a:lnTo>
                        <a:lnTo>
                          <a:pt x="5074" y="1030"/>
                        </a:lnTo>
                        <a:lnTo>
                          <a:pt x="5071" y="1035"/>
                        </a:lnTo>
                        <a:lnTo>
                          <a:pt x="5042" y="1015"/>
                        </a:lnTo>
                        <a:lnTo>
                          <a:pt x="5023" y="1011"/>
                        </a:lnTo>
                        <a:lnTo>
                          <a:pt x="4994" y="995"/>
                        </a:lnTo>
                        <a:lnTo>
                          <a:pt x="4989" y="987"/>
                        </a:lnTo>
                        <a:lnTo>
                          <a:pt x="4989" y="980"/>
                        </a:lnTo>
                        <a:lnTo>
                          <a:pt x="4989" y="974"/>
                        </a:lnTo>
                        <a:lnTo>
                          <a:pt x="4990" y="969"/>
                        </a:lnTo>
                        <a:lnTo>
                          <a:pt x="4988" y="955"/>
                        </a:lnTo>
                        <a:lnTo>
                          <a:pt x="4990" y="948"/>
                        </a:lnTo>
                        <a:lnTo>
                          <a:pt x="4996" y="944"/>
                        </a:lnTo>
                        <a:lnTo>
                          <a:pt x="5007" y="944"/>
                        </a:lnTo>
                        <a:lnTo>
                          <a:pt x="5009" y="938"/>
                        </a:lnTo>
                        <a:lnTo>
                          <a:pt x="5015" y="938"/>
                        </a:lnTo>
                        <a:lnTo>
                          <a:pt x="5012" y="931"/>
                        </a:lnTo>
                        <a:lnTo>
                          <a:pt x="5005" y="925"/>
                        </a:lnTo>
                        <a:lnTo>
                          <a:pt x="4978" y="926"/>
                        </a:lnTo>
                        <a:lnTo>
                          <a:pt x="4967" y="920"/>
                        </a:lnTo>
                        <a:lnTo>
                          <a:pt x="4948" y="925"/>
                        </a:lnTo>
                        <a:lnTo>
                          <a:pt x="4924" y="920"/>
                        </a:lnTo>
                        <a:lnTo>
                          <a:pt x="4912" y="912"/>
                        </a:lnTo>
                        <a:lnTo>
                          <a:pt x="4900" y="912"/>
                        </a:lnTo>
                        <a:lnTo>
                          <a:pt x="4888" y="907"/>
                        </a:lnTo>
                        <a:lnTo>
                          <a:pt x="4875" y="907"/>
                        </a:lnTo>
                        <a:lnTo>
                          <a:pt x="4858" y="899"/>
                        </a:lnTo>
                        <a:lnTo>
                          <a:pt x="4837" y="895"/>
                        </a:lnTo>
                        <a:lnTo>
                          <a:pt x="4818" y="900"/>
                        </a:lnTo>
                        <a:lnTo>
                          <a:pt x="4818" y="909"/>
                        </a:lnTo>
                        <a:lnTo>
                          <a:pt x="4792" y="918"/>
                        </a:lnTo>
                        <a:lnTo>
                          <a:pt x="4779" y="921"/>
                        </a:lnTo>
                        <a:lnTo>
                          <a:pt x="4756" y="918"/>
                        </a:lnTo>
                        <a:lnTo>
                          <a:pt x="4721" y="932"/>
                        </a:lnTo>
                        <a:lnTo>
                          <a:pt x="4736" y="957"/>
                        </a:lnTo>
                        <a:lnTo>
                          <a:pt x="4738" y="969"/>
                        </a:lnTo>
                        <a:lnTo>
                          <a:pt x="4735" y="974"/>
                        </a:lnTo>
                        <a:lnTo>
                          <a:pt x="4713" y="990"/>
                        </a:lnTo>
                        <a:lnTo>
                          <a:pt x="4698" y="984"/>
                        </a:lnTo>
                        <a:lnTo>
                          <a:pt x="4700" y="976"/>
                        </a:lnTo>
                        <a:lnTo>
                          <a:pt x="4715" y="979"/>
                        </a:lnTo>
                        <a:lnTo>
                          <a:pt x="4719" y="969"/>
                        </a:lnTo>
                        <a:lnTo>
                          <a:pt x="4703" y="964"/>
                        </a:lnTo>
                        <a:lnTo>
                          <a:pt x="4705" y="955"/>
                        </a:lnTo>
                        <a:lnTo>
                          <a:pt x="4700" y="947"/>
                        </a:lnTo>
                        <a:lnTo>
                          <a:pt x="4711" y="922"/>
                        </a:lnTo>
                        <a:lnTo>
                          <a:pt x="4710" y="907"/>
                        </a:lnTo>
                        <a:lnTo>
                          <a:pt x="4705" y="894"/>
                        </a:lnTo>
                        <a:lnTo>
                          <a:pt x="4700" y="889"/>
                        </a:lnTo>
                        <a:lnTo>
                          <a:pt x="4698" y="872"/>
                        </a:lnTo>
                        <a:lnTo>
                          <a:pt x="4690" y="858"/>
                        </a:lnTo>
                        <a:lnTo>
                          <a:pt x="4678" y="832"/>
                        </a:lnTo>
                        <a:lnTo>
                          <a:pt x="4684" y="861"/>
                        </a:lnTo>
                        <a:lnTo>
                          <a:pt x="4682" y="878"/>
                        </a:lnTo>
                        <a:lnTo>
                          <a:pt x="4674" y="891"/>
                        </a:lnTo>
                        <a:lnTo>
                          <a:pt x="4658" y="896"/>
                        </a:lnTo>
                        <a:lnTo>
                          <a:pt x="4628" y="894"/>
                        </a:lnTo>
                        <a:lnTo>
                          <a:pt x="4619" y="896"/>
                        </a:lnTo>
                        <a:lnTo>
                          <a:pt x="4617" y="891"/>
                        </a:lnTo>
                        <a:lnTo>
                          <a:pt x="4596" y="874"/>
                        </a:lnTo>
                        <a:lnTo>
                          <a:pt x="4592" y="862"/>
                        </a:lnTo>
                        <a:lnTo>
                          <a:pt x="4591" y="848"/>
                        </a:lnTo>
                        <a:lnTo>
                          <a:pt x="4596" y="837"/>
                        </a:lnTo>
                        <a:lnTo>
                          <a:pt x="4598" y="847"/>
                        </a:lnTo>
                        <a:lnTo>
                          <a:pt x="4607" y="832"/>
                        </a:lnTo>
                        <a:lnTo>
                          <a:pt x="4608" y="826"/>
                        </a:lnTo>
                        <a:lnTo>
                          <a:pt x="4584" y="834"/>
                        </a:lnTo>
                        <a:lnTo>
                          <a:pt x="4576" y="842"/>
                        </a:lnTo>
                        <a:lnTo>
                          <a:pt x="4574" y="851"/>
                        </a:lnTo>
                        <a:lnTo>
                          <a:pt x="4570" y="855"/>
                        </a:lnTo>
                        <a:lnTo>
                          <a:pt x="4565" y="845"/>
                        </a:lnTo>
                        <a:lnTo>
                          <a:pt x="4553" y="840"/>
                        </a:lnTo>
                        <a:lnTo>
                          <a:pt x="4542" y="831"/>
                        </a:lnTo>
                        <a:lnTo>
                          <a:pt x="4527" y="834"/>
                        </a:lnTo>
                        <a:lnTo>
                          <a:pt x="4515" y="839"/>
                        </a:lnTo>
                        <a:lnTo>
                          <a:pt x="4512" y="852"/>
                        </a:lnTo>
                        <a:lnTo>
                          <a:pt x="4496" y="875"/>
                        </a:lnTo>
                        <a:lnTo>
                          <a:pt x="4495" y="884"/>
                        </a:lnTo>
                        <a:lnTo>
                          <a:pt x="4500" y="899"/>
                        </a:lnTo>
                        <a:lnTo>
                          <a:pt x="4507" y="911"/>
                        </a:lnTo>
                        <a:lnTo>
                          <a:pt x="4514" y="907"/>
                        </a:lnTo>
                        <a:lnTo>
                          <a:pt x="4509" y="905"/>
                        </a:lnTo>
                        <a:lnTo>
                          <a:pt x="4509" y="896"/>
                        </a:lnTo>
                        <a:lnTo>
                          <a:pt x="4515" y="902"/>
                        </a:lnTo>
                        <a:lnTo>
                          <a:pt x="4534" y="902"/>
                        </a:lnTo>
                        <a:lnTo>
                          <a:pt x="4542" y="893"/>
                        </a:lnTo>
                        <a:lnTo>
                          <a:pt x="4552" y="888"/>
                        </a:lnTo>
                        <a:lnTo>
                          <a:pt x="4557" y="879"/>
                        </a:lnTo>
                        <a:lnTo>
                          <a:pt x="4565" y="884"/>
                        </a:lnTo>
                        <a:lnTo>
                          <a:pt x="4573" y="901"/>
                        </a:lnTo>
                        <a:lnTo>
                          <a:pt x="4542" y="916"/>
                        </a:lnTo>
                        <a:lnTo>
                          <a:pt x="4536" y="930"/>
                        </a:lnTo>
                        <a:lnTo>
                          <a:pt x="4531" y="927"/>
                        </a:lnTo>
                        <a:lnTo>
                          <a:pt x="4506" y="948"/>
                        </a:lnTo>
                        <a:lnTo>
                          <a:pt x="4495" y="948"/>
                        </a:lnTo>
                        <a:lnTo>
                          <a:pt x="4478" y="926"/>
                        </a:lnTo>
                        <a:lnTo>
                          <a:pt x="4490" y="949"/>
                        </a:lnTo>
                        <a:lnTo>
                          <a:pt x="4487" y="952"/>
                        </a:lnTo>
                        <a:lnTo>
                          <a:pt x="4480" y="945"/>
                        </a:lnTo>
                        <a:lnTo>
                          <a:pt x="4482" y="953"/>
                        </a:lnTo>
                        <a:lnTo>
                          <a:pt x="4479" y="960"/>
                        </a:lnTo>
                        <a:lnTo>
                          <a:pt x="4444" y="971"/>
                        </a:lnTo>
                        <a:lnTo>
                          <a:pt x="4432" y="970"/>
                        </a:lnTo>
                        <a:lnTo>
                          <a:pt x="4430" y="979"/>
                        </a:lnTo>
                        <a:lnTo>
                          <a:pt x="4432" y="986"/>
                        </a:lnTo>
                        <a:lnTo>
                          <a:pt x="4414" y="982"/>
                        </a:lnTo>
                        <a:lnTo>
                          <a:pt x="4394" y="1001"/>
                        </a:lnTo>
                        <a:lnTo>
                          <a:pt x="4389" y="998"/>
                        </a:lnTo>
                        <a:lnTo>
                          <a:pt x="4361" y="996"/>
                        </a:lnTo>
                        <a:lnTo>
                          <a:pt x="4354" y="1003"/>
                        </a:lnTo>
                        <a:lnTo>
                          <a:pt x="4326" y="996"/>
                        </a:lnTo>
                        <a:lnTo>
                          <a:pt x="4315" y="1004"/>
                        </a:lnTo>
                        <a:lnTo>
                          <a:pt x="4316" y="1018"/>
                        </a:lnTo>
                        <a:lnTo>
                          <a:pt x="4323" y="1036"/>
                        </a:lnTo>
                        <a:lnTo>
                          <a:pt x="4358" y="1054"/>
                        </a:lnTo>
                        <a:lnTo>
                          <a:pt x="4350" y="1056"/>
                        </a:lnTo>
                        <a:lnTo>
                          <a:pt x="4340" y="1054"/>
                        </a:lnTo>
                        <a:lnTo>
                          <a:pt x="4317" y="1044"/>
                        </a:lnTo>
                        <a:lnTo>
                          <a:pt x="4308" y="1038"/>
                        </a:lnTo>
                        <a:lnTo>
                          <a:pt x="4301" y="1047"/>
                        </a:lnTo>
                        <a:lnTo>
                          <a:pt x="4294" y="1052"/>
                        </a:lnTo>
                        <a:lnTo>
                          <a:pt x="4288" y="1065"/>
                        </a:lnTo>
                        <a:lnTo>
                          <a:pt x="4278" y="1071"/>
                        </a:lnTo>
                        <a:lnTo>
                          <a:pt x="4267" y="1072"/>
                        </a:lnTo>
                        <a:lnTo>
                          <a:pt x="4253" y="1082"/>
                        </a:lnTo>
                        <a:lnTo>
                          <a:pt x="4242" y="1090"/>
                        </a:lnTo>
                        <a:lnTo>
                          <a:pt x="4229" y="1109"/>
                        </a:lnTo>
                        <a:lnTo>
                          <a:pt x="4232" y="1104"/>
                        </a:lnTo>
                        <a:lnTo>
                          <a:pt x="4229" y="1101"/>
                        </a:lnTo>
                        <a:lnTo>
                          <a:pt x="4215" y="1105"/>
                        </a:lnTo>
                        <a:lnTo>
                          <a:pt x="4213" y="1111"/>
                        </a:lnTo>
                        <a:lnTo>
                          <a:pt x="4206" y="1110"/>
                        </a:lnTo>
                        <a:lnTo>
                          <a:pt x="4205" y="1103"/>
                        </a:lnTo>
                        <a:lnTo>
                          <a:pt x="4227" y="1083"/>
                        </a:lnTo>
                        <a:lnTo>
                          <a:pt x="4236" y="1078"/>
                        </a:lnTo>
                        <a:lnTo>
                          <a:pt x="4240" y="1072"/>
                        </a:lnTo>
                        <a:lnTo>
                          <a:pt x="4252" y="1063"/>
                        </a:lnTo>
                        <a:lnTo>
                          <a:pt x="4263" y="1067"/>
                        </a:lnTo>
                        <a:lnTo>
                          <a:pt x="4276" y="1055"/>
                        </a:lnTo>
                        <a:lnTo>
                          <a:pt x="4285" y="1044"/>
                        </a:lnTo>
                        <a:lnTo>
                          <a:pt x="4301" y="1008"/>
                        </a:lnTo>
                        <a:lnTo>
                          <a:pt x="4306" y="1002"/>
                        </a:lnTo>
                        <a:lnTo>
                          <a:pt x="4306" y="997"/>
                        </a:lnTo>
                        <a:lnTo>
                          <a:pt x="4310" y="987"/>
                        </a:lnTo>
                        <a:lnTo>
                          <a:pt x="4316" y="972"/>
                        </a:lnTo>
                        <a:lnTo>
                          <a:pt x="4326" y="974"/>
                        </a:lnTo>
                        <a:lnTo>
                          <a:pt x="4349" y="965"/>
                        </a:lnTo>
                        <a:lnTo>
                          <a:pt x="4351" y="952"/>
                        </a:lnTo>
                        <a:lnTo>
                          <a:pt x="4365" y="928"/>
                        </a:lnTo>
                        <a:lnTo>
                          <a:pt x="4369" y="911"/>
                        </a:lnTo>
                        <a:lnTo>
                          <a:pt x="4409" y="910"/>
                        </a:lnTo>
                        <a:lnTo>
                          <a:pt x="4419" y="907"/>
                        </a:lnTo>
                        <a:lnTo>
                          <a:pt x="4425" y="915"/>
                        </a:lnTo>
                        <a:lnTo>
                          <a:pt x="4445" y="875"/>
                        </a:lnTo>
                        <a:lnTo>
                          <a:pt x="4452" y="864"/>
                        </a:lnTo>
                        <a:lnTo>
                          <a:pt x="4456" y="848"/>
                        </a:lnTo>
                        <a:lnTo>
                          <a:pt x="4484" y="820"/>
                        </a:lnTo>
                        <a:lnTo>
                          <a:pt x="4500" y="813"/>
                        </a:lnTo>
                        <a:lnTo>
                          <a:pt x="4511" y="802"/>
                        </a:lnTo>
                        <a:lnTo>
                          <a:pt x="4520" y="788"/>
                        </a:lnTo>
                        <a:lnTo>
                          <a:pt x="4526" y="767"/>
                        </a:lnTo>
                        <a:lnTo>
                          <a:pt x="4547" y="748"/>
                        </a:lnTo>
                        <a:lnTo>
                          <a:pt x="4545" y="743"/>
                        </a:lnTo>
                        <a:lnTo>
                          <a:pt x="4548" y="735"/>
                        </a:lnTo>
                        <a:lnTo>
                          <a:pt x="4559" y="733"/>
                        </a:lnTo>
                        <a:lnTo>
                          <a:pt x="4566" y="727"/>
                        </a:lnTo>
                        <a:lnTo>
                          <a:pt x="4563" y="724"/>
                        </a:lnTo>
                        <a:lnTo>
                          <a:pt x="4569" y="722"/>
                        </a:lnTo>
                        <a:lnTo>
                          <a:pt x="4573" y="726"/>
                        </a:lnTo>
                        <a:lnTo>
                          <a:pt x="4584" y="721"/>
                        </a:lnTo>
                        <a:lnTo>
                          <a:pt x="4587" y="707"/>
                        </a:lnTo>
                        <a:lnTo>
                          <a:pt x="4592" y="708"/>
                        </a:lnTo>
                        <a:lnTo>
                          <a:pt x="4607" y="692"/>
                        </a:lnTo>
                        <a:lnTo>
                          <a:pt x="4625" y="703"/>
                        </a:lnTo>
                        <a:lnTo>
                          <a:pt x="4627" y="695"/>
                        </a:lnTo>
                        <a:lnTo>
                          <a:pt x="4630" y="686"/>
                        </a:lnTo>
                        <a:lnTo>
                          <a:pt x="4625" y="678"/>
                        </a:lnTo>
                        <a:lnTo>
                          <a:pt x="4657" y="665"/>
                        </a:lnTo>
                        <a:lnTo>
                          <a:pt x="4643" y="662"/>
                        </a:lnTo>
                        <a:lnTo>
                          <a:pt x="4645" y="656"/>
                        </a:lnTo>
                        <a:lnTo>
                          <a:pt x="4667" y="645"/>
                        </a:lnTo>
                        <a:lnTo>
                          <a:pt x="4665" y="656"/>
                        </a:lnTo>
                        <a:lnTo>
                          <a:pt x="4672" y="645"/>
                        </a:lnTo>
                        <a:lnTo>
                          <a:pt x="4678" y="643"/>
                        </a:lnTo>
                        <a:lnTo>
                          <a:pt x="4684" y="636"/>
                        </a:lnTo>
                        <a:lnTo>
                          <a:pt x="4679" y="631"/>
                        </a:lnTo>
                        <a:lnTo>
                          <a:pt x="4688" y="622"/>
                        </a:lnTo>
                        <a:lnTo>
                          <a:pt x="4698" y="624"/>
                        </a:lnTo>
                        <a:lnTo>
                          <a:pt x="4704" y="611"/>
                        </a:lnTo>
                        <a:lnTo>
                          <a:pt x="4708" y="599"/>
                        </a:lnTo>
                        <a:lnTo>
                          <a:pt x="4708" y="595"/>
                        </a:lnTo>
                        <a:lnTo>
                          <a:pt x="4719" y="582"/>
                        </a:lnTo>
                        <a:lnTo>
                          <a:pt x="4722" y="573"/>
                        </a:lnTo>
                        <a:lnTo>
                          <a:pt x="4729" y="567"/>
                        </a:lnTo>
                        <a:lnTo>
                          <a:pt x="4729" y="549"/>
                        </a:lnTo>
                        <a:lnTo>
                          <a:pt x="4726" y="548"/>
                        </a:lnTo>
                        <a:lnTo>
                          <a:pt x="4722" y="534"/>
                        </a:lnTo>
                        <a:lnTo>
                          <a:pt x="4731" y="538"/>
                        </a:lnTo>
                        <a:lnTo>
                          <a:pt x="4730" y="518"/>
                        </a:lnTo>
                        <a:lnTo>
                          <a:pt x="4716" y="518"/>
                        </a:lnTo>
                        <a:lnTo>
                          <a:pt x="4703" y="506"/>
                        </a:lnTo>
                        <a:lnTo>
                          <a:pt x="4701" y="491"/>
                        </a:lnTo>
                        <a:lnTo>
                          <a:pt x="4692" y="492"/>
                        </a:lnTo>
                        <a:lnTo>
                          <a:pt x="4689" y="502"/>
                        </a:lnTo>
                        <a:lnTo>
                          <a:pt x="4686" y="507"/>
                        </a:lnTo>
                        <a:lnTo>
                          <a:pt x="4681" y="497"/>
                        </a:lnTo>
                        <a:lnTo>
                          <a:pt x="4681" y="493"/>
                        </a:lnTo>
                        <a:lnTo>
                          <a:pt x="4676" y="481"/>
                        </a:lnTo>
                        <a:lnTo>
                          <a:pt x="4679" y="475"/>
                        </a:lnTo>
                        <a:lnTo>
                          <a:pt x="4666" y="464"/>
                        </a:lnTo>
                        <a:lnTo>
                          <a:pt x="4660" y="454"/>
                        </a:lnTo>
                        <a:lnTo>
                          <a:pt x="4662" y="447"/>
                        </a:lnTo>
                        <a:lnTo>
                          <a:pt x="4670" y="449"/>
                        </a:lnTo>
                        <a:lnTo>
                          <a:pt x="4687" y="470"/>
                        </a:lnTo>
                        <a:lnTo>
                          <a:pt x="4717" y="490"/>
                        </a:lnTo>
                        <a:lnTo>
                          <a:pt x="4711" y="507"/>
                        </a:lnTo>
                        <a:lnTo>
                          <a:pt x="4717" y="505"/>
                        </a:lnTo>
                        <a:lnTo>
                          <a:pt x="4724" y="493"/>
                        </a:lnTo>
                        <a:lnTo>
                          <a:pt x="4736" y="455"/>
                        </a:lnTo>
                        <a:lnTo>
                          <a:pt x="4736" y="441"/>
                        </a:lnTo>
                        <a:lnTo>
                          <a:pt x="4732" y="428"/>
                        </a:lnTo>
                        <a:lnTo>
                          <a:pt x="4726" y="432"/>
                        </a:lnTo>
                        <a:lnTo>
                          <a:pt x="4717" y="428"/>
                        </a:lnTo>
                        <a:lnTo>
                          <a:pt x="4713" y="400"/>
                        </a:lnTo>
                        <a:lnTo>
                          <a:pt x="4714" y="389"/>
                        </a:lnTo>
                        <a:lnTo>
                          <a:pt x="4698" y="360"/>
                        </a:lnTo>
                        <a:lnTo>
                          <a:pt x="4689" y="364"/>
                        </a:lnTo>
                        <a:lnTo>
                          <a:pt x="4695" y="378"/>
                        </a:lnTo>
                        <a:lnTo>
                          <a:pt x="4686" y="387"/>
                        </a:lnTo>
                        <a:lnTo>
                          <a:pt x="4684" y="394"/>
                        </a:lnTo>
                        <a:lnTo>
                          <a:pt x="4679" y="394"/>
                        </a:lnTo>
                        <a:lnTo>
                          <a:pt x="4672" y="374"/>
                        </a:lnTo>
                        <a:lnTo>
                          <a:pt x="4662" y="362"/>
                        </a:lnTo>
                        <a:lnTo>
                          <a:pt x="4670" y="358"/>
                        </a:lnTo>
                        <a:lnTo>
                          <a:pt x="4671" y="349"/>
                        </a:lnTo>
                        <a:lnTo>
                          <a:pt x="4673" y="341"/>
                        </a:lnTo>
                        <a:lnTo>
                          <a:pt x="4647" y="315"/>
                        </a:lnTo>
                        <a:lnTo>
                          <a:pt x="4640" y="318"/>
                        </a:lnTo>
                        <a:lnTo>
                          <a:pt x="4639" y="306"/>
                        </a:lnTo>
                        <a:lnTo>
                          <a:pt x="4624" y="283"/>
                        </a:lnTo>
                        <a:lnTo>
                          <a:pt x="4603" y="271"/>
                        </a:lnTo>
                        <a:lnTo>
                          <a:pt x="4607" y="266"/>
                        </a:lnTo>
                        <a:lnTo>
                          <a:pt x="4603" y="258"/>
                        </a:lnTo>
                        <a:lnTo>
                          <a:pt x="4593" y="255"/>
                        </a:lnTo>
                        <a:lnTo>
                          <a:pt x="4588" y="261"/>
                        </a:lnTo>
                        <a:lnTo>
                          <a:pt x="4585" y="255"/>
                        </a:lnTo>
                        <a:lnTo>
                          <a:pt x="4586" y="244"/>
                        </a:lnTo>
                        <a:lnTo>
                          <a:pt x="4569" y="248"/>
                        </a:lnTo>
                        <a:lnTo>
                          <a:pt x="4539" y="242"/>
                        </a:lnTo>
                        <a:lnTo>
                          <a:pt x="4523" y="255"/>
                        </a:lnTo>
                        <a:lnTo>
                          <a:pt x="4518" y="253"/>
                        </a:lnTo>
                        <a:lnTo>
                          <a:pt x="4509" y="255"/>
                        </a:lnTo>
                        <a:lnTo>
                          <a:pt x="4489" y="238"/>
                        </a:lnTo>
                        <a:lnTo>
                          <a:pt x="4477" y="248"/>
                        </a:lnTo>
                        <a:lnTo>
                          <a:pt x="4469" y="247"/>
                        </a:lnTo>
                        <a:lnTo>
                          <a:pt x="4441" y="253"/>
                        </a:lnTo>
                        <a:lnTo>
                          <a:pt x="4435" y="247"/>
                        </a:lnTo>
                        <a:lnTo>
                          <a:pt x="4426" y="255"/>
                        </a:lnTo>
                        <a:lnTo>
                          <a:pt x="4428" y="248"/>
                        </a:lnTo>
                        <a:lnTo>
                          <a:pt x="4432" y="242"/>
                        </a:lnTo>
                        <a:lnTo>
                          <a:pt x="4430" y="238"/>
                        </a:lnTo>
                        <a:lnTo>
                          <a:pt x="4424" y="237"/>
                        </a:lnTo>
                        <a:lnTo>
                          <a:pt x="4421" y="244"/>
                        </a:lnTo>
                        <a:lnTo>
                          <a:pt x="4410" y="247"/>
                        </a:lnTo>
                        <a:lnTo>
                          <a:pt x="4409" y="258"/>
                        </a:lnTo>
                        <a:lnTo>
                          <a:pt x="4405" y="264"/>
                        </a:lnTo>
                        <a:lnTo>
                          <a:pt x="4416" y="261"/>
                        </a:lnTo>
                        <a:lnTo>
                          <a:pt x="4409" y="272"/>
                        </a:lnTo>
                        <a:lnTo>
                          <a:pt x="4403" y="272"/>
                        </a:lnTo>
                        <a:lnTo>
                          <a:pt x="4402" y="283"/>
                        </a:lnTo>
                        <a:lnTo>
                          <a:pt x="4397" y="294"/>
                        </a:lnTo>
                        <a:lnTo>
                          <a:pt x="4386" y="299"/>
                        </a:lnTo>
                        <a:lnTo>
                          <a:pt x="4382" y="296"/>
                        </a:lnTo>
                        <a:lnTo>
                          <a:pt x="4380" y="307"/>
                        </a:lnTo>
                        <a:lnTo>
                          <a:pt x="4356" y="306"/>
                        </a:lnTo>
                        <a:lnTo>
                          <a:pt x="4349" y="312"/>
                        </a:lnTo>
                        <a:lnTo>
                          <a:pt x="4334" y="306"/>
                        </a:lnTo>
                        <a:lnTo>
                          <a:pt x="4313" y="306"/>
                        </a:lnTo>
                        <a:lnTo>
                          <a:pt x="4313" y="301"/>
                        </a:lnTo>
                        <a:lnTo>
                          <a:pt x="4311" y="299"/>
                        </a:lnTo>
                        <a:lnTo>
                          <a:pt x="4329" y="288"/>
                        </a:lnTo>
                        <a:lnTo>
                          <a:pt x="4333" y="292"/>
                        </a:lnTo>
                        <a:lnTo>
                          <a:pt x="4343" y="264"/>
                        </a:lnTo>
                        <a:lnTo>
                          <a:pt x="4349" y="253"/>
                        </a:lnTo>
                        <a:lnTo>
                          <a:pt x="4353" y="242"/>
                        </a:lnTo>
                        <a:lnTo>
                          <a:pt x="4367" y="238"/>
                        </a:lnTo>
                        <a:lnTo>
                          <a:pt x="4377" y="216"/>
                        </a:lnTo>
                        <a:lnTo>
                          <a:pt x="4373" y="213"/>
                        </a:lnTo>
                        <a:lnTo>
                          <a:pt x="4370" y="207"/>
                        </a:lnTo>
                        <a:lnTo>
                          <a:pt x="4372" y="204"/>
                        </a:lnTo>
                        <a:lnTo>
                          <a:pt x="4380" y="204"/>
                        </a:lnTo>
                        <a:lnTo>
                          <a:pt x="4380" y="197"/>
                        </a:lnTo>
                        <a:lnTo>
                          <a:pt x="4373" y="195"/>
                        </a:lnTo>
                        <a:lnTo>
                          <a:pt x="4373" y="188"/>
                        </a:lnTo>
                        <a:lnTo>
                          <a:pt x="4375" y="183"/>
                        </a:lnTo>
                        <a:lnTo>
                          <a:pt x="4349" y="175"/>
                        </a:lnTo>
                        <a:lnTo>
                          <a:pt x="4344" y="178"/>
                        </a:lnTo>
                        <a:lnTo>
                          <a:pt x="4338" y="168"/>
                        </a:lnTo>
                        <a:lnTo>
                          <a:pt x="4329" y="166"/>
                        </a:lnTo>
                        <a:lnTo>
                          <a:pt x="4321" y="166"/>
                        </a:lnTo>
                        <a:lnTo>
                          <a:pt x="4312" y="173"/>
                        </a:lnTo>
                        <a:lnTo>
                          <a:pt x="4306" y="164"/>
                        </a:lnTo>
                        <a:lnTo>
                          <a:pt x="4289" y="173"/>
                        </a:lnTo>
                        <a:lnTo>
                          <a:pt x="4294" y="157"/>
                        </a:lnTo>
                        <a:lnTo>
                          <a:pt x="4292" y="143"/>
                        </a:lnTo>
                        <a:lnTo>
                          <a:pt x="4286" y="162"/>
                        </a:lnTo>
                        <a:lnTo>
                          <a:pt x="4268" y="161"/>
                        </a:lnTo>
                        <a:lnTo>
                          <a:pt x="4211" y="189"/>
                        </a:lnTo>
                        <a:lnTo>
                          <a:pt x="4224" y="169"/>
                        </a:lnTo>
                        <a:lnTo>
                          <a:pt x="4231" y="166"/>
                        </a:lnTo>
                        <a:lnTo>
                          <a:pt x="4256" y="126"/>
                        </a:lnTo>
                        <a:lnTo>
                          <a:pt x="4268" y="116"/>
                        </a:lnTo>
                        <a:lnTo>
                          <a:pt x="4276" y="115"/>
                        </a:lnTo>
                        <a:lnTo>
                          <a:pt x="4286" y="98"/>
                        </a:lnTo>
                        <a:lnTo>
                          <a:pt x="4286" y="91"/>
                        </a:lnTo>
                        <a:lnTo>
                          <a:pt x="4301" y="88"/>
                        </a:lnTo>
                        <a:lnTo>
                          <a:pt x="4310" y="95"/>
                        </a:lnTo>
                        <a:lnTo>
                          <a:pt x="4301" y="82"/>
                        </a:lnTo>
                        <a:lnTo>
                          <a:pt x="4290" y="43"/>
                        </a:lnTo>
                        <a:lnTo>
                          <a:pt x="4281" y="39"/>
                        </a:lnTo>
                        <a:lnTo>
                          <a:pt x="4276" y="48"/>
                        </a:lnTo>
                        <a:lnTo>
                          <a:pt x="4259" y="45"/>
                        </a:lnTo>
                        <a:lnTo>
                          <a:pt x="4242" y="34"/>
                        </a:lnTo>
                        <a:lnTo>
                          <a:pt x="4226" y="7"/>
                        </a:lnTo>
                        <a:lnTo>
                          <a:pt x="4219" y="17"/>
                        </a:lnTo>
                        <a:lnTo>
                          <a:pt x="4213" y="14"/>
                        </a:lnTo>
                        <a:lnTo>
                          <a:pt x="4211" y="12"/>
                        </a:lnTo>
                        <a:lnTo>
                          <a:pt x="4211" y="5"/>
                        </a:lnTo>
                        <a:lnTo>
                          <a:pt x="4203" y="0"/>
                        </a:lnTo>
                        <a:lnTo>
                          <a:pt x="4193" y="2"/>
                        </a:lnTo>
                        <a:lnTo>
                          <a:pt x="4178" y="14"/>
                        </a:lnTo>
                        <a:lnTo>
                          <a:pt x="4172" y="24"/>
                        </a:lnTo>
                        <a:lnTo>
                          <a:pt x="4166" y="27"/>
                        </a:lnTo>
                        <a:lnTo>
                          <a:pt x="4143" y="22"/>
                        </a:lnTo>
                        <a:lnTo>
                          <a:pt x="4139" y="35"/>
                        </a:lnTo>
                        <a:lnTo>
                          <a:pt x="4122" y="51"/>
                        </a:lnTo>
                        <a:lnTo>
                          <a:pt x="4098" y="88"/>
                        </a:lnTo>
                        <a:lnTo>
                          <a:pt x="4093" y="102"/>
                        </a:lnTo>
                        <a:lnTo>
                          <a:pt x="4073" y="120"/>
                        </a:lnTo>
                        <a:lnTo>
                          <a:pt x="4070" y="126"/>
                        </a:lnTo>
                        <a:lnTo>
                          <a:pt x="4049" y="157"/>
                        </a:lnTo>
                        <a:lnTo>
                          <a:pt x="4043" y="168"/>
                        </a:lnTo>
                        <a:lnTo>
                          <a:pt x="4042" y="178"/>
                        </a:lnTo>
                        <a:lnTo>
                          <a:pt x="4042" y="185"/>
                        </a:lnTo>
                        <a:lnTo>
                          <a:pt x="4039" y="194"/>
                        </a:lnTo>
                        <a:lnTo>
                          <a:pt x="4033" y="194"/>
                        </a:lnTo>
                        <a:lnTo>
                          <a:pt x="4032" y="201"/>
                        </a:lnTo>
                        <a:lnTo>
                          <a:pt x="4023" y="220"/>
                        </a:lnTo>
                        <a:lnTo>
                          <a:pt x="4025" y="222"/>
                        </a:lnTo>
                        <a:lnTo>
                          <a:pt x="4025" y="232"/>
                        </a:lnTo>
                        <a:lnTo>
                          <a:pt x="4030" y="238"/>
                        </a:lnTo>
                        <a:lnTo>
                          <a:pt x="4043" y="244"/>
                        </a:lnTo>
                        <a:lnTo>
                          <a:pt x="4046" y="258"/>
                        </a:lnTo>
                        <a:lnTo>
                          <a:pt x="4052" y="263"/>
                        </a:lnTo>
                        <a:lnTo>
                          <a:pt x="4050" y="267"/>
                        </a:lnTo>
                        <a:lnTo>
                          <a:pt x="4039" y="265"/>
                        </a:lnTo>
                        <a:lnTo>
                          <a:pt x="4037" y="258"/>
                        </a:lnTo>
                        <a:lnTo>
                          <a:pt x="4037" y="282"/>
                        </a:lnTo>
                        <a:lnTo>
                          <a:pt x="4041" y="285"/>
                        </a:lnTo>
                        <a:lnTo>
                          <a:pt x="4039" y="286"/>
                        </a:lnTo>
                        <a:lnTo>
                          <a:pt x="4010" y="303"/>
                        </a:lnTo>
                        <a:lnTo>
                          <a:pt x="3995" y="307"/>
                        </a:lnTo>
                        <a:lnTo>
                          <a:pt x="3975" y="306"/>
                        </a:lnTo>
                        <a:lnTo>
                          <a:pt x="3962" y="312"/>
                        </a:lnTo>
                        <a:lnTo>
                          <a:pt x="3913" y="302"/>
                        </a:lnTo>
                        <a:lnTo>
                          <a:pt x="3915" y="310"/>
                        </a:lnTo>
                        <a:lnTo>
                          <a:pt x="3915" y="315"/>
                        </a:lnTo>
                        <a:lnTo>
                          <a:pt x="3921" y="321"/>
                        </a:lnTo>
                        <a:lnTo>
                          <a:pt x="3923" y="334"/>
                        </a:lnTo>
                        <a:lnTo>
                          <a:pt x="3934" y="335"/>
                        </a:lnTo>
                        <a:lnTo>
                          <a:pt x="3941" y="344"/>
                        </a:lnTo>
                        <a:lnTo>
                          <a:pt x="3941" y="351"/>
                        </a:lnTo>
                        <a:lnTo>
                          <a:pt x="3960" y="351"/>
                        </a:lnTo>
                        <a:lnTo>
                          <a:pt x="3967" y="356"/>
                        </a:lnTo>
                        <a:lnTo>
                          <a:pt x="3968" y="364"/>
                        </a:lnTo>
                        <a:lnTo>
                          <a:pt x="3963" y="377"/>
                        </a:lnTo>
                        <a:lnTo>
                          <a:pt x="3963" y="396"/>
                        </a:lnTo>
                        <a:lnTo>
                          <a:pt x="3960" y="406"/>
                        </a:lnTo>
                        <a:lnTo>
                          <a:pt x="3947" y="401"/>
                        </a:lnTo>
                        <a:lnTo>
                          <a:pt x="3947" y="389"/>
                        </a:lnTo>
                        <a:lnTo>
                          <a:pt x="3944" y="384"/>
                        </a:lnTo>
                        <a:lnTo>
                          <a:pt x="3923" y="380"/>
                        </a:lnTo>
                        <a:lnTo>
                          <a:pt x="3923" y="377"/>
                        </a:lnTo>
                        <a:lnTo>
                          <a:pt x="3926" y="366"/>
                        </a:lnTo>
                        <a:lnTo>
                          <a:pt x="3924" y="361"/>
                        </a:lnTo>
                        <a:lnTo>
                          <a:pt x="3907" y="364"/>
                        </a:lnTo>
                        <a:lnTo>
                          <a:pt x="3908" y="353"/>
                        </a:lnTo>
                        <a:lnTo>
                          <a:pt x="3902" y="352"/>
                        </a:lnTo>
                        <a:lnTo>
                          <a:pt x="3865" y="379"/>
                        </a:lnTo>
                        <a:lnTo>
                          <a:pt x="3869" y="389"/>
                        </a:lnTo>
                        <a:lnTo>
                          <a:pt x="3869" y="396"/>
                        </a:lnTo>
                        <a:lnTo>
                          <a:pt x="3864" y="396"/>
                        </a:lnTo>
                        <a:lnTo>
                          <a:pt x="3860" y="390"/>
                        </a:lnTo>
                        <a:lnTo>
                          <a:pt x="3849" y="393"/>
                        </a:lnTo>
                        <a:lnTo>
                          <a:pt x="3844" y="404"/>
                        </a:lnTo>
                        <a:lnTo>
                          <a:pt x="3851" y="405"/>
                        </a:lnTo>
                        <a:lnTo>
                          <a:pt x="3854" y="409"/>
                        </a:lnTo>
                        <a:lnTo>
                          <a:pt x="3855" y="417"/>
                        </a:lnTo>
                        <a:lnTo>
                          <a:pt x="3850" y="419"/>
                        </a:lnTo>
                        <a:lnTo>
                          <a:pt x="3838" y="415"/>
                        </a:lnTo>
                        <a:lnTo>
                          <a:pt x="3821" y="428"/>
                        </a:lnTo>
                        <a:lnTo>
                          <a:pt x="3821" y="415"/>
                        </a:lnTo>
                        <a:lnTo>
                          <a:pt x="3819" y="411"/>
                        </a:lnTo>
                        <a:lnTo>
                          <a:pt x="3815" y="415"/>
                        </a:lnTo>
                        <a:lnTo>
                          <a:pt x="3805" y="431"/>
                        </a:lnTo>
                        <a:lnTo>
                          <a:pt x="3797" y="431"/>
                        </a:lnTo>
                        <a:lnTo>
                          <a:pt x="3784" y="442"/>
                        </a:lnTo>
                        <a:lnTo>
                          <a:pt x="3780" y="439"/>
                        </a:lnTo>
                        <a:lnTo>
                          <a:pt x="3790" y="427"/>
                        </a:lnTo>
                        <a:lnTo>
                          <a:pt x="3791" y="419"/>
                        </a:lnTo>
                        <a:lnTo>
                          <a:pt x="3780" y="417"/>
                        </a:lnTo>
                        <a:lnTo>
                          <a:pt x="3779" y="411"/>
                        </a:lnTo>
                        <a:lnTo>
                          <a:pt x="3774" y="419"/>
                        </a:lnTo>
                        <a:lnTo>
                          <a:pt x="3756" y="423"/>
                        </a:lnTo>
                        <a:lnTo>
                          <a:pt x="3748" y="438"/>
                        </a:lnTo>
                        <a:lnTo>
                          <a:pt x="3740" y="442"/>
                        </a:lnTo>
                        <a:lnTo>
                          <a:pt x="3736" y="436"/>
                        </a:lnTo>
                        <a:lnTo>
                          <a:pt x="3756" y="414"/>
                        </a:lnTo>
                        <a:lnTo>
                          <a:pt x="3761" y="393"/>
                        </a:lnTo>
                        <a:lnTo>
                          <a:pt x="3745" y="380"/>
                        </a:lnTo>
                        <a:lnTo>
                          <a:pt x="3716" y="382"/>
                        </a:lnTo>
                        <a:lnTo>
                          <a:pt x="3711" y="385"/>
                        </a:lnTo>
                        <a:lnTo>
                          <a:pt x="3710" y="393"/>
                        </a:lnTo>
                        <a:lnTo>
                          <a:pt x="3678" y="383"/>
                        </a:lnTo>
                        <a:lnTo>
                          <a:pt x="3676" y="390"/>
                        </a:lnTo>
                        <a:lnTo>
                          <a:pt x="3665" y="399"/>
                        </a:lnTo>
                        <a:lnTo>
                          <a:pt x="3657" y="389"/>
                        </a:lnTo>
                        <a:lnTo>
                          <a:pt x="3629" y="390"/>
                        </a:lnTo>
                        <a:lnTo>
                          <a:pt x="3628" y="394"/>
                        </a:lnTo>
                        <a:lnTo>
                          <a:pt x="3635" y="399"/>
                        </a:lnTo>
                        <a:lnTo>
                          <a:pt x="3635" y="403"/>
                        </a:lnTo>
                        <a:lnTo>
                          <a:pt x="3609" y="409"/>
                        </a:lnTo>
                        <a:lnTo>
                          <a:pt x="3608" y="405"/>
                        </a:lnTo>
                        <a:lnTo>
                          <a:pt x="3611" y="398"/>
                        </a:lnTo>
                        <a:lnTo>
                          <a:pt x="3604" y="399"/>
                        </a:lnTo>
                        <a:lnTo>
                          <a:pt x="3590" y="412"/>
                        </a:lnTo>
                        <a:lnTo>
                          <a:pt x="3586" y="401"/>
                        </a:lnTo>
                        <a:lnTo>
                          <a:pt x="3581" y="405"/>
                        </a:lnTo>
                        <a:lnTo>
                          <a:pt x="3581" y="423"/>
                        </a:lnTo>
                        <a:lnTo>
                          <a:pt x="3585" y="427"/>
                        </a:lnTo>
                        <a:lnTo>
                          <a:pt x="3604" y="417"/>
                        </a:lnTo>
                        <a:lnTo>
                          <a:pt x="3607" y="428"/>
                        </a:lnTo>
                        <a:lnTo>
                          <a:pt x="3611" y="435"/>
                        </a:lnTo>
                        <a:lnTo>
                          <a:pt x="3612" y="432"/>
                        </a:lnTo>
                        <a:lnTo>
                          <a:pt x="3612" y="426"/>
                        </a:lnTo>
                        <a:lnTo>
                          <a:pt x="3619" y="423"/>
                        </a:lnTo>
                        <a:lnTo>
                          <a:pt x="3618" y="428"/>
                        </a:lnTo>
                        <a:lnTo>
                          <a:pt x="3620" y="435"/>
                        </a:lnTo>
                        <a:lnTo>
                          <a:pt x="3614" y="446"/>
                        </a:lnTo>
                        <a:lnTo>
                          <a:pt x="3549" y="471"/>
                        </a:lnTo>
                        <a:lnTo>
                          <a:pt x="3520" y="475"/>
                        </a:lnTo>
                        <a:lnTo>
                          <a:pt x="3516" y="473"/>
                        </a:lnTo>
                        <a:lnTo>
                          <a:pt x="3514" y="481"/>
                        </a:lnTo>
                        <a:lnTo>
                          <a:pt x="3514" y="492"/>
                        </a:lnTo>
                        <a:lnTo>
                          <a:pt x="3514" y="489"/>
                        </a:lnTo>
                        <a:lnTo>
                          <a:pt x="3501" y="487"/>
                        </a:lnTo>
                        <a:lnTo>
                          <a:pt x="3488" y="496"/>
                        </a:lnTo>
                        <a:lnTo>
                          <a:pt x="3473" y="490"/>
                        </a:lnTo>
                        <a:lnTo>
                          <a:pt x="3455" y="502"/>
                        </a:lnTo>
                        <a:lnTo>
                          <a:pt x="3436" y="502"/>
                        </a:lnTo>
                        <a:lnTo>
                          <a:pt x="3420" y="516"/>
                        </a:lnTo>
                        <a:lnTo>
                          <a:pt x="3434" y="524"/>
                        </a:lnTo>
                        <a:lnTo>
                          <a:pt x="3415" y="529"/>
                        </a:lnTo>
                        <a:lnTo>
                          <a:pt x="3401" y="541"/>
                        </a:lnTo>
                        <a:lnTo>
                          <a:pt x="3385" y="528"/>
                        </a:lnTo>
                        <a:lnTo>
                          <a:pt x="3378" y="536"/>
                        </a:lnTo>
                        <a:lnTo>
                          <a:pt x="3366" y="539"/>
                        </a:lnTo>
                        <a:lnTo>
                          <a:pt x="3365" y="544"/>
                        </a:lnTo>
                        <a:lnTo>
                          <a:pt x="3371" y="544"/>
                        </a:lnTo>
                        <a:lnTo>
                          <a:pt x="3374" y="550"/>
                        </a:lnTo>
                        <a:lnTo>
                          <a:pt x="3355" y="555"/>
                        </a:lnTo>
                        <a:lnTo>
                          <a:pt x="3354" y="562"/>
                        </a:lnTo>
                        <a:lnTo>
                          <a:pt x="3344" y="566"/>
                        </a:lnTo>
                        <a:lnTo>
                          <a:pt x="3333" y="584"/>
                        </a:lnTo>
                        <a:lnTo>
                          <a:pt x="3322" y="593"/>
                        </a:lnTo>
                        <a:lnTo>
                          <a:pt x="3321" y="598"/>
                        </a:lnTo>
                        <a:lnTo>
                          <a:pt x="3322" y="604"/>
                        </a:lnTo>
                        <a:lnTo>
                          <a:pt x="3319" y="608"/>
                        </a:lnTo>
                        <a:lnTo>
                          <a:pt x="3305" y="614"/>
                        </a:lnTo>
                        <a:lnTo>
                          <a:pt x="3300" y="605"/>
                        </a:lnTo>
                        <a:lnTo>
                          <a:pt x="3292" y="604"/>
                        </a:lnTo>
                        <a:lnTo>
                          <a:pt x="3269" y="602"/>
                        </a:lnTo>
                        <a:lnTo>
                          <a:pt x="3261" y="606"/>
                        </a:lnTo>
                        <a:lnTo>
                          <a:pt x="3256" y="611"/>
                        </a:lnTo>
                        <a:lnTo>
                          <a:pt x="3262" y="618"/>
                        </a:lnTo>
                        <a:lnTo>
                          <a:pt x="3279" y="625"/>
                        </a:lnTo>
                        <a:lnTo>
                          <a:pt x="3301" y="626"/>
                        </a:lnTo>
                        <a:lnTo>
                          <a:pt x="3297" y="633"/>
                        </a:lnTo>
                        <a:lnTo>
                          <a:pt x="3288" y="642"/>
                        </a:lnTo>
                        <a:lnTo>
                          <a:pt x="3281" y="640"/>
                        </a:lnTo>
                        <a:lnTo>
                          <a:pt x="3279" y="633"/>
                        </a:lnTo>
                        <a:lnTo>
                          <a:pt x="3272" y="640"/>
                        </a:lnTo>
                        <a:lnTo>
                          <a:pt x="3274" y="645"/>
                        </a:lnTo>
                        <a:lnTo>
                          <a:pt x="3268" y="659"/>
                        </a:lnTo>
                        <a:lnTo>
                          <a:pt x="3262" y="667"/>
                        </a:lnTo>
                        <a:lnTo>
                          <a:pt x="3256" y="683"/>
                        </a:lnTo>
                        <a:lnTo>
                          <a:pt x="3249" y="683"/>
                        </a:lnTo>
                        <a:lnTo>
                          <a:pt x="3247" y="694"/>
                        </a:lnTo>
                        <a:lnTo>
                          <a:pt x="3253" y="702"/>
                        </a:lnTo>
                        <a:lnTo>
                          <a:pt x="3246" y="708"/>
                        </a:lnTo>
                        <a:lnTo>
                          <a:pt x="3236" y="691"/>
                        </a:lnTo>
                        <a:lnTo>
                          <a:pt x="3222" y="684"/>
                        </a:lnTo>
                        <a:lnTo>
                          <a:pt x="3221" y="674"/>
                        </a:lnTo>
                        <a:lnTo>
                          <a:pt x="3204" y="667"/>
                        </a:lnTo>
                        <a:lnTo>
                          <a:pt x="3203" y="668"/>
                        </a:lnTo>
                        <a:lnTo>
                          <a:pt x="3209" y="681"/>
                        </a:lnTo>
                        <a:lnTo>
                          <a:pt x="3194" y="690"/>
                        </a:lnTo>
                        <a:lnTo>
                          <a:pt x="3197" y="699"/>
                        </a:lnTo>
                        <a:lnTo>
                          <a:pt x="3192" y="701"/>
                        </a:lnTo>
                        <a:lnTo>
                          <a:pt x="3193" y="707"/>
                        </a:lnTo>
                        <a:lnTo>
                          <a:pt x="3222" y="711"/>
                        </a:lnTo>
                        <a:lnTo>
                          <a:pt x="3229" y="717"/>
                        </a:lnTo>
                        <a:lnTo>
                          <a:pt x="3242" y="724"/>
                        </a:lnTo>
                        <a:lnTo>
                          <a:pt x="3238" y="728"/>
                        </a:lnTo>
                        <a:lnTo>
                          <a:pt x="3238" y="735"/>
                        </a:lnTo>
                        <a:lnTo>
                          <a:pt x="3242" y="739"/>
                        </a:lnTo>
                        <a:lnTo>
                          <a:pt x="3240" y="743"/>
                        </a:lnTo>
                        <a:lnTo>
                          <a:pt x="3227" y="740"/>
                        </a:lnTo>
                        <a:lnTo>
                          <a:pt x="3224" y="744"/>
                        </a:lnTo>
                        <a:lnTo>
                          <a:pt x="3211" y="750"/>
                        </a:lnTo>
                        <a:lnTo>
                          <a:pt x="3215" y="756"/>
                        </a:lnTo>
                        <a:lnTo>
                          <a:pt x="3204" y="756"/>
                        </a:lnTo>
                        <a:lnTo>
                          <a:pt x="3202" y="761"/>
                        </a:lnTo>
                        <a:lnTo>
                          <a:pt x="3203" y="771"/>
                        </a:lnTo>
                        <a:lnTo>
                          <a:pt x="3209" y="777"/>
                        </a:lnTo>
                        <a:lnTo>
                          <a:pt x="3246" y="788"/>
                        </a:lnTo>
                        <a:lnTo>
                          <a:pt x="3249" y="814"/>
                        </a:lnTo>
                        <a:lnTo>
                          <a:pt x="3253" y="821"/>
                        </a:lnTo>
                        <a:lnTo>
                          <a:pt x="3259" y="826"/>
                        </a:lnTo>
                        <a:lnTo>
                          <a:pt x="3254" y="832"/>
                        </a:lnTo>
                        <a:lnTo>
                          <a:pt x="3242" y="828"/>
                        </a:lnTo>
                        <a:lnTo>
                          <a:pt x="3242" y="831"/>
                        </a:lnTo>
                        <a:lnTo>
                          <a:pt x="3245" y="839"/>
                        </a:lnTo>
                        <a:lnTo>
                          <a:pt x="3240" y="841"/>
                        </a:lnTo>
                        <a:lnTo>
                          <a:pt x="3242" y="847"/>
                        </a:lnTo>
                        <a:lnTo>
                          <a:pt x="3247" y="850"/>
                        </a:lnTo>
                        <a:lnTo>
                          <a:pt x="3247" y="856"/>
                        </a:lnTo>
                        <a:lnTo>
                          <a:pt x="3237" y="861"/>
                        </a:lnTo>
                        <a:lnTo>
                          <a:pt x="3215" y="863"/>
                        </a:lnTo>
                        <a:lnTo>
                          <a:pt x="3202" y="872"/>
                        </a:lnTo>
                        <a:lnTo>
                          <a:pt x="3189" y="871"/>
                        </a:lnTo>
                        <a:lnTo>
                          <a:pt x="3182" y="874"/>
                        </a:lnTo>
                        <a:lnTo>
                          <a:pt x="3179" y="883"/>
                        </a:lnTo>
                        <a:lnTo>
                          <a:pt x="3166" y="894"/>
                        </a:lnTo>
                        <a:lnTo>
                          <a:pt x="3148" y="889"/>
                        </a:lnTo>
                        <a:lnTo>
                          <a:pt x="3145" y="883"/>
                        </a:lnTo>
                        <a:lnTo>
                          <a:pt x="3143" y="883"/>
                        </a:lnTo>
                        <a:lnTo>
                          <a:pt x="3130" y="888"/>
                        </a:lnTo>
                        <a:lnTo>
                          <a:pt x="3105" y="893"/>
                        </a:lnTo>
                        <a:lnTo>
                          <a:pt x="3082" y="900"/>
                        </a:lnTo>
                        <a:lnTo>
                          <a:pt x="3035" y="906"/>
                        </a:lnTo>
                        <a:lnTo>
                          <a:pt x="3026" y="900"/>
                        </a:lnTo>
                        <a:lnTo>
                          <a:pt x="3007" y="904"/>
                        </a:lnTo>
                        <a:lnTo>
                          <a:pt x="2989" y="901"/>
                        </a:lnTo>
                        <a:lnTo>
                          <a:pt x="2952" y="912"/>
                        </a:lnTo>
                        <a:lnTo>
                          <a:pt x="2952" y="917"/>
                        </a:lnTo>
                        <a:lnTo>
                          <a:pt x="2950" y="920"/>
                        </a:lnTo>
                        <a:lnTo>
                          <a:pt x="2939" y="914"/>
                        </a:lnTo>
                        <a:lnTo>
                          <a:pt x="2929" y="918"/>
                        </a:lnTo>
                        <a:lnTo>
                          <a:pt x="2928" y="922"/>
                        </a:lnTo>
                        <a:lnTo>
                          <a:pt x="2912" y="926"/>
                        </a:lnTo>
                        <a:lnTo>
                          <a:pt x="2913" y="936"/>
                        </a:lnTo>
                        <a:lnTo>
                          <a:pt x="2917" y="944"/>
                        </a:lnTo>
                        <a:lnTo>
                          <a:pt x="2920" y="943"/>
                        </a:lnTo>
                        <a:lnTo>
                          <a:pt x="2921" y="938"/>
                        </a:lnTo>
                        <a:lnTo>
                          <a:pt x="2926" y="939"/>
                        </a:lnTo>
                        <a:lnTo>
                          <a:pt x="2924" y="947"/>
                        </a:lnTo>
                        <a:lnTo>
                          <a:pt x="2912" y="958"/>
                        </a:lnTo>
                        <a:lnTo>
                          <a:pt x="2912" y="964"/>
                        </a:lnTo>
                        <a:lnTo>
                          <a:pt x="2904" y="960"/>
                        </a:lnTo>
                        <a:lnTo>
                          <a:pt x="2901" y="966"/>
                        </a:lnTo>
                        <a:lnTo>
                          <a:pt x="2904" y="975"/>
                        </a:lnTo>
                        <a:lnTo>
                          <a:pt x="2913" y="977"/>
                        </a:lnTo>
                        <a:lnTo>
                          <a:pt x="2913" y="987"/>
                        </a:lnTo>
                        <a:lnTo>
                          <a:pt x="2901" y="996"/>
                        </a:lnTo>
                        <a:lnTo>
                          <a:pt x="2918" y="1009"/>
                        </a:lnTo>
                        <a:lnTo>
                          <a:pt x="2917" y="1014"/>
                        </a:lnTo>
                        <a:lnTo>
                          <a:pt x="2923" y="1019"/>
                        </a:lnTo>
                        <a:lnTo>
                          <a:pt x="2926" y="1018"/>
                        </a:lnTo>
                        <a:lnTo>
                          <a:pt x="2931" y="1040"/>
                        </a:lnTo>
                        <a:lnTo>
                          <a:pt x="2937" y="1046"/>
                        </a:lnTo>
                        <a:lnTo>
                          <a:pt x="2934" y="1052"/>
                        </a:lnTo>
                        <a:lnTo>
                          <a:pt x="2933" y="1058"/>
                        </a:lnTo>
                        <a:lnTo>
                          <a:pt x="2929" y="1066"/>
                        </a:lnTo>
                        <a:lnTo>
                          <a:pt x="2924" y="1082"/>
                        </a:lnTo>
                        <a:lnTo>
                          <a:pt x="2925" y="1097"/>
                        </a:lnTo>
                        <a:lnTo>
                          <a:pt x="2930" y="1105"/>
                        </a:lnTo>
                        <a:lnTo>
                          <a:pt x="2930" y="1122"/>
                        </a:lnTo>
                        <a:lnTo>
                          <a:pt x="2935" y="1133"/>
                        </a:lnTo>
                        <a:lnTo>
                          <a:pt x="2949" y="1149"/>
                        </a:lnTo>
                        <a:lnTo>
                          <a:pt x="2962" y="1153"/>
                        </a:lnTo>
                        <a:lnTo>
                          <a:pt x="2987" y="1157"/>
                        </a:lnTo>
                        <a:lnTo>
                          <a:pt x="3001" y="1168"/>
                        </a:lnTo>
                        <a:lnTo>
                          <a:pt x="3009" y="1168"/>
                        </a:lnTo>
                        <a:lnTo>
                          <a:pt x="3015" y="1184"/>
                        </a:lnTo>
                        <a:lnTo>
                          <a:pt x="3010" y="1196"/>
                        </a:lnTo>
                        <a:lnTo>
                          <a:pt x="3006" y="1200"/>
                        </a:lnTo>
                        <a:lnTo>
                          <a:pt x="3017" y="1203"/>
                        </a:lnTo>
                        <a:lnTo>
                          <a:pt x="3023" y="1211"/>
                        </a:lnTo>
                        <a:lnTo>
                          <a:pt x="3031" y="1227"/>
                        </a:lnTo>
                        <a:lnTo>
                          <a:pt x="3041" y="1233"/>
                        </a:lnTo>
                        <a:lnTo>
                          <a:pt x="3060" y="1239"/>
                        </a:lnTo>
                        <a:lnTo>
                          <a:pt x="3069" y="1246"/>
                        </a:lnTo>
                        <a:lnTo>
                          <a:pt x="3073" y="1239"/>
                        </a:lnTo>
                        <a:lnTo>
                          <a:pt x="3076" y="1254"/>
                        </a:lnTo>
                        <a:lnTo>
                          <a:pt x="3084" y="1272"/>
                        </a:lnTo>
                        <a:lnTo>
                          <a:pt x="3084" y="1282"/>
                        </a:lnTo>
                        <a:lnTo>
                          <a:pt x="3080" y="1302"/>
                        </a:lnTo>
                        <a:lnTo>
                          <a:pt x="3069" y="1312"/>
                        </a:lnTo>
                        <a:lnTo>
                          <a:pt x="3068" y="1329"/>
                        </a:lnTo>
                        <a:lnTo>
                          <a:pt x="3060" y="1343"/>
                        </a:lnTo>
                        <a:lnTo>
                          <a:pt x="3064" y="1358"/>
                        </a:lnTo>
                        <a:lnTo>
                          <a:pt x="3063" y="1372"/>
                        </a:lnTo>
                        <a:lnTo>
                          <a:pt x="3079" y="1394"/>
                        </a:lnTo>
                        <a:lnTo>
                          <a:pt x="3082" y="1426"/>
                        </a:lnTo>
                        <a:lnTo>
                          <a:pt x="3087" y="1440"/>
                        </a:lnTo>
                        <a:lnTo>
                          <a:pt x="3090" y="1459"/>
                        </a:lnTo>
                        <a:lnTo>
                          <a:pt x="3090" y="1474"/>
                        </a:lnTo>
                        <a:lnTo>
                          <a:pt x="3085" y="1487"/>
                        </a:lnTo>
                        <a:lnTo>
                          <a:pt x="3075" y="1501"/>
                        </a:lnTo>
                        <a:lnTo>
                          <a:pt x="3063" y="1504"/>
                        </a:lnTo>
                        <a:lnTo>
                          <a:pt x="3055" y="1501"/>
                        </a:lnTo>
                        <a:lnTo>
                          <a:pt x="3054" y="1509"/>
                        </a:lnTo>
                        <a:lnTo>
                          <a:pt x="3063" y="1530"/>
                        </a:lnTo>
                        <a:lnTo>
                          <a:pt x="3059" y="1539"/>
                        </a:lnTo>
                        <a:lnTo>
                          <a:pt x="3035" y="1529"/>
                        </a:lnTo>
                        <a:lnTo>
                          <a:pt x="3017" y="1528"/>
                        </a:lnTo>
                        <a:lnTo>
                          <a:pt x="3006" y="1517"/>
                        </a:lnTo>
                        <a:lnTo>
                          <a:pt x="3004" y="1504"/>
                        </a:lnTo>
                        <a:lnTo>
                          <a:pt x="3004" y="1458"/>
                        </a:lnTo>
                        <a:lnTo>
                          <a:pt x="3012" y="1428"/>
                        </a:lnTo>
                        <a:lnTo>
                          <a:pt x="3009" y="1422"/>
                        </a:lnTo>
                        <a:lnTo>
                          <a:pt x="3007" y="1393"/>
                        </a:lnTo>
                        <a:lnTo>
                          <a:pt x="3010" y="1379"/>
                        </a:lnTo>
                        <a:lnTo>
                          <a:pt x="3009" y="1362"/>
                        </a:lnTo>
                        <a:lnTo>
                          <a:pt x="3007" y="1352"/>
                        </a:lnTo>
                        <a:lnTo>
                          <a:pt x="3015" y="1340"/>
                        </a:lnTo>
                        <a:lnTo>
                          <a:pt x="3047" y="1319"/>
                        </a:lnTo>
                        <a:lnTo>
                          <a:pt x="3049" y="1313"/>
                        </a:lnTo>
                        <a:lnTo>
                          <a:pt x="3049" y="1300"/>
                        </a:lnTo>
                        <a:lnTo>
                          <a:pt x="3052" y="1288"/>
                        </a:lnTo>
                        <a:lnTo>
                          <a:pt x="3060" y="1287"/>
                        </a:lnTo>
                        <a:lnTo>
                          <a:pt x="3063" y="1270"/>
                        </a:lnTo>
                        <a:lnTo>
                          <a:pt x="3039" y="1254"/>
                        </a:lnTo>
                        <a:lnTo>
                          <a:pt x="3010" y="1264"/>
                        </a:lnTo>
                        <a:lnTo>
                          <a:pt x="2982" y="1267"/>
                        </a:lnTo>
                        <a:lnTo>
                          <a:pt x="2966" y="1260"/>
                        </a:lnTo>
                        <a:lnTo>
                          <a:pt x="2955" y="1248"/>
                        </a:lnTo>
                        <a:lnTo>
                          <a:pt x="2952" y="1250"/>
                        </a:lnTo>
                        <a:lnTo>
                          <a:pt x="2945" y="1235"/>
                        </a:lnTo>
                        <a:lnTo>
                          <a:pt x="2931" y="1219"/>
                        </a:lnTo>
                        <a:lnTo>
                          <a:pt x="2928" y="1212"/>
                        </a:lnTo>
                        <a:lnTo>
                          <a:pt x="2928" y="1203"/>
                        </a:lnTo>
                        <a:lnTo>
                          <a:pt x="2902" y="1191"/>
                        </a:lnTo>
                        <a:lnTo>
                          <a:pt x="2880" y="1174"/>
                        </a:lnTo>
                        <a:lnTo>
                          <a:pt x="2871" y="1163"/>
                        </a:lnTo>
                        <a:lnTo>
                          <a:pt x="2844" y="1149"/>
                        </a:lnTo>
                        <a:lnTo>
                          <a:pt x="2792" y="1148"/>
                        </a:lnTo>
                        <a:lnTo>
                          <a:pt x="2777" y="1151"/>
                        </a:lnTo>
                        <a:lnTo>
                          <a:pt x="2763" y="1171"/>
                        </a:lnTo>
                        <a:lnTo>
                          <a:pt x="2741" y="1181"/>
                        </a:lnTo>
                        <a:lnTo>
                          <a:pt x="2737" y="1201"/>
                        </a:lnTo>
                        <a:lnTo>
                          <a:pt x="2764" y="1202"/>
                        </a:lnTo>
                        <a:lnTo>
                          <a:pt x="2778" y="1213"/>
                        </a:lnTo>
                        <a:lnTo>
                          <a:pt x="2773" y="1227"/>
                        </a:lnTo>
                        <a:lnTo>
                          <a:pt x="2763" y="1240"/>
                        </a:lnTo>
                        <a:lnTo>
                          <a:pt x="2743" y="1246"/>
                        </a:lnTo>
                        <a:lnTo>
                          <a:pt x="2729" y="1259"/>
                        </a:lnTo>
                        <a:lnTo>
                          <a:pt x="2708" y="1265"/>
                        </a:lnTo>
                        <a:lnTo>
                          <a:pt x="2708" y="1249"/>
                        </a:lnTo>
                        <a:lnTo>
                          <a:pt x="2692" y="1233"/>
                        </a:lnTo>
                        <a:lnTo>
                          <a:pt x="2683" y="1217"/>
                        </a:lnTo>
                        <a:lnTo>
                          <a:pt x="2672" y="1218"/>
                        </a:lnTo>
                        <a:lnTo>
                          <a:pt x="2662" y="1232"/>
                        </a:lnTo>
                        <a:lnTo>
                          <a:pt x="2668" y="1239"/>
                        </a:lnTo>
                        <a:lnTo>
                          <a:pt x="2673" y="1260"/>
                        </a:lnTo>
                        <a:lnTo>
                          <a:pt x="2678" y="1275"/>
                        </a:lnTo>
                        <a:lnTo>
                          <a:pt x="2681" y="1287"/>
                        </a:lnTo>
                        <a:lnTo>
                          <a:pt x="2687" y="1289"/>
                        </a:lnTo>
                        <a:lnTo>
                          <a:pt x="2709" y="1308"/>
                        </a:lnTo>
                        <a:lnTo>
                          <a:pt x="2724" y="1314"/>
                        </a:lnTo>
                        <a:lnTo>
                          <a:pt x="2732" y="1326"/>
                        </a:lnTo>
                        <a:lnTo>
                          <a:pt x="2741" y="1327"/>
                        </a:lnTo>
                        <a:lnTo>
                          <a:pt x="2747" y="1335"/>
                        </a:lnTo>
                        <a:lnTo>
                          <a:pt x="2757" y="1329"/>
                        </a:lnTo>
                        <a:lnTo>
                          <a:pt x="2767" y="1319"/>
                        </a:lnTo>
                        <a:lnTo>
                          <a:pt x="2764" y="1334"/>
                        </a:lnTo>
                        <a:lnTo>
                          <a:pt x="2769" y="1341"/>
                        </a:lnTo>
                        <a:lnTo>
                          <a:pt x="2780" y="1337"/>
                        </a:lnTo>
                        <a:lnTo>
                          <a:pt x="2781" y="1367"/>
                        </a:lnTo>
                        <a:lnTo>
                          <a:pt x="2795" y="1383"/>
                        </a:lnTo>
                        <a:lnTo>
                          <a:pt x="2795" y="1393"/>
                        </a:lnTo>
                        <a:lnTo>
                          <a:pt x="2779" y="1390"/>
                        </a:lnTo>
                        <a:lnTo>
                          <a:pt x="2769" y="1384"/>
                        </a:lnTo>
                        <a:lnTo>
                          <a:pt x="2762" y="1377"/>
                        </a:lnTo>
                        <a:lnTo>
                          <a:pt x="2758" y="1367"/>
                        </a:lnTo>
                        <a:lnTo>
                          <a:pt x="2748" y="1358"/>
                        </a:lnTo>
                        <a:lnTo>
                          <a:pt x="2713" y="1354"/>
                        </a:lnTo>
                        <a:lnTo>
                          <a:pt x="2702" y="1348"/>
                        </a:lnTo>
                        <a:lnTo>
                          <a:pt x="2668" y="1345"/>
                        </a:lnTo>
                        <a:lnTo>
                          <a:pt x="2636" y="1332"/>
                        </a:lnTo>
                        <a:lnTo>
                          <a:pt x="2627" y="1325"/>
                        </a:lnTo>
                        <a:lnTo>
                          <a:pt x="2617" y="1310"/>
                        </a:lnTo>
                        <a:lnTo>
                          <a:pt x="2619" y="1307"/>
                        </a:lnTo>
                        <a:lnTo>
                          <a:pt x="2633" y="1304"/>
                        </a:lnTo>
                        <a:lnTo>
                          <a:pt x="2634" y="1299"/>
                        </a:lnTo>
                        <a:lnTo>
                          <a:pt x="2633" y="1278"/>
                        </a:lnTo>
                        <a:lnTo>
                          <a:pt x="2622" y="1256"/>
                        </a:lnTo>
                        <a:lnTo>
                          <a:pt x="2621" y="1246"/>
                        </a:lnTo>
                        <a:lnTo>
                          <a:pt x="2627" y="1222"/>
                        </a:lnTo>
                        <a:lnTo>
                          <a:pt x="2618" y="1211"/>
                        </a:lnTo>
                        <a:lnTo>
                          <a:pt x="2627" y="1202"/>
                        </a:lnTo>
                        <a:lnTo>
                          <a:pt x="2641" y="1163"/>
                        </a:lnTo>
                        <a:lnTo>
                          <a:pt x="2634" y="1137"/>
                        </a:lnTo>
                        <a:lnTo>
                          <a:pt x="2632" y="1120"/>
                        </a:lnTo>
                        <a:lnTo>
                          <a:pt x="2640" y="1115"/>
                        </a:lnTo>
                        <a:lnTo>
                          <a:pt x="2630" y="1100"/>
                        </a:lnTo>
                        <a:lnTo>
                          <a:pt x="2628" y="1090"/>
                        </a:lnTo>
                        <a:lnTo>
                          <a:pt x="2629" y="1082"/>
                        </a:lnTo>
                        <a:lnTo>
                          <a:pt x="2613" y="1066"/>
                        </a:lnTo>
                        <a:lnTo>
                          <a:pt x="2608" y="1055"/>
                        </a:lnTo>
                        <a:lnTo>
                          <a:pt x="2593" y="1063"/>
                        </a:lnTo>
                        <a:lnTo>
                          <a:pt x="2595" y="1074"/>
                        </a:lnTo>
                        <a:lnTo>
                          <a:pt x="2602" y="1094"/>
                        </a:lnTo>
                        <a:lnTo>
                          <a:pt x="2607" y="1115"/>
                        </a:lnTo>
                        <a:lnTo>
                          <a:pt x="2607" y="1160"/>
                        </a:lnTo>
                        <a:lnTo>
                          <a:pt x="2598" y="1176"/>
                        </a:lnTo>
                        <a:lnTo>
                          <a:pt x="2566" y="1207"/>
                        </a:lnTo>
                        <a:lnTo>
                          <a:pt x="2546" y="1217"/>
                        </a:lnTo>
                        <a:lnTo>
                          <a:pt x="2516" y="1239"/>
                        </a:lnTo>
                        <a:lnTo>
                          <a:pt x="2517" y="1253"/>
                        </a:lnTo>
                        <a:lnTo>
                          <a:pt x="2517" y="1261"/>
                        </a:lnTo>
                        <a:lnTo>
                          <a:pt x="2514" y="1272"/>
                        </a:lnTo>
                        <a:lnTo>
                          <a:pt x="2498" y="1289"/>
                        </a:lnTo>
                        <a:lnTo>
                          <a:pt x="2498" y="1298"/>
                        </a:lnTo>
                        <a:lnTo>
                          <a:pt x="2519" y="1321"/>
                        </a:lnTo>
                        <a:lnTo>
                          <a:pt x="2532" y="1343"/>
                        </a:lnTo>
                        <a:lnTo>
                          <a:pt x="2541" y="1362"/>
                        </a:lnTo>
                        <a:lnTo>
                          <a:pt x="2547" y="1395"/>
                        </a:lnTo>
                        <a:lnTo>
                          <a:pt x="2560" y="1417"/>
                        </a:lnTo>
                        <a:lnTo>
                          <a:pt x="2569" y="1438"/>
                        </a:lnTo>
                        <a:lnTo>
                          <a:pt x="2569" y="1448"/>
                        </a:lnTo>
                        <a:lnTo>
                          <a:pt x="2565" y="1468"/>
                        </a:lnTo>
                        <a:lnTo>
                          <a:pt x="2557" y="1488"/>
                        </a:lnTo>
                        <a:lnTo>
                          <a:pt x="2555" y="1496"/>
                        </a:lnTo>
                        <a:lnTo>
                          <a:pt x="2541" y="1514"/>
                        </a:lnTo>
                        <a:lnTo>
                          <a:pt x="2538" y="1528"/>
                        </a:lnTo>
                        <a:lnTo>
                          <a:pt x="2539" y="1545"/>
                        </a:lnTo>
                        <a:lnTo>
                          <a:pt x="2532" y="1555"/>
                        </a:lnTo>
                        <a:lnTo>
                          <a:pt x="2530" y="1568"/>
                        </a:lnTo>
                        <a:lnTo>
                          <a:pt x="2527" y="1588"/>
                        </a:lnTo>
                        <a:lnTo>
                          <a:pt x="2541" y="1611"/>
                        </a:lnTo>
                        <a:lnTo>
                          <a:pt x="2548" y="1632"/>
                        </a:lnTo>
                        <a:lnTo>
                          <a:pt x="2546" y="1647"/>
                        </a:lnTo>
                        <a:lnTo>
                          <a:pt x="2539" y="1664"/>
                        </a:lnTo>
                        <a:lnTo>
                          <a:pt x="2538" y="1673"/>
                        </a:lnTo>
                        <a:lnTo>
                          <a:pt x="2547" y="1689"/>
                        </a:lnTo>
                        <a:lnTo>
                          <a:pt x="2559" y="1691"/>
                        </a:lnTo>
                        <a:lnTo>
                          <a:pt x="2575" y="1686"/>
                        </a:lnTo>
                        <a:lnTo>
                          <a:pt x="2586" y="1686"/>
                        </a:lnTo>
                        <a:lnTo>
                          <a:pt x="2600" y="1691"/>
                        </a:lnTo>
                        <a:lnTo>
                          <a:pt x="2616" y="1694"/>
                        </a:lnTo>
                        <a:lnTo>
                          <a:pt x="2618" y="1685"/>
                        </a:lnTo>
                        <a:lnTo>
                          <a:pt x="2641" y="1670"/>
                        </a:lnTo>
                        <a:lnTo>
                          <a:pt x="2665" y="1670"/>
                        </a:lnTo>
                        <a:lnTo>
                          <a:pt x="2698" y="1690"/>
                        </a:lnTo>
                        <a:lnTo>
                          <a:pt x="2708" y="1700"/>
                        </a:lnTo>
                        <a:lnTo>
                          <a:pt x="2734" y="1716"/>
                        </a:lnTo>
                        <a:lnTo>
                          <a:pt x="2753" y="1724"/>
                        </a:lnTo>
                        <a:lnTo>
                          <a:pt x="2758" y="1734"/>
                        </a:lnTo>
                        <a:lnTo>
                          <a:pt x="2758" y="1750"/>
                        </a:lnTo>
                        <a:lnTo>
                          <a:pt x="2757" y="1761"/>
                        </a:lnTo>
                        <a:lnTo>
                          <a:pt x="2775" y="1802"/>
                        </a:lnTo>
                        <a:lnTo>
                          <a:pt x="2779" y="1802"/>
                        </a:lnTo>
                        <a:lnTo>
                          <a:pt x="2780" y="1814"/>
                        </a:lnTo>
                        <a:lnTo>
                          <a:pt x="2774" y="1822"/>
                        </a:lnTo>
                        <a:lnTo>
                          <a:pt x="2761" y="1824"/>
                        </a:lnTo>
                        <a:lnTo>
                          <a:pt x="2750" y="1832"/>
                        </a:lnTo>
                        <a:lnTo>
                          <a:pt x="2746" y="1845"/>
                        </a:lnTo>
                        <a:lnTo>
                          <a:pt x="2745" y="1868"/>
                        </a:lnTo>
                        <a:lnTo>
                          <a:pt x="2747" y="1886"/>
                        </a:lnTo>
                        <a:lnTo>
                          <a:pt x="2751" y="1896"/>
                        </a:lnTo>
                        <a:lnTo>
                          <a:pt x="2763" y="1894"/>
                        </a:lnTo>
                        <a:lnTo>
                          <a:pt x="2781" y="1904"/>
                        </a:lnTo>
                        <a:lnTo>
                          <a:pt x="2800" y="1902"/>
                        </a:lnTo>
                        <a:lnTo>
                          <a:pt x="2820" y="1915"/>
                        </a:lnTo>
                        <a:lnTo>
                          <a:pt x="2817" y="1918"/>
                        </a:lnTo>
                        <a:lnTo>
                          <a:pt x="2792" y="1923"/>
                        </a:lnTo>
                        <a:lnTo>
                          <a:pt x="2779" y="1920"/>
                        </a:lnTo>
                        <a:lnTo>
                          <a:pt x="2754" y="1921"/>
                        </a:lnTo>
                        <a:lnTo>
                          <a:pt x="2752" y="1912"/>
                        </a:lnTo>
                        <a:lnTo>
                          <a:pt x="2748" y="1905"/>
                        </a:lnTo>
                        <a:lnTo>
                          <a:pt x="2727" y="1894"/>
                        </a:lnTo>
                        <a:lnTo>
                          <a:pt x="2726" y="1883"/>
                        </a:lnTo>
                        <a:lnTo>
                          <a:pt x="2730" y="1878"/>
                        </a:lnTo>
                        <a:lnTo>
                          <a:pt x="2732" y="1868"/>
                        </a:lnTo>
                        <a:lnTo>
                          <a:pt x="2731" y="1857"/>
                        </a:lnTo>
                        <a:lnTo>
                          <a:pt x="2732" y="1842"/>
                        </a:lnTo>
                        <a:lnTo>
                          <a:pt x="2740" y="1825"/>
                        </a:lnTo>
                        <a:lnTo>
                          <a:pt x="2736" y="1821"/>
                        </a:lnTo>
                        <a:lnTo>
                          <a:pt x="2730" y="1824"/>
                        </a:lnTo>
                        <a:lnTo>
                          <a:pt x="2729" y="1814"/>
                        </a:lnTo>
                        <a:lnTo>
                          <a:pt x="2732" y="1800"/>
                        </a:lnTo>
                        <a:lnTo>
                          <a:pt x="2734" y="1798"/>
                        </a:lnTo>
                        <a:lnTo>
                          <a:pt x="2732" y="1791"/>
                        </a:lnTo>
                        <a:lnTo>
                          <a:pt x="2735" y="1783"/>
                        </a:lnTo>
                        <a:lnTo>
                          <a:pt x="2732" y="1776"/>
                        </a:lnTo>
                        <a:lnTo>
                          <a:pt x="2726" y="1767"/>
                        </a:lnTo>
                        <a:lnTo>
                          <a:pt x="2718" y="1762"/>
                        </a:lnTo>
                        <a:lnTo>
                          <a:pt x="2713" y="1754"/>
                        </a:lnTo>
                        <a:lnTo>
                          <a:pt x="2703" y="1749"/>
                        </a:lnTo>
                        <a:lnTo>
                          <a:pt x="2699" y="1739"/>
                        </a:lnTo>
                        <a:lnTo>
                          <a:pt x="2700" y="1727"/>
                        </a:lnTo>
                        <a:lnTo>
                          <a:pt x="2694" y="1708"/>
                        </a:lnTo>
                        <a:lnTo>
                          <a:pt x="2667" y="1712"/>
                        </a:lnTo>
                        <a:lnTo>
                          <a:pt x="2652" y="1718"/>
                        </a:lnTo>
                        <a:lnTo>
                          <a:pt x="2621" y="1724"/>
                        </a:lnTo>
                        <a:lnTo>
                          <a:pt x="2602" y="1737"/>
                        </a:lnTo>
                        <a:lnTo>
                          <a:pt x="2582" y="1744"/>
                        </a:lnTo>
                        <a:lnTo>
                          <a:pt x="2574" y="1750"/>
                        </a:lnTo>
                        <a:lnTo>
                          <a:pt x="2574" y="1760"/>
                        </a:lnTo>
                        <a:lnTo>
                          <a:pt x="2576" y="1772"/>
                        </a:lnTo>
                        <a:lnTo>
                          <a:pt x="2573" y="1786"/>
                        </a:lnTo>
                        <a:lnTo>
                          <a:pt x="2566" y="1794"/>
                        </a:lnTo>
                        <a:lnTo>
                          <a:pt x="2570" y="1805"/>
                        </a:lnTo>
                        <a:lnTo>
                          <a:pt x="2575" y="1808"/>
                        </a:lnTo>
                        <a:lnTo>
                          <a:pt x="2579" y="1818"/>
                        </a:lnTo>
                        <a:lnTo>
                          <a:pt x="2585" y="1825"/>
                        </a:lnTo>
                        <a:lnTo>
                          <a:pt x="2584" y="1835"/>
                        </a:lnTo>
                        <a:lnTo>
                          <a:pt x="2590" y="1842"/>
                        </a:lnTo>
                        <a:lnTo>
                          <a:pt x="2593" y="1854"/>
                        </a:lnTo>
                        <a:lnTo>
                          <a:pt x="2595" y="1873"/>
                        </a:lnTo>
                        <a:lnTo>
                          <a:pt x="2590" y="1900"/>
                        </a:lnTo>
                        <a:lnTo>
                          <a:pt x="2576" y="1911"/>
                        </a:lnTo>
                        <a:lnTo>
                          <a:pt x="2547" y="1948"/>
                        </a:lnTo>
                        <a:lnTo>
                          <a:pt x="2544" y="1954"/>
                        </a:lnTo>
                        <a:lnTo>
                          <a:pt x="2544" y="1969"/>
                        </a:lnTo>
                        <a:lnTo>
                          <a:pt x="2541" y="1988"/>
                        </a:lnTo>
                        <a:lnTo>
                          <a:pt x="2525" y="2013"/>
                        </a:lnTo>
                        <a:lnTo>
                          <a:pt x="2515" y="2023"/>
                        </a:lnTo>
                        <a:lnTo>
                          <a:pt x="2499" y="2031"/>
                        </a:lnTo>
                        <a:lnTo>
                          <a:pt x="2490" y="2042"/>
                        </a:lnTo>
                        <a:lnTo>
                          <a:pt x="2462" y="2053"/>
                        </a:lnTo>
                        <a:lnTo>
                          <a:pt x="2457" y="2061"/>
                        </a:lnTo>
                        <a:lnTo>
                          <a:pt x="2465" y="2078"/>
                        </a:lnTo>
                        <a:lnTo>
                          <a:pt x="2458" y="2098"/>
                        </a:lnTo>
                        <a:lnTo>
                          <a:pt x="2445" y="2103"/>
                        </a:lnTo>
                        <a:lnTo>
                          <a:pt x="2407" y="2085"/>
                        </a:lnTo>
                        <a:lnTo>
                          <a:pt x="2387" y="2083"/>
                        </a:lnTo>
                        <a:lnTo>
                          <a:pt x="2374" y="2087"/>
                        </a:lnTo>
                        <a:lnTo>
                          <a:pt x="2363" y="2088"/>
                        </a:lnTo>
                        <a:lnTo>
                          <a:pt x="2338" y="2083"/>
                        </a:lnTo>
                        <a:lnTo>
                          <a:pt x="2334" y="2080"/>
                        </a:lnTo>
                        <a:lnTo>
                          <a:pt x="2334" y="2071"/>
                        </a:lnTo>
                        <a:lnTo>
                          <a:pt x="2337" y="2064"/>
                        </a:lnTo>
                        <a:lnTo>
                          <a:pt x="2334" y="2040"/>
                        </a:lnTo>
                        <a:lnTo>
                          <a:pt x="2321" y="2037"/>
                        </a:lnTo>
                        <a:lnTo>
                          <a:pt x="2318" y="2030"/>
                        </a:lnTo>
                        <a:lnTo>
                          <a:pt x="2321" y="2026"/>
                        </a:lnTo>
                        <a:lnTo>
                          <a:pt x="2332" y="2021"/>
                        </a:lnTo>
                        <a:lnTo>
                          <a:pt x="2343" y="2030"/>
                        </a:lnTo>
                        <a:lnTo>
                          <a:pt x="2347" y="2037"/>
                        </a:lnTo>
                        <a:lnTo>
                          <a:pt x="2360" y="2037"/>
                        </a:lnTo>
                        <a:lnTo>
                          <a:pt x="2366" y="2028"/>
                        </a:lnTo>
                        <a:lnTo>
                          <a:pt x="2375" y="2028"/>
                        </a:lnTo>
                        <a:lnTo>
                          <a:pt x="2385" y="2012"/>
                        </a:lnTo>
                        <a:lnTo>
                          <a:pt x="2393" y="2018"/>
                        </a:lnTo>
                        <a:lnTo>
                          <a:pt x="2407" y="2012"/>
                        </a:lnTo>
                        <a:lnTo>
                          <a:pt x="2409" y="2005"/>
                        </a:lnTo>
                        <a:lnTo>
                          <a:pt x="2415" y="2003"/>
                        </a:lnTo>
                        <a:lnTo>
                          <a:pt x="2424" y="2004"/>
                        </a:lnTo>
                        <a:lnTo>
                          <a:pt x="2439" y="2001"/>
                        </a:lnTo>
                        <a:lnTo>
                          <a:pt x="2445" y="1992"/>
                        </a:lnTo>
                        <a:lnTo>
                          <a:pt x="2439" y="1983"/>
                        </a:lnTo>
                        <a:lnTo>
                          <a:pt x="2422" y="1983"/>
                        </a:lnTo>
                        <a:lnTo>
                          <a:pt x="2415" y="1988"/>
                        </a:lnTo>
                        <a:lnTo>
                          <a:pt x="2407" y="1982"/>
                        </a:lnTo>
                        <a:lnTo>
                          <a:pt x="2408" y="1969"/>
                        </a:lnTo>
                        <a:lnTo>
                          <a:pt x="2428" y="1981"/>
                        </a:lnTo>
                        <a:lnTo>
                          <a:pt x="2449" y="1977"/>
                        </a:lnTo>
                        <a:lnTo>
                          <a:pt x="2451" y="1974"/>
                        </a:lnTo>
                        <a:lnTo>
                          <a:pt x="2452" y="1956"/>
                        </a:lnTo>
                        <a:lnTo>
                          <a:pt x="2461" y="1956"/>
                        </a:lnTo>
                        <a:lnTo>
                          <a:pt x="2468" y="1947"/>
                        </a:lnTo>
                        <a:lnTo>
                          <a:pt x="2469" y="1937"/>
                        </a:lnTo>
                        <a:lnTo>
                          <a:pt x="2474" y="1924"/>
                        </a:lnTo>
                        <a:lnTo>
                          <a:pt x="2477" y="1915"/>
                        </a:lnTo>
                        <a:lnTo>
                          <a:pt x="2494" y="1906"/>
                        </a:lnTo>
                        <a:lnTo>
                          <a:pt x="2503" y="1895"/>
                        </a:lnTo>
                        <a:lnTo>
                          <a:pt x="2499" y="1888"/>
                        </a:lnTo>
                        <a:lnTo>
                          <a:pt x="2504" y="1878"/>
                        </a:lnTo>
                        <a:lnTo>
                          <a:pt x="2501" y="1843"/>
                        </a:lnTo>
                        <a:lnTo>
                          <a:pt x="2501" y="1832"/>
                        </a:lnTo>
                        <a:lnTo>
                          <a:pt x="2506" y="1815"/>
                        </a:lnTo>
                        <a:lnTo>
                          <a:pt x="2521" y="1792"/>
                        </a:lnTo>
                        <a:lnTo>
                          <a:pt x="2520" y="1762"/>
                        </a:lnTo>
                        <a:lnTo>
                          <a:pt x="2490" y="1735"/>
                        </a:lnTo>
                        <a:lnTo>
                          <a:pt x="2468" y="1701"/>
                        </a:lnTo>
                        <a:lnTo>
                          <a:pt x="2468" y="1684"/>
                        </a:lnTo>
                        <a:lnTo>
                          <a:pt x="2472" y="1670"/>
                        </a:lnTo>
                        <a:lnTo>
                          <a:pt x="2473" y="1657"/>
                        </a:lnTo>
                        <a:lnTo>
                          <a:pt x="2471" y="1643"/>
                        </a:lnTo>
                        <a:lnTo>
                          <a:pt x="2478" y="1630"/>
                        </a:lnTo>
                        <a:lnTo>
                          <a:pt x="2473" y="1606"/>
                        </a:lnTo>
                        <a:lnTo>
                          <a:pt x="2479" y="1592"/>
                        </a:lnTo>
                        <a:lnTo>
                          <a:pt x="2479" y="1571"/>
                        </a:lnTo>
                        <a:lnTo>
                          <a:pt x="2476" y="1565"/>
                        </a:lnTo>
                        <a:lnTo>
                          <a:pt x="2476" y="1558"/>
                        </a:lnTo>
                        <a:lnTo>
                          <a:pt x="2473" y="1555"/>
                        </a:lnTo>
                        <a:lnTo>
                          <a:pt x="2472" y="1545"/>
                        </a:lnTo>
                        <a:lnTo>
                          <a:pt x="2474" y="1530"/>
                        </a:lnTo>
                        <a:lnTo>
                          <a:pt x="2473" y="1524"/>
                        </a:lnTo>
                        <a:lnTo>
                          <a:pt x="2467" y="1518"/>
                        </a:lnTo>
                        <a:lnTo>
                          <a:pt x="2465" y="1504"/>
                        </a:lnTo>
                        <a:lnTo>
                          <a:pt x="2469" y="1492"/>
                        </a:lnTo>
                        <a:lnTo>
                          <a:pt x="2482" y="1482"/>
                        </a:lnTo>
                        <a:lnTo>
                          <a:pt x="2483" y="1475"/>
                        </a:lnTo>
                        <a:lnTo>
                          <a:pt x="2480" y="1442"/>
                        </a:lnTo>
                        <a:lnTo>
                          <a:pt x="2485" y="1427"/>
                        </a:lnTo>
                        <a:lnTo>
                          <a:pt x="2485" y="1406"/>
                        </a:lnTo>
                        <a:lnTo>
                          <a:pt x="2471" y="1373"/>
                        </a:lnTo>
                        <a:lnTo>
                          <a:pt x="2473" y="1350"/>
                        </a:lnTo>
                        <a:lnTo>
                          <a:pt x="2453" y="1334"/>
                        </a:lnTo>
                        <a:lnTo>
                          <a:pt x="2442" y="1321"/>
                        </a:lnTo>
                        <a:lnTo>
                          <a:pt x="2429" y="1297"/>
                        </a:lnTo>
                        <a:lnTo>
                          <a:pt x="2430" y="1283"/>
                        </a:lnTo>
                        <a:lnTo>
                          <a:pt x="2431" y="1281"/>
                        </a:lnTo>
                        <a:lnTo>
                          <a:pt x="2447" y="1271"/>
                        </a:lnTo>
                        <a:lnTo>
                          <a:pt x="2450" y="1260"/>
                        </a:lnTo>
                        <a:lnTo>
                          <a:pt x="2457" y="1250"/>
                        </a:lnTo>
                        <a:lnTo>
                          <a:pt x="2457" y="1243"/>
                        </a:lnTo>
                        <a:lnTo>
                          <a:pt x="2456" y="1233"/>
                        </a:lnTo>
                        <a:lnTo>
                          <a:pt x="2465" y="1217"/>
                        </a:lnTo>
                        <a:lnTo>
                          <a:pt x="2472" y="1187"/>
                        </a:lnTo>
                        <a:lnTo>
                          <a:pt x="2478" y="1173"/>
                        </a:lnTo>
                        <a:lnTo>
                          <a:pt x="2480" y="1147"/>
                        </a:lnTo>
                        <a:lnTo>
                          <a:pt x="2477" y="1132"/>
                        </a:lnTo>
                        <a:lnTo>
                          <a:pt x="2476" y="1114"/>
                        </a:lnTo>
                        <a:lnTo>
                          <a:pt x="2477" y="1092"/>
                        </a:lnTo>
                        <a:lnTo>
                          <a:pt x="2473" y="1084"/>
                        </a:lnTo>
                        <a:lnTo>
                          <a:pt x="2477" y="1079"/>
                        </a:lnTo>
                        <a:lnTo>
                          <a:pt x="2476" y="1078"/>
                        </a:lnTo>
                        <a:lnTo>
                          <a:pt x="2434" y="1058"/>
                        </a:lnTo>
                        <a:lnTo>
                          <a:pt x="2419" y="1046"/>
                        </a:lnTo>
                        <a:lnTo>
                          <a:pt x="2376" y="1052"/>
                        </a:lnTo>
                        <a:lnTo>
                          <a:pt x="2359" y="1050"/>
                        </a:lnTo>
                        <a:lnTo>
                          <a:pt x="2331" y="1051"/>
                        </a:lnTo>
                        <a:lnTo>
                          <a:pt x="2318" y="1045"/>
                        </a:lnTo>
                        <a:lnTo>
                          <a:pt x="2326" y="1038"/>
                        </a:lnTo>
                        <a:lnTo>
                          <a:pt x="2297" y="1040"/>
                        </a:lnTo>
                        <a:lnTo>
                          <a:pt x="2293" y="1050"/>
                        </a:lnTo>
                        <a:lnTo>
                          <a:pt x="2293" y="1056"/>
                        </a:lnTo>
                        <a:lnTo>
                          <a:pt x="2288" y="1071"/>
                        </a:lnTo>
                        <a:lnTo>
                          <a:pt x="2279" y="1084"/>
                        </a:lnTo>
                        <a:lnTo>
                          <a:pt x="2273" y="1103"/>
                        </a:lnTo>
                        <a:lnTo>
                          <a:pt x="2265" y="1143"/>
                        </a:lnTo>
                        <a:lnTo>
                          <a:pt x="2261" y="1164"/>
                        </a:lnTo>
                        <a:lnTo>
                          <a:pt x="2254" y="1176"/>
                        </a:lnTo>
                        <a:lnTo>
                          <a:pt x="2248" y="1228"/>
                        </a:lnTo>
                        <a:lnTo>
                          <a:pt x="2243" y="1246"/>
                        </a:lnTo>
                        <a:lnTo>
                          <a:pt x="2225" y="1282"/>
                        </a:lnTo>
                        <a:lnTo>
                          <a:pt x="2204" y="1305"/>
                        </a:lnTo>
                        <a:lnTo>
                          <a:pt x="2186" y="1323"/>
                        </a:lnTo>
                        <a:lnTo>
                          <a:pt x="2159" y="1336"/>
                        </a:lnTo>
                        <a:lnTo>
                          <a:pt x="2152" y="1369"/>
                        </a:lnTo>
                        <a:lnTo>
                          <a:pt x="2152" y="1374"/>
                        </a:lnTo>
                        <a:lnTo>
                          <a:pt x="2156" y="1375"/>
                        </a:lnTo>
                        <a:lnTo>
                          <a:pt x="2167" y="1358"/>
                        </a:lnTo>
                        <a:lnTo>
                          <a:pt x="2171" y="1361"/>
                        </a:lnTo>
                        <a:lnTo>
                          <a:pt x="2171" y="1375"/>
                        </a:lnTo>
                        <a:lnTo>
                          <a:pt x="2166" y="1385"/>
                        </a:lnTo>
                        <a:lnTo>
                          <a:pt x="2148" y="1397"/>
                        </a:lnTo>
                        <a:lnTo>
                          <a:pt x="2143" y="1415"/>
                        </a:lnTo>
                        <a:lnTo>
                          <a:pt x="2149" y="1428"/>
                        </a:lnTo>
                        <a:lnTo>
                          <a:pt x="2162" y="1422"/>
                        </a:lnTo>
                        <a:lnTo>
                          <a:pt x="2171" y="1415"/>
                        </a:lnTo>
                        <a:lnTo>
                          <a:pt x="2186" y="1416"/>
                        </a:lnTo>
                        <a:lnTo>
                          <a:pt x="2192" y="1432"/>
                        </a:lnTo>
                        <a:lnTo>
                          <a:pt x="2187" y="1445"/>
                        </a:lnTo>
                        <a:lnTo>
                          <a:pt x="2187" y="1487"/>
                        </a:lnTo>
                        <a:lnTo>
                          <a:pt x="2178" y="1499"/>
                        </a:lnTo>
                        <a:lnTo>
                          <a:pt x="2181" y="1522"/>
                        </a:lnTo>
                        <a:lnTo>
                          <a:pt x="2187" y="1534"/>
                        </a:lnTo>
                        <a:lnTo>
                          <a:pt x="2181" y="1550"/>
                        </a:lnTo>
                        <a:lnTo>
                          <a:pt x="2170" y="1550"/>
                        </a:lnTo>
                        <a:lnTo>
                          <a:pt x="2164" y="1540"/>
                        </a:lnTo>
                        <a:lnTo>
                          <a:pt x="2161" y="1563"/>
                        </a:lnTo>
                        <a:lnTo>
                          <a:pt x="2161" y="1606"/>
                        </a:lnTo>
                        <a:lnTo>
                          <a:pt x="2168" y="1621"/>
                        </a:lnTo>
                        <a:lnTo>
                          <a:pt x="2168" y="1606"/>
                        </a:lnTo>
                        <a:lnTo>
                          <a:pt x="2182" y="1601"/>
                        </a:lnTo>
                        <a:lnTo>
                          <a:pt x="2205" y="1616"/>
                        </a:lnTo>
                        <a:lnTo>
                          <a:pt x="2218" y="1628"/>
                        </a:lnTo>
                        <a:lnTo>
                          <a:pt x="2225" y="1625"/>
                        </a:lnTo>
                        <a:lnTo>
                          <a:pt x="2230" y="1625"/>
                        </a:lnTo>
                        <a:lnTo>
                          <a:pt x="2227" y="1647"/>
                        </a:lnTo>
                        <a:lnTo>
                          <a:pt x="2236" y="1671"/>
                        </a:lnTo>
                        <a:lnTo>
                          <a:pt x="2243" y="1686"/>
                        </a:lnTo>
                        <a:lnTo>
                          <a:pt x="2251" y="1706"/>
                        </a:lnTo>
                        <a:lnTo>
                          <a:pt x="2267" y="1717"/>
                        </a:lnTo>
                        <a:lnTo>
                          <a:pt x="2279" y="1713"/>
                        </a:lnTo>
                        <a:lnTo>
                          <a:pt x="2279" y="1719"/>
                        </a:lnTo>
                        <a:lnTo>
                          <a:pt x="2285" y="1727"/>
                        </a:lnTo>
                        <a:lnTo>
                          <a:pt x="2274" y="1743"/>
                        </a:lnTo>
                        <a:lnTo>
                          <a:pt x="2264" y="1776"/>
                        </a:lnTo>
                        <a:lnTo>
                          <a:pt x="2256" y="1799"/>
                        </a:lnTo>
                        <a:lnTo>
                          <a:pt x="2253" y="1811"/>
                        </a:lnTo>
                        <a:lnTo>
                          <a:pt x="2238" y="1822"/>
                        </a:lnTo>
                        <a:lnTo>
                          <a:pt x="2234" y="1814"/>
                        </a:lnTo>
                        <a:lnTo>
                          <a:pt x="2235" y="1800"/>
                        </a:lnTo>
                        <a:lnTo>
                          <a:pt x="2225" y="1787"/>
                        </a:lnTo>
                        <a:lnTo>
                          <a:pt x="2207" y="1776"/>
                        </a:lnTo>
                        <a:lnTo>
                          <a:pt x="2172" y="1733"/>
                        </a:lnTo>
                        <a:lnTo>
                          <a:pt x="2161" y="1724"/>
                        </a:lnTo>
                        <a:lnTo>
                          <a:pt x="2144" y="1721"/>
                        </a:lnTo>
                        <a:lnTo>
                          <a:pt x="2119" y="1701"/>
                        </a:lnTo>
                        <a:lnTo>
                          <a:pt x="2092" y="1691"/>
                        </a:lnTo>
                        <a:lnTo>
                          <a:pt x="2094" y="1682"/>
                        </a:lnTo>
                        <a:lnTo>
                          <a:pt x="2101" y="1682"/>
                        </a:lnTo>
                        <a:lnTo>
                          <a:pt x="2097" y="1679"/>
                        </a:lnTo>
                        <a:lnTo>
                          <a:pt x="2079" y="1675"/>
                        </a:lnTo>
                        <a:lnTo>
                          <a:pt x="2057" y="1658"/>
                        </a:lnTo>
                        <a:lnTo>
                          <a:pt x="2043" y="1652"/>
                        </a:lnTo>
                        <a:lnTo>
                          <a:pt x="2011" y="1622"/>
                        </a:lnTo>
                        <a:lnTo>
                          <a:pt x="1993" y="1617"/>
                        </a:lnTo>
                        <a:lnTo>
                          <a:pt x="1965" y="1603"/>
                        </a:lnTo>
                        <a:lnTo>
                          <a:pt x="1956" y="1603"/>
                        </a:lnTo>
                        <a:lnTo>
                          <a:pt x="1936" y="1589"/>
                        </a:lnTo>
                        <a:lnTo>
                          <a:pt x="1922" y="1590"/>
                        </a:lnTo>
                        <a:lnTo>
                          <a:pt x="1869" y="1587"/>
                        </a:lnTo>
                        <a:lnTo>
                          <a:pt x="1865" y="1581"/>
                        </a:lnTo>
                        <a:lnTo>
                          <a:pt x="1848" y="1573"/>
                        </a:lnTo>
                        <a:lnTo>
                          <a:pt x="1834" y="1573"/>
                        </a:lnTo>
                        <a:lnTo>
                          <a:pt x="1829" y="1577"/>
                        </a:lnTo>
                        <a:lnTo>
                          <a:pt x="1828" y="1587"/>
                        </a:lnTo>
                        <a:lnTo>
                          <a:pt x="1823" y="1595"/>
                        </a:lnTo>
                        <a:lnTo>
                          <a:pt x="1802" y="1609"/>
                        </a:lnTo>
                        <a:lnTo>
                          <a:pt x="1804" y="1617"/>
                        </a:lnTo>
                        <a:lnTo>
                          <a:pt x="1810" y="1635"/>
                        </a:lnTo>
                        <a:lnTo>
                          <a:pt x="1823" y="1655"/>
                        </a:lnTo>
                        <a:lnTo>
                          <a:pt x="1833" y="1690"/>
                        </a:lnTo>
                        <a:lnTo>
                          <a:pt x="1832" y="1682"/>
                        </a:lnTo>
                        <a:lnTo>
                          <a:pt x="1837" y="1684"/>
                        </a:lnTo>
                        <a:lnTo>
                          <a:pt x="1832" y="1718"/>
                        </a:lnTo>
                        <a:lnTo>
                          <a:pt x="1829" y="1724"/>
                        </a:lnTo>
                        <a:lnTo>
                          <a:pt x="1810" y="1746"/>
                        </a:lnTo>
                        <a:lnTo>
                          <a:pt x="1779" y="1750"/>
                        </a:lnTo>
                        <a:lnTo>
                          <a:pt x="1778" y="1765"/>
                        </a:lnTo>
                        <a:lnTo>
                          <a:pt x="1783" y="1773"/>
                        </a:lnTo>
                        <a:lnTo>
                          <a:pt x="1784" y="1783"/>
                        </a:lnTo>
                        <a:lnTo>
                          <a:pt x="1773" y="1799"/>
                        </a:lnTo>
                        <a:lnTo>
                          <a:pt x="1761" y="1805"/>
                        </a:lnTo>
                        <a:lnTo>
                          <a:pt x="1747" y="1798"/>
                        </a:lnTo>
                        <a:lnTo>
                          <a:pt x="1736" y="1787"/>
                        </a:lnTo>
                        <a:lnTo>
                          <a:pt x="1736" y="1770"/>
                        </a:lnTo>
                        <a:lnTo>
                          <a:pt x="1741" y="1759"/>
                        </a:lnTo>
                        <a:lnTo>
                          <a:pt x="1747" y="1750"/>
                        </a:lnTo>
                        <a:lnTo>
                          <a:pt x="1754" y="1745"/>
                        </a:lnTo>
                        <a:lnTo>
                          <a:pt x="1732" y="1713"/>
                        </a:lnTo>
                        <a:lnTo>
                          <a:pt x="1735" y="1705"/>
                        </a:lnTo>
                        <a:lnTo>
                          <a:pt x="1724" y="1703"/>
                        </a:lnTo>
                        <a:lnTo>
                          <a:pt x="1684" y="1721"/>
                        </a:lnTo>
                        <a:lnTo>
                          <a:pt x="1675" y="1737"/>
                        </a:lnTo>
                        <a:lnTo>
                          <a:pt x="1660" y="1743"/>
                        </a:lnTo>
                        <a:lnTo>
                          <a:pt x="1640" y="1773"/>
                        </a:lnTo>
                        <a:lnTo>
                          <a:pt x="1628" y="1775"/>
                        </a:lnTo>
                        <a:lnTo>
                          <a:pt x="1622" y="1766"/>
                        </a:lnTo>
                        <a:lnTo>
                          <a:pt x="1606" y="1762"/>
                        </a:lnTo>
                        <a:lnTo>
                          <a:pt x="1587" y="1767"/>
                        </a:lnTo>
                        <a:lnTo>
                          <a:pt x="1570" y="1757"/>
                        </a:lnTo>
                        <a:lnTo>
                          <a:pt x="1547" y="1772"/>
                        </a:lnTo>
                        <a:lnTo>
                          <a:pt x="1536" y="1771"/>
                        </a:lnTo>
                        <a:lnTo>
                          <a:pt x="1512" y="1792"/>
                        </a:lnTo>
                        <a:lnTo>
                          <a:pt x="1508" y="1802"/>
                        </a:lnTo>
                        <a:lnTo>
                          <a:pt x="1506" y="1822"/>
                        </a:lnTo>
                        <a:lnTo>
                          <a:pt x="1504" y="1831"/>
                        </a:lnTo>
                        <a:lnTo>
                          <a:pt x="1495" y="1831"/>
                        </a:lnTo>
                        <a:lnTo>
                          <a:pt x="1487" y="1824"/>
                        </a:lnTo>
                        <a:lnTo>
                          <a:pt x="1478" y="1813"/>
                        </a:lnTo>
                        <a:lnTo>
                          <a:pt x="1474" y="1816"/>
                        </a:lnTo>
                        <a:lnTo>
                          <a:pt x="1467" y="1821"/>
                        </a:lnTo>
                        <a:lnTo>
                          <a:pt x="1456" y="1807"/>
                        </a:lnTo>
                        <a:lnTo>
                          <a:pt x="1456" y="1779"/>
                        </a:lnTo>
                        <a:lnTo>
                          <a:pt x="1450" y="1773"/>
                        </a:lnTo>
                        <a:lnTo>
                          <a:pt x="1450" y="1766"/>
                        </a:lnTo>
                        <a:lnTo>
                          <a:pt x="1457" y="1751"/>
                        </a:lnTo>
                        <a:lnTo>
                          <a:pt x="1458" y="1737"/>
                        </a:lnTo>
                        <a:lnTo>
                          <a:pt x="1452" y="1724"/>
                        </a:lnTo>
                        <a:lnTo>
                          <a:pt x="1447" y="1722"/>
                        </a:lnTo>
                        <a:lnTo>
                          <a:pt x="1446" y="1730"/>
                        </a:lnTo>
                        <a:lnTo>
                          <a:pt x="1442" y="1730"/>
                        </a:lnTo>
                        <a:lnTo>
                          <a:pt x="1444" y="1721"/>
                        </a:lnTo>
                        <a:lnTo>
                          <a:pt x="1451" y="1716"/>
                        </a:lnTo>
                        <a:lnTo>
                          <a:pt x="1477" y="1713"/>
                        </a:lnTo>
                        <a:lnTo>
                          <a:pt x="1488" y="1707"/>
                        </a:lnTo>
                        <a:lnTo>
                          <a:pt x="1490" y="1705"/>
                        </a:lnTo>
                        <a:lnTo>
                          <a:pt x="1484" y="1707"/>
                        </a:lnTo>
                        <a:lnTo>
                          <a:pt x="1467" y="1712"/>
                        </a:lnTo>
                        <a:lnTo>
                          <a:pt x="1460" y="1711"/>
                        </a:lnTo>
                        <a:lnTo>
                          <a:pt x="1445" y="1712"/>
                        </a:lnTo>
                        <a:lnTo>
                          <a:pt x="1423" y="1723"/>
                        </a:lnTo>
                        <a:lnTo>
                          <a:pt x="1424" y="1730"/>
                        </a:lnTo>
                        <a:lnTo>
                          <a:pt x="1415" y="1734"/>
                        </a:lnTo>
                        <a:lnTo>
                          <a:pt x="1413" y="1738"/>
                        </a:lnTo>
                        <a:lnTo>
                          <a:pt x="1417" y="1751"/>
                        </a:lnTo>
                        <a:lnTo>
                          <a:pt x="1417" y="1759"/>
                        </a:lnTo>
                        <a:lnTo>
                          <a:pt x="1406" y="1765"/>
                        </a:lnTo>
                        <a:lnTo>
                          <a:pt x="1397" y="1760"/>
                        </a:lnTo>
                        <a:lnTo>
                          <a:pt x="1393" y="1751"/>
                        </a:lnTo>
                        <a:lnTo>
                          <a:pt x="1398" y="1743"/>
                        </a:lnTo>
                        <a:lnTo>
                          <a:pt x="1391" y="1743"/>
                        </a:lnTo>
                        <a:lnTo>
                          <a:pt x="1369" y="1767"/>
                        </a:lnTo>
                        <a:lnTo>
                          <a:pt x="1377" y="1766"/>
                        </a:lnTo>
                        <a:lnTo>
                          <a:pt x="1381" y="1775"/>
                        </a:lnTo>
                        <a:lnTo>
                          <a:pt x="1381" y="1783"/>
                        </a:lnTo>
                        <a:lnTo>
                          <a:pt x="1380" y="1793"/>
                        </a:lnTo>
                        <a:lnTo>
                          <a:pt x="1371" y="1800"/>
                        </a:lnTo>
                        <a:lnTo>
                          <a:pt x="1366" y="1803"/>
                        </a:lnTo>
                        <a:lnTo>
                          <a:pt x="1361" y="1789"/>
                        </a:lnTo>
                        <a:lnTo>
                          <a:pt x="1354" y="1777"/>
                        </a:lnTo>
                        <a:lnTo>
                          <a:pt x="1326" y="1786"/>
                        </a:lnTo>
                        <a:lnTo>
                          <a:pt x="1328" y="1789"/>
                        </a:lnTo>
                        <a:lnTo>
                          <a:pt x="1291" y="1807"/>
                        </a:lnTo>
                        <a:lnTo>
                          <a:pt x="1288" y="1804"/>
                        </a:lnTo>
                        <a:lnTo>
                          <a:pt x="1282" y="1807"/>
                        </a:lnTo>
                        <a:lnTo>
                          <a:pt x="1254" y="1832"/>
                        </a:lnTo>
                        <a:lnTo>
                          <a:pt x="1181" y="1880"/>
                        </a:lnTo>
                        <a:lnTo>
                          <a:pt x="1172" y="1880"/>
                        </a:lnTo>
                        <a:lnTo>
                          <a:pt x="1171" y="1895"/>
                        </a:lnTo>
                        <a:lnTo>
                          <a:pt x="1175" y="1897"/>
                        </a:lnTo>
                        <a:lnTo>
                          <a:pt x="1166" y="1905"/>
                        </a:lnTo>
                        <a:lnTo>
                          <a:pt x="1144" y="1908"/>
                        </a:lnTo>
                        <a:lnTo>
                          <a:pt x="1135" y="1916"/>
                        </a:lnTo>
                        <a:lnTo>
                          <a:pt x="1129" y="1913"/>
                        </a:lnTo>
                        <a:lnTo>
                          <a:pt x="1123" y="1927"/>
                        </a:lnTo>
                        <a:lnTo>
                          <a:pt x="1114" y="1958"/>
                        </a:lnTo>
                        <a:lnTo>
                          <a:pt x="1111" y="1970"/>
                        </a:lnTo>
                        <a:lnTo>
                          <a:pt x="1113" y="1996"/>
                        </a:lnTo>
                        <a:lnTo>
                          <a:pt x="1106" y="2008"/>
                        </a:lnTo>
                        <a:lnTo>
                          <a:pt x="1090" y="2017"/>
                        </a:lnTo>
                        <a:lnTo>
                          <a:pt x="1079" y="2015"/>
                        </a:lnTo>
                        <a:lnTo>
                          <a:pt x="1058" y="2024"/>
                        </a:lnTo>
                        <a:lnTo>
                          <a:pt x="1053" y="2044"/>
                        </a:lnTo>
                        <a:lnTo>
                          <a:pt x="1048" y="2030"/>
                        </a:lnTo>
                        <a:lnTo>
                          <a:pt x="1047" y="2015"/>
                        </a:lnTo>
                        <a:lnTo>
                          <a:pt x="1033" y="2023"/>
                        </a:lnTo>
                        <a:lnTo>
                          <a:pt x="1024" y="2023"/>
                        </a:lnTo>
                        <a:lnTo>
                          <a:pt x="1015" y="2017"/>
                        </a:lnTo>
                        <a:lnTo>
                          <a:pt x="1004" y="1997"/>
                        </a:lnTo>
                        <a:lnTo>
                          <a:pt x="1000" y="1985"/>
                        </a:lnTo>
                        <a:lnTo>
                          <a:pt x="978" y="1960"/>
                        </a:lnTo>
                        <a:lnTo>
                          <a:pt x="968" y="1950"/>
                        </a:lnTo>
                        <a:lnTo>
                          <a:pt x="963" y="1935"/>
                        </a:lnTo>
                        <a:lnTo>
                          <a:pt x="962" y="1921"/>
                        </a:lnTo>
                        <a:lnTo>
                          <a:pt x="973" y="1920"/>
                        </a:lnTo>
                        <a:lnTo>
                          <a:pt x="981" y="1910"/>
                        </a:lnTo>
                        <a:lnTo>
                          <a:pt x="984" y="1896"/>
                        </a:lnTo>
                        <a:lnTo>
                          <a:pt x="999" y="1891"/>
                        </a:lnTo>
                        <a:lnTo>
                          <a:pt x="1054" y="1880"/>
                        </a:lnTo>
                        <a:lnTo>
                          <a:pt x="1046" y="1863"/>
                        </a:lnTo>
                        <a:lnTo>
                          <a:pt x="1044" y="1845"/>
                        </a:lnTo>
                        <a:lnTo>
                          <a:pt x="1041" y="1826"/>
                        </a:lnTo>
                        <a:lnTo>
                          <a:pt x="1031" y="1832"/>
                        </a:lnTo>
                        <a:lnTo>
                          <a:pt x="1021" y="1814"/>
                        </a:lnTo>
                        <a:lnTo>
                          <a:pt x="1015" y="1809"/>
                        </a:lnTo>
                        <a:lnTo>
                          <a:pt x="1015" y="1792"/>
                        </a:lnTo>
                        <a:lnTo>
                          <a:pt x="1004" y="1783"/>
                        </a:lnTo>
                        <a:lnTo>
                          <a:pt x="978" y="1776"/>
                        </a:lnTo>
                        <a:lnTo>
                          <a:pt x="955" y="1776"/>
                        </a:lnTo>
                        <a:lnTo>
                          <a:pt x="930" y="1773"/>
                        </a:lnTo>
                        <a:lnTo>
                          <a:pt x="919" y="1777"/>
                        </a:lnTo>
                        <a:lnTo>
                          <a:pt x="909" y="1775"/>
                        </a:lnTo>
                        <a:lnTo>
                          <a:pt x="868" y="1754"/>
                        </a:lnTo>
                        <a:lnTo>
                          <a:pt x="870" y="1764"/>
                        </a:lnTo>
                        <a:lnTo>
                          <a:pt x="917" y="1805"/>
                        </a:lnTo>
                        <a:lnTo>
                          <a:pt x="917" y="1838"/>
                        </a:lnTo>
                        <a:lnTo>
                          <a:pt x="919" y="1853"/>
                        </a:lnTo>
                        <a:lnTo>
                          <a:pt x="914" y="1873"/>
                        </a:lnTo>
                        <a:lnTo>
                          <a:pt x="915" y="1890"/>
                        </a:lnTo>
                        <a:lnTo>
                          <a:pt x="901" y="1939"/>
                        </a:lnTo>
                        <a:lnTo>
                          <a:pt x="901" y="1953"/>
                        </a:lnTo>
                        <a:lnTo>
                          <a:pt x="902" y="1970"/>
                        </a:lnTo>
                        <a:lnTo>
                          <a:pt x="907" y="1975"/>
                        </a:lnTo>
                        <a:lnTo>
                          <a:pt x="919" y="1975"/>
                        </a:lnTo>
                        <a:lnTo>
                          <a:pt x="929" y="1982"/>
                        </a:lnTo>
                        <a:lnTo>
                          <a:pt x="938" y="2002"/>
                        </a:lnTo>
                        <a:lnTo>
                          <a:pt x="938" y="2013"/>
                        </a:lnTo>
                        <a:lnTo>
                          <a:pt x="933" y="2026"/>
                        </a:lnTo>
                        <a:lnTo>
                          <a:pt x="936" y="2037"/>
                        </a:lnTo>
                        <a:lnTo>
                          <a:pt x="933" y="2056"/>
                        </a:lnTo>
                        <a:lnTo>
                          <a:pt x="922" y="2072"/>
                        </a:lnTo>
                        <a:lnTo>
                          <a:pt x="915" y="2096"/>
                        </a:lnTo>
                        <a:lnTo>
                          <a:pt x="922" y="2114"/>
                        </a:lnTo>
                        <a:lnTo>
                          <a:pt x="918" y="2149"/>
                        </a:lnTo>
                        <a:lnTo>
                          <a:pt x="908" y="2134"/>
                        </a:lnTo>
                        <a:lnTo>
                          <a:pt x="906" y="2123"/>
                        </a:lnTo>
                        <a:lnTo>
                          <a:pt x="898" y="2114"/>
                        </a:lnTo>
                        <a:lnTo>
                          <a:pt x="890" y="2115"/>
                        </a:lnTo>
                        <a:lnTo>
                          <a:pt x="877" y="2126"/>
                        </a:lnTo>
                        <a:lnTo>
                          <a:pt x="885" y="2111"/>
                        </a:lnTo>
                        <a:lnTo>
                          <a:pt x="886" y="2099"/>
                        </a:lnTo>
                        <a:lnTo>
                          <a:pt x="869" y="2085"/>
                        </a:lnTo>
                        <a:lnTo>
                          <a:pt x="860" y="2080"/>
                        </a:lnTo>
                        <a:lnTo>
                          <a:pt x="837" y="2080"/>
                        </a:lnTo>
                        <a:lnTo>
                          <a:pt x="816" y="2062"/>
                        </a:lnTo>
                        <a:lnTo>
                          <a:pt x="807" y="2072"/>
                        </a:lnTo>
                        <a:lnTo>
                          <a:pt x="804" y="2083"/>
                        </a:lnTo>
                        <a:lnTo>
                          <a:pt x="788" y="2099"/>
                        </a:lnTo>
                        <a:lnTo>
                          <a:pt x="779" y="2114"/>
                        </a:lnTo>
                        <a:lnTo>
                          <a:pt x="768" y="2126"/>
                        </a:lnTo>
                        <a:lnTo>
                          <a:pt x="743" y="2136"/>
                        </a:lnTo>
                        <a:lnTo>
                          <a:pt x="735" y="2136"/>
                        </a:lnTo>
                        <a:lnTo>
                          <a:pt x="723" y="2144"/>
                        </a:lnTo>
                        <a:lnTo>
                          <a:pt x="716" y="2159"/>
                        </a:lnTo>
                        <a:lnTo>
                          <a:pt x="704" y="2170"/>
                        </a:lnTo>
                        <a:lnTo>
                          <a:pt x="693" y="2180"/>
                        </a:lnTo>
                        <a:lnTo>
                          <a:pt x="681" y="2184"/>
                        </a:lnTo>
                        <a:lnTo>
                          <a:pt x="681" y="2197"/>
                        </a:lnTo>
                        <a:lnTo>
                          <a:pt x="683" y="2223"/>
                        </a:lnTo>
                        <a:lnTo>
                          <a:pt x="696" y="2246"/>
                        </a:lnTo>
                        <a:lnTo>
                          <a:pt x="707" y="2261"/>
                        </a:lnTo>
                        <a:lnTo>
                          <a:pt x="714" y="2276"/>
                        </a:lnTo>
                        <a:lnTo>
                          <a:pt x="727" y="2308"/>
                        </a:lnTo>
                        <a:lnTo>
                          <a:pt x="730" y="2316"/>
                        </a:lnTo>
                        <a:lnTo>
                          <a:pt x="739" y="2330"/>
                        </a:lnTo>
                        <a:lnTo>
                          <a:pt x="739" y="2336"/>
                        </a:lnTo>
                        <a:lnTo>
                          <a:pt x="720" y="2324"/>
                        </a:lnTo>
                        <a:lnTo>
                          <a:pt x="714" y="2326"/>
                        </a:lnTo>
                        <a:lnTo>
                          <a:pt x="686" y="2315"/>
                        </a:lnTo>
                        <a:lnTo>
                          <a:pt x="687" y="2321"/>
                        </a:lnTo>
                        <a:lnTo>
                          <a:pt x="684" y="2325"/>
                        </a:lnTo>
                        <a:lnTo>
                          <a:pt x="671" y="2322"/>
                        </a:lnTo>
                        <a:lnTo>
                          <a:pt x="653" y="2314"/>
                        </a:lnTo>
                        <a:lnTo>
                          <a:pt x="634" y="2300"/>
                        </a:lnTo>
                        <a:lnTo>
                          <a:pt x="619" y="2298"/>
                        </a:lnTo>
                        <a:lnTo>
                          <a:pt x="610" y="2290"/>
                        </a:lnTo>
                        <a:lnTo>
                          <a:pt x="595" y="2304"/>
                        </a:lnTo>
                        <a:lnTo>
                          <a:pt x="587" y="2317"/>
                        </a:lnTo>
                        <a:lnTo>
                          <a:pt x="584" y="2297"/>
                        </a:lnTo>
                        <a:lnTo>
                          <a:pt x="599" y="2288"/>
                        </a:lnTo>
                        <a:lnTo>
                          <a:pt x="586" y="2283"/>
                        </a:lnTo>
                        <a:lnTo>
                          <a:pt x="570" y="2279"/>
                        </a:lnTo>
                        <a:lnTo>
                          <a:pt x="567" y="2266"/>
                        </a:lnTo>
                        <a:lnTo>
                          <a:pt x="549" y="2255"/>
                        </a:lnTo>
                        <a:lnTo>
                          <a:pt x="531" y="2246"/>
                        </a:lnTo>
                        <a:lnTo>
                          <a:pt x="520" y="2244"/>
                        </a:lnTo>
                        <a:lnTo>
                          <a:pt x="517" y="2265"/>
                        </a:lnTo>
                        <a:lnTo>
                          <a:pt x="509" y="2276"/>
                        </a:lnTo>
                        <a:lnTo>
                          <a:pt x="499" y="2279"/>
                        </a:lnTo>
                        <a:lnTo>
                          <a:pt x="501" y="2289"/>
                        </a:lnTo>
                        <a:lnTo>
                          <a:pt x="508" y="2304"/>
                        </a:lnTo>
                        <a:lnTo>
                          <a:pt x="516" y="2309"/>
                        </a:lnTo>
                        <a:lnTo>
                          <a:pt x="527" y="2332"/>
                        </a:lnTo>
                        <a:lnTo>
                          <a:pt x="543" y="2349"/>
                        </a:lnTo>
                        <a:lnTo>
                          <a:pt x="574" y="2336"/>
                        </a:lnTo>
                        <a:lnTo>
                          <a:pt x="580" y="2352"/>
                        </a:lnTo>
                        <a:lnTo>
                          <a:pt x="587" y="2399"/>
                        </a:lnTo>
                        <a:lnTo>
                          <a:pt x="592" y="2407"/>
                        </a:lnTo>
                        <a:lnTo>
                          <a:pt x="575" y="2400"/>
                        </a:lnTo>
                        <a:lnTo>
                          <a:pt x="560" y="2410"/>
                        </a:lnTo>
                        <a:lnTo>
                          <a:pt x="557" y="2417"/>
                        </a:lnTo>
                        <a:lnTo>
                          <a:pt x="557" y="2421"/>
                        </a:lnTo>
                        <a:lnTo>
                          <a:pt x="543" y="2413"/>
                        </a:lnTo>
                        <a:lnTo>
                          <a:pt x="533" y="2411"/>
                        </a:lnTo>
                        <a:lnTo>
                          <a:pt x="501" y="2395"/>
                        </a:lnTo>
                        <a:lnTo>
                          <a:pt x="484" y="2390"/>
                        </a:lnTo>
                        <a:lnTo>
                          <a:pt x="482" y="2383"/>
                        </a:lnTo>
                        <a:lnTo>
                          <a:pt x="474" y="2372"/>
                        </a:lnTo>
                        <a:lnTo>
                          <a:pt x="466" y="2364"/>
                        </a:lnTo>
                        <a:lnTo>
                          <a:pt x="460" y="2354"/>
                        </a:lnTo>
                        <a:lnTo>
                          <a:pt x="450" y="2348"/>
                        </a:lnTo>
                        <a:lnTo>
                          <a:pt x="444" y="2354"/>
                        </a:lnTo>
                        <a:lnTo>
                          <a:pt x="433" y="2356"/>
                        </a:lnTo>
                        <a:lnTo>
                          <a:pt x="415" y="2342"/>
                        </a:lnTo>
                        <a:lnTo>
                          <a:pt x="409" y="2330"/>
                        </a:lnTo>
                        <a:lnTo>
                          <a:pt x="396" y="2337"/>
                        </a:lnTo>
                        <a:lnTo>
                          <a:pt x="398" y="2329"/>
                        </a:lnTo>
                        <a:lnTo>
                          <a:pt x="408" y="2319"/>
                        </a:lnTo>
                        <a:lnTo>
                          <a:pt x="406" y="2299"/>
                        </a:lnTo>
                        <a:lnTo>
                          <a:pt x="408" y="2282"/>
                        </a:lnTo>
                        <a:lnTo>
                          <a:pt x="397" y="2272"/>
                        </a:lnTo>
                        <a:lnTo>
                          <a:pt x="398" y="2257"/>
                        </a:lnTo>
                        <a:lnTo>
                          <a:pt x="380" y="2222"/>
                        </a:lnTo>
                        <a:lnTo>
                          <a:pt x="385" y="2213"/>
                        </a:lnTo>
                        <a:lnTo>
                          <a:pt x="398" y="2209"/>
                        </a:lnTo>
                        <a:lnTo>
                          <a:pt x="402" y="2187"/>
                        </a:lnTo>
                        <a:lnTo>
                          <a:pt x="404" y="2161"/>
                        </a:lnTo>
                        <a:lnTo>
                          <a:pt x="402" y="2150"/>
                        </a:lnTo>
                        <a:lnTo>
                          <a:pt x="395" y="2142"/>
                        </a:lnTo>
                        <a:lnTo>
                          <a:pt x="388" y="2122"/>
                        </a:lnTo>
                        <a:lnTo>
                          <a:pt x="384" y="2116"/>
                        </a:lnTo>
                        <a:lnTo>
                          <a:pt x="368" y="2114"/>
                        </a:lnTo>
                        <a:lnTo>
                          <a:pt x="363" y="2101"/>
                        </a:lnTo>
                        <a:lnTo>
                          <a:pt x="353" y="2100"/>
                        </a:lnTo>
                        <a:lnTo>
                          <a:pt x="336" y="2094"/>
                        </a:lnTo>
                        <a:lnTo>
                          <a:pt x="336" y="2087"/>
                        </a:lnTo>
                        <a:lnTo>
                          <a:pt x="338" y="2078"/>
                        </a:lnTo>
                        <a:lnTo>
                          <a:pt x="336" y="2073"/>
                        </a:lnTo>
                        <a:lnTo>
                          <a:pt x="318" y="2071"/>
                        </a:lnTo>
                        <a:lnTo>
                          <a:pt x="285" y="2041"/>
                        </a:lnTo>
                        <a:lnTo>
                          <a:pt x="291" y="2035"/>
                        </a:lnTo>
                        <a:lnTo>
                          <a:pt x="275" y="2020"/>
                        </a:lnTo>
                        <a:lnTo>
                          <a:pt x="272" y="2004"/>
                        </a:lnTo>
                        <a:lnTo>
                          <a:pt x="264" y="1992"/>
                        </a:lnTo>
                        <a:lnTo>
                          <a:pt x="248" y="1987"/>
                        </a:lnTo>
                        <a:lnTo>
                          <a:pt x="256" y="1980"/>
                        </a:lnTo>
                        <a:lnTo>
                          <a:pt x="275" y="1976"/>
                        </a:lnTo>
                        <a:lnTo>
                          <a:pt x="295" y="1987"/>
                        </a:lnTo>
                        <a:lnTo>
                          <a:pt x="296" y="1999"/>
                        </a:lnTo>
                        <a:lnTo>
                          <a:pt x="306" y="2013"/>
                        </a:lnTo>
                        <a:lnTo>
                          <a:pt x="334" y="2033"/>
                        </a:lnTo>
                        <a:lnTo>
                          <a:pt x="338" y="2030"/>
                        </a:lnTo>
                        <a:lnTo>
                          <a:pt x="342" y="2020"/>
                        </a:lnTo>
                        <a:lnTo>
                          <a:pt x="350" y="2035"/>
                        </a:lnTo>
                        <a:lnTo>
                          <a:pt x="359" y="2042"/>
                        </a:lnTo>
                        <a:lnTo>
                          <a:pt x="365" y="2036"/>
                        </a:lnTo>
                        <a:lnTo>
                          <a:pt x="370" y="2039"/>
                        </a:lnTo>
                        <a:lnTo>
                          <a:pt x="375" y="2033"/>
                        </a:lnTo>
                        <a:lnTo>
                          <a:pt x="381" y="2034"/>
                        </a:lnTo>
                        <a:lnTo>
                          <a:pt x="384" y="2047"/>
                        </a:lnTo>
                        <a:lnTo>
                          <a:pt x="387" y="2060"/>
                        </a:lnTo>
                        <a:lnTo>
                          <a:pt x="402" y="2053"/>
                        </a:lnTo>
                        <a:lnTo>
                          <a:pt x="420" y="2058"/>
                        </a:lnTo>
                        <a:lnTo>
                          <a:pt x="427" y="2068"/>
                        </a:lnTo>
                        <a:lnTo>
                          <a:pt x="439" y="2068"/>
                        </a:lnTo>
                        <a:lnTo>
                          <a:pt x="447" y="2078"/>
                        </a:lnTo>
                        <a:lnTo>
                          <a:pt x="479" y="2087"/>
                        </a:lnTo>
                        <a:lnTo>
                          <a:pt x="494" y="2094"/>
                        </a:lnTo>
                        <a:lnTo>
                          <a:pt x="522" y="2096"/>
                        </a:lnTo>
                        <a:lnTo>
                          <a:pt x="548" y="2106"/>
                        </a:lnTo>
                        <a:lnTo>
                          <a:pt x="557" y="2116"/>
                        </a:lnTo>
                        <a:lnTo>
                          <a:pt x="576" y="2120"/>
                        </a:lnTo>
                        <a:lnTo>
                          <a:pt x="624" y="2123"/>
                        </a:lnTo>
                        <a:lnTo>
                          <a:pt x="637" y="2117"/>
                        </a:lnTo>
                        <a:lnTo>
                          <a:pt x="649" y="2115"/>
                        </a:lnTo>
                        <a:lnTo>
                          <a:pt x="693" y="2095"/>
                        </a:lnTo>
                        <a:lnTo>
                          <a:pt x="703" y="2085"/>
                        </a:lnTo>
                        <a:lnTo>
                          <a:pt x="712" y="2079"/>
                        </a:lnTo>
                        <a:lnTo>
                          <a:pt x="731" y="2057"/>
                        </a:lnTo>
                        <a:lnTo>
                          <a:pt x="752" y="2023"/>
                        </a:lnTo>
                        <a:lnTo>
                          <a:pt x="761" y="1998"/>
                        </a:lnTo>
                        <a:lnTo>
                          <a:pt x="764" y="1975"/>
                        </a:lnTo>
                        <a:lnTo>
                          <a:pt x="755" y="1970"/>
                        </a:lnTo>
                        <a:lnTo>
                          <a:pt x="752" y="1966"/>
                        </a:lnTo>
                        <a:lnTo>
                          <a:pt x="751" y="1944"/>
                        </a:lnTo>
                        <a:lnTo>
                          <a:pt x="746" y="1929"/>
                        </a:lnTo>
                        <a:lnTo>
                          <a:pt x="746" y="1907"/>
                        </a:lnTo>
                        <a:lnTo>
                          <a:pt x="735" y="1892"/>
                        </a:lnTo>
                        <a:lnTo>
                          <a:pt x="724" y="1886"/>
                        </a:lnTo>
                        <a:lnTo>
                          <a:pt x="718" y="1890"/>
                        </a:lnTo>
                        <a:lnTo>
                          <a:pt x="709" y="1883"/>
                        </a:lnTo>
                        <a:lnTo>
                          <a:pt x="710" y="1873"/>
                        </a:lnTo>
                        <a:lnTo>
                          <a:pt x="704" y="1869"/>
                        </a:lnTo>
                        <a:lnTo>
                          <a:pt x="693" y="1854"/>
                        </a:lnTo>
                        <a:lnTo>
                          <a:pt x="689" y="1845"/>
                        </a:lnTo>
                        <a:lnTo>
                          <a:pt x="683" y="1841"/>
                        </a:lnTo>
                        <a:lnTo>
                          <a:pt x="676" y="1835"/>
                        </a:lnTo>
                        <a:lnTo>
                          <a:pt x="681" y="1848"/>
                        </a:lnTo>
                        <a:lnTo>
                          <a:pt x="672" y="1851"/>
                        </a:lnTo>
                        <a:lnTo>
                          <a:pt x="650" y="1835"/>
                        </a:lnTo>
                        <a:lnTo>
                          <a:pt x="642" y="1825"/>
                        </a:lnTo>
                        <a:lnTo>
                          <a:pt x="639" y="1834"/>
                        </a:lnTo>
                        <a:lnTo>
                          <a:pt x="635" y="1827"/>
                        </a:lnTo>
                        <a:lnTo>
                          <a:pt x="632" y="1815"/>
                        </a:lnTo>
                        <a:lnTo>
                          <a:pt x="619" y="1800"/>
                        </a:lnTo>
                        <a:lnTo>
                          <a:pt x="627" y="1818"/>
                        </a:lnTo>
                        <a:lnTo>
                          <a:pt x="606" y="1811"/>
                        </a:lnTo>
                        <a:lnTo>
                          <a:pt x="599" y="1800"/>
                        </a:lnTo>
                        <a:lnTo>
                          <a:pt x="596" y="1793"/>
                        </a:lnTo>
                        <a:lnTo>
                          <a:pt x="589" y="1783"/>
                        </a:lnTo>
                        <a:lnTo>
                          <a:pt x="558" y="1751"/>
                        </a:lnTo>
                        <a:lnTo>
                          <a:pt x="542" y="1739"/>
                        </a:lnTo>
                        <a:lnTo>
                          <a:pt x="535" y="1730"/>
                        </a:lnTo>
                        <a:lnTo>
                          <a:pt x="509" y="1712"/>
                        </a:lnTo>
                        <a:lnTo>
                          <a:pt x="500" y="1701"/>
                        </a:lnTo>
                        <a:lnTo>
                          <a:pt x="466" y="1682"/>
                        </a:lnTo>
                        <a:lnTo>
                          <a:pt x="461" y="1678"/>
                        </a:lnTo>
                        <a:lnTo>
                          <a:pt x="427" y="1669"/>
                        </a:lnTo>
                        <a:lnTo>
                          <a:pt x="429" y="1675"/>
                        </a:lnTo>
                        <a:lnTo>
                          <a:pt x="427" y="1679"/>
                        </a:lnTo>
                        <a:lnTo>
                          <a:pt x="420" y="1679"/>
                        </a:lnTo>
                        <a:lnTo>
                          <a:pt x="403" y="1670"/>
                        </a:lnTo>
                        <a:lnTo>
                          <a:pt x="369" y="1662"/>
                        </a:lnTo>
                        <a:lnTo>
                          <a:pt x="354" y="1655"/>
                        </a:lnTo>
                        <a:lnTo>
                          <a:pt x="350" y="1662"/>
                        </a:lnTo>
                        <a:lnTo>
                          <a:pt x="333" y="1664"/>
                        </a:lnTo>
                        <a:lnTo>
                          <a:pt x="326" y="1670"/>
                        </a:lnTo>
                        <a:lnTo>
                          <a:pt x="322" y="1660"/>
                        </a:lnTo>
                        <a:lnTo>
                          <a:pt x="317" y="1657"/>
                        </a:lnTo>
                        <a:lnTo>
                          <a:pt x="320" y="1644"/>
                        </a:lnTo>
                        <a:lnTo>
                          <a:pt x="317" y="1641"/>
                        </a:lnTo>
                        <a:lnTo>
                          <a:pt x="299" y="1657"/>
                        </a:lnTo>
                        <a:lnTo>
                          <a:pt x="302" y="1637"/>
                        </a:lnTo>
                        <a:lnTo>
                          <a:pt x="293" y="1644"/>
                        </a:lnTo>
                        <a:lnTo>
                          <a:pt x="294" y="1633"/>
                        </a:lnTo>
                        <a:lnTo>
                          <a:pt x="291" y="1632"/>
                        </a:lnTo>
                        <a:lnTo>
                          <a:pt x="283" y="1632"/>
                        </a:lnTo>
                        <a:lnTo>
                          <a:pt x="268" y="1638"/>
                        </a:lnTo>
                        <a:lnTo>
                          <a:pt x="271" y="1631"/>
                        </a:lnTo>
                        <a:lnTo>
                          <a:pt x="269" y="1625"/>
                        </a:lnTo>
                        <a:lnTo>
                          <a:pt x="267" y="1617"/>
                        </a:lnTo>
                        <a:lnTo>
                          <a:pt x="251" y="1619"/>
                        </a:lnTo>
                        <a:lnTo>
                          <a:pt x="257" y="1589"/>
                        </a:lnTo>
                        <a:lnTo>
                          <a:pt x="261" y="1603"/>
                        </a:lnTo>
                        <a:lnTo>
                          <a:pt x="267" y="1606"/>
                        </a:lnTo>
                        <a:lnTo>
                          <a:pt x="273" y="1606"/>
                        </a:lnTo>
                        <a:lnTo>
                          <a:pt x="279" y="1614"/>
                        </a:lnTo>
                        <a:lnTo>
                          <a:pt x="290" y="1612"/>
                        </a:lnTo>
                        <a:lnTo>
                          <a:pt x="299" y="1616"/>
                        </a:lnTo>
                        <a:lnTo>
                          <a:pt x="307" y="1600"/>
                        </a:lnTo>
                        <a:lnTo>
                          <a:pt x="309" y="1589"/>
                        </a:lnTo>
                        <a:lnTo>
                          <a:pt x="290" y="1583"/>
                        </a:lnTo>
                        <a:lnTo>
                          <a:pt x="283" y="1585"/>
                        </a:lnTo>
                        <a:lnTo>
                          <a:pt x="275" y="1579"/>
                        </a:lnTo>
                        <a:lnTo>
                          <a:pt x="274" y="1573"/>
                        </a:lnTo>
                        <a:lnTo>
                          <a:pt x="259" y="1565"/>
                        </a:lnTo>
                        <a:lnTo>
                          <a:pt x="242" y="1558"/>
                        </a:lnTo>
                        <a:lnTo>
                          <a:pt x="248" y="1567"/>
                        </a:lnTo>
                        <a:lnTo>
                          <a:pt x="247" y="1582"/>
                        </a:lnTo>
                        <a:lnTo>
                          <a:pt x="239" y="1583"/>
                        </a:lnTo>
                        <a:lnTo>
                          <a:pt x="235" y="1579"/>
                        </a:lnTo>
                        <a:lnTo>
                          <a:pt x="232" y="1587"/>
                        </a:lnTo>
                        <a:lnTo>
                          <a:pt x="235" y="1598"/>
                        </a:lnTo>
                        <a:lnTo>
                          <a:pt x="231" y="1604"/>
                        </a:lnTo>
                        <a:lnTo>
                          <a:pt x="221" y="1604"/>
                        </a:lnTo>
                        <a:lnTo>
                          <a:pt x="210" y="1593"/>
                        </a:lnTo>
                        <a:lnTo>
                          <a:pt x="191" y="1583"/>
                        </a:lnTo>
                        <a:lnTo>
                          <a:pt x="189" y="1584"/>
                        </a:lnTo>
                        <a:lnTo>
                          <a:pt x="192" y="1589"/>
                        </a:lnTo>
                        <a:lnTo>
                          <a:pt x="191" y="1600"/>
                        </a:lnTo>
                        <a:lnTo>
                          <a:pt x="187" y="1612"/>
                        </a:lnTo>
                        <a:lnTo>
                          <a:pt x="185" y="1617"/>
                        </a:lnTo>
                        <a:lnTo>
                          <a:pt x="172" y="1621"/>
                        </a:lnTo>
                        <a:lnTo>
                          <a:pt x="150" y="1606"/>
                        </a:lnTo>
                        <a:lnTo>
                          <a:pt x="144" y="1637"/>
                        </a:lnTo>
                        <a:lnTo>
                          <a:pt x="138" y="1644"/>
                        </a:lnTo>
                        <a:lnTo>
                          <a:pt x="106" y="1664"/>
                        </a:lnTo>
                        <a:lnTo>
                          <a:pt x="103" y="1669"/>
                        </a:lnTo>
                        <a:lnTo>
                          <a:pt x="102" y="1680"/>
                        </a:lnTo>
                        <a:lnTo>
                          <a:pt x="101" y="1684"/>
                        </a:lnTo>
                        <a:lnTo>
                          <a:pt x="92" y="1692"/>
                        </a:lnTo>
                        <a:lnTo>
                          <a:pt x="90" y="1694"/>
                        </a:lnTo>
                        <a:lnTo>
                          <a:pt x="59" y="1721"/>
                        </a:lnTo>
                        <a:lnTo>
                          <a:pt x="69" y="1725"/>
                        </a:lnTo>
                        <a:lnTo>
                          <a:pt x="69" y="1730"/>
                        </a:lnTo>
                        <a:lnTo>
                          <a:pt x="58" y="1759"/>
                        </a:lnTo>
                        <a:lnTo>
                          <a:pt x="57" y="1768"/>
                        </a:lnTo>
                        <a:lnTo>
                          <a:pt x="59" y="1794"/>
                        </a:lnTo>
                        <a:lnTo>
                          <a:pt x="64" y="1814"/>
                        </a:lnTo>
                        <a:lnTo>
                          <a:pt x="69" y="1821"/>
                        </a:lnTo>
                        <a:lnTo>
                          <a:pt x="79" y="1827"/>
                        </a:lnTo>
                        <a:lnTo>
                          <a:pt x="92" y="1830"/>
                        </a:lnTo>
                        <a:lnTo>
                          <a:pt x="107" y="1837"/>
                        </a:lnTo>
                        <a:lnTo>
                          <a:pt x="127" y="1875"/>
                        </a:lnTo>
                        <a:lnTo>
                          <a:pt x="137" y="1890"/>
                        </a:lnTo>
                        <a:lnTo>
                          <a:pt x="140" y="1912"/>
                        </a:lnTo>
                        <a:lnTo>
                          <a:pt x="122" y="1949"/>
                        </a:lnTo>
                        <a:lnTo>
                          <a:pt x="103" y="1992"/>
                        </a:lnTo>
                        <a:lnTo>
                          <a:pt x="97" y="2005"/>
                        </a:lnTo>
                        <a:lnTo>
                          <a:pt x="99" y="2026"/>
                        </a:lnTo>
                        <a:lnTo>
                          <a:pt x="108" y="2046"/>
                        </a:lnTo>
                        <a:lnTo>
                          <a:pt x="116" y="2063"/>
                        </a:lnTo>
                        <a:lnTo>
                          <a:pt x="118" y="2082"/>
                        </a:lnTo>
                        <a:lnTo>
                          <a:pt x="133" y="2109"/>
                        </a:lnTo>
                        <a:lnTo>
                          <a:pt x="144" y="2143"/>
                        </a:lnTo>
                        <a:lnTo>
                          <a:pt x="146" y="2160"/>
                        </a:lnTo>
                        <a:lnTo>
                          <a:pt x="148" y="2175"/>
                        </a:lnTo>
                        <a:lnTo>
                          <a:pt x="134" y="2187"/>
                        </a:lnTo>
                        <a:lnTo>
                          <a:pt x="132" y="2209"/>
                        </a:lnTo>
                        <a:lnTo>
                          <a:pt x="127" y="2225"/>
                        </a:lnTo>
                        <a:lnTo>
                          <a:pt x="130" y="2235"/>
                        </a:lnTo>
                        <a:lnTo>
                          <a:pt x="132" y="2254"/>
                        </a:lnTo>
                        <a:lnTo>
                          <a:pt x="126" y="2265"/>
                        </a:lnTo>
                        <a:lnTo>
                          <a:pt x="127" y="2286"/>
                        </a:lnTo>
                        <a:lnTo>
                          <a:pt x="143" y="2289"/>
                        </a:lnTo>
                        <a:lnTo>
                          <a:pt x="151" y="2306"/>
                        </a:lnTo>
                        <a:lnTo>
                          <a:pt x="149" y="2327"/>
                        </a:lnTo>
                        <a:lnTo>
                          <a:pt x="156" y="2343"/>
                        </a:lnTo>
                        <a:lnTo>
                          <a:pt x="172" y="2358"/>
                        </a:lnTo>
                        <a:lnTo>
                          <a:pt x="173" y="2378"/>
                        </a:lnTo>
                        <a:lnTo>
                          <a:pt x="167" y="2396"/>
                        </a:lnTo>
                        <a:lnTo>
                          <a:pt x="157" y="2411"/>
                        </a:lnTo>
                        <a:lnTo>
                          <a:pt x="153" y="2427"/>
                        </a:lnTo>
                        <a:lnTo>
                          <a:pt x="159" y="2445"/>
                        </a:lnTo>
                        <a:lnTo>
                          <a:pt x="167" y="2458"/>
                        </a:lnTo>
                        <a:lnTo>
                          <a:pt x="197" y="2481"/>
                        </a:lnTo>
                        <a:lnTo>
                          <a:pt x="202" y="2498"/>
                        </a:lnTo>
                        <a:lnTo>
                          <a:pt x="212" y="2515"/>
                        </a:lnTo>
                        <a:lnTo>
                          <a:pt x="216" y="2509"/>
                        </a:lnTo>
                        <a:lnTo>
                          <a:pt x="215" y="2548"/>
                        </a:lnTo>
                        <a:lnTo>
                          <a:pt x="199" y="2586"/>
                        </a:lnTo>
                        <a:lnTo>
                          <a:pt x="186" y="2606"/>
                        </a:lnTo>
                        <a:lnTo>
                          <a:pt x="134" y="2675"/>
                        </a:lnTo>
                        <a:lnTo>
                          <a:pt x="96" y="2718"/>
                        </a:lnTo>
                        <a:lnTo>
                          <a:pt x="46" y="2767"/>
                        </a:lnTo>
                        <a:lnTo>
                          <a:pt x="10" y="2794"/>
                        </a:lnTo>
                        <a:lnTo>
                          <a:pt x="33" y="2798"/>
                        </a:lnTo>
                        <a:lnTo>
                          <a:pt x="44" y="2785"/>
                        </a:lnTo>
                        <a:lnTo>
                          <a:pt x="63" y="2776"/>
                        </a:lnTo>
                        <a:lnTo>
                          <a:pt x="64" y="2783"/>
                        </a:lnTo>
                        <a:lnTo>
                          <a:pt x="63" y="2788"/>
                        </a:lnTo>
                        <a:lnTo>
                          <a:pt x="63" y="2805"/>
                        </a:lnTo>
                        <a:lnTo>
                          <a:pt x="58" y="2798"/>
                        </a:lnTo>
                        <a:lnTo>
                          <a:pt x="54" y="2797"/>
                        </a:lnTo>
                        <a:lnTo>
                          <a:pt x="54" y="2811"/>
                        </a:lnTo>
                        <a:lnTo>
                          <a:pt x="59" y="2820"/>
                        </a:lnTo>
                        <a:lnTo>
                          <a:pt x="64" y="2821"/>
                        </a:lnTo>
                        <a:lnTo>
                          <a:pt x="70" y="2824"/>
                        </a:lnTo>
                        <a:lnTo>
                          <a:pt x="87" y="2838"/>
                        </a:lnTo>
                        <a:lnTo>
                          <a:pt x="99" y="2838"/>
                        </a:lnTo>
                        <a:lnTo>
                          <a:pt x="117" y="2833"/>
                        </a:lnTo>
                        <a:lnTo>
                          <a:pt x="128" y="2837"/>
                        </a:lnTo>
                        <a:lnTo>
                          <a:pt x="137" y="2844"/>
                        </a:lnTo>
                        <a:lnTo>
                          <a:pt x="137" y="2854"/>
                        </a:lnTo>
                        <a:lnTo>
                          <a:pt x="143" y="2858"/>
                        </a:lnTo>
                        <a:lnTo>
                          <a:pt x="150" y="2859"/>
                        </a:lnTo>
                        <a:lnTo>
                          <a:pt x="151" y="2863"/>
                        </a:lnTo>
                        <a:lnTo>
                          <a:pt x="145" y="2868"/>
                        </a:lnTo>
                        <a:lnTo>
                          <a:pt x="137" y="2868"/>
                        </a:lnTo>
                        <a:lnTo>
                          <a:pt x="110" y="2860"/>
                        </a:lnTo>
                        <a:lnTo>
                          <a:pt x="91" y="2859"/>
                        </a:lnTo>
                        <a:lnTo>
                          <a:pt x="85" y="2865"/>
                        </a:lnTo>
                        <a:lnTo>
                          <a:pt x="83" y="2873"/>
                        </a:lnTo>
                        <a:lnTo>
                          <a:pt x="68" y="2881"/>
                        </a:lnTo>
                        <a:lnTo>
                          <a:pt x="60" y="2876"/>
                        </a:lnTo>
                        <a:lnTo>
                          <a:pt x="54" y="2879"/>
                        </a:lnTo>
                        <a:lnTo>
                          <a:pt x="51" y="2889"/>
                        </a:lnTo>
                        <a:lnTo>
                          <a:pt x="44" y="2892"/>
                        </a:lnTo>
                        <a:lnTo>
                          <a:pt x="38" y="2886"/>
                        </a:lnTo>
                        <a:lnTo>
                          <a:pt x="31" y="2883"/>
                        </a:lnTo>
                        <a:lnTo>
                          <a:pt x="27" y="2891"/>
                        </a:lnTo>
                        <a:lnTo>
                          <a:pt x="30" y="2907"/>
                        </a:lnTo>
                        <a:lnTo>
                          <a:pt x="37" y="2908"/>
                        </a:lnTo>
                        <a:lnTo>
                          <a:pt x="42" y="2914"/>
                        </a:lnTo>
                        <a:lnTo>
                          <a:pt x="44" y="2922"/>
                        </a:lnTo>
                        <a:lnTo>
                          <a:pt x="41" y="2930"/>
                        </a:lnTo>
                        <a:lnTo>
                          <a:pt x="30" y="2941"/>
                        </a:lnTo>
                        <a:lnTo>
                          <a:pt x="21" y="2956"/>
                        </a:lnTo>
                        <a:lnTo>
                          <a:pt x="15" y="2970"/>
                        </a:lnTo>
                        <a:lnTo>
                          <a:pt x="19" y="2983"/>
                        </a:lnTo>
                        <a:lnTo>
                          <a:pt x="16" y="3002"/>
                        </a:lnTo>
                        <a:lnTo>
                          <a:pt x="17" y="3008"/>
                        </a:lnTo>
                        <a:lnTo>
                          <a:pt x="20" y="3013"/>
                        </a:lnTo>
                        <a:lnTo>
                          <a:pt x="20" y="3019"/>
                        </a:lnTo>
                        <a:lnTo>
                          <a:pt x="17" y="3026"/>
                        </a:lnTo>
                        <a:lnTo>
                          <a:pt x="9" y="3035"/>
                        </a:lnTo>
                        <a:lnTo>
                          <a:pt x="4" y="3038"/>
                        </a:lnTo>
                        <a:lnTo>
                          <a:pt x="1" y="3046"/>
                        </a:lnTo>
                        <a:lnTo>
                          <a:pt x="5" y="3053"/>
                        </a:lnTo>
                        <a:lnTo>
                          <a:pt x="14" y="3054"/>
                        </a:lnTo>
                        <a:lnTo>
                          <a:pt x="27" y="3053"/>
                        </a:lnTo>
                        <a:lnTo>
                          <a:pt x="38" y="3070"/>
                        </a:lnTo>
                        <a:lnTo>
                          <a:pt x="37" y="3086"/>
                        </a:lnTo>
                        <a:lnTo>
                          <a:pt x="27" y="3086"/>
                        </a:lnTo>
                        <a:lnTo>
                          <a:pt x="19" y="3075"/>
                        </a:lnTo>
                        <a:lnTo>
                          <a:pt x="10" y="3068"/>
                        </a:lnTo>
                        <a:lnTo>
                          <a:pt x="10" y="3083"/>
                        </a:lnTo>
                        <a:lnTo>
                          <a:pt x="6" y="3090"/>
                        </a:lnTo>
                        <a:lnTo>
                          <a:pt x="0" y="3105"/>
                        </a:lnTo>
                        <a:lnTo>
                          <a:pt x="1" y="3112"/>
                        </a:lnTo>
                        <a:lnTo>
                          <a:pt x="6" y="3118"/>
                        </a:lnTo>
                        <a:lnTo>
                          <a:pt x="10" y="3126"/>
                        </a:lnTo>
                        <a:lnTo>
                          <a:pt x="17" y="3129"/>
                        </a:lnTo>
                        <a:lnTo>
                          <a:pt x="21" y="3137"/>
                        </a:lnTo>
                        <a:lnTo>
                          <a:pt x="22" y="3145"/>
                        </a:lnTo>
                        <a:lnTo>
                          <a:pt x="17" y="3169"/>
                        </a:lnTo>
                        <a:lnTo>
                          <a:pt x="14" y="3176"/>
                        </a:lnTo>
                        <a:lnTo>
                          <a:pt x="22" y="3179"/>
                        </a:lnTo>
                        <a:lnTo>
                          <a:pt x="29" y="3183"/>
                        </a:lnTo>
                        <a:lnTo>
                          <a:pt x="29" y="3191"/>
                        </a:lnTo>
                        <a:lnTo>
                          <a:pt x="42" y="3213"/>
                        </a:lnTo>
                        <a:lnTo>
                          <a:pt x="44" y="3222"/>
                        </a:lnTo>
                        <a:lnTo>
                          <a:pt x="48" y="3229"/>
                        </a:lnTo>
                        <a:lnTo>
                          <a:pt x="48" y="3245"/>
                        </a:lnTo>
                        <a:lnTo>
                          <a:pt x="47" y="3252"/>
                        </a:lnTo>
                        <a:lnTo>
                          <a:pt x="49" y="3260"/>
                        </a:lnTo>
                        <a:lnTo>
                          <a:pt x="65" y="3257"/>
                        </a:lnTo>
                        <a:lnTo>
                          <a:pt x="73" y="3261"/>
                        </a:lnTo>
                        <a:lnTo>
                          <a:pt x="76" y="3268"/>
                        </a:lnTo>
                        <a:lnTo>
                          <a:pt x="92" y="3266"/>
                        </a:lnTo>
                        <a:lnTo>
                          <a:pt x="101" y="3267"/>
                        </a:lnTo>
                        <a:lnTo>
                          <a:pt x="113" y="3276"/>
                        </a:lnTo>
                        <a:lnTo>
                          <a:pt x="111" y="3296"/>
                        </a:lnTo>
                        <a:lnTo>
                          <a:pt x="126" y="3288"/>
                        </a:lnTo>
                        <a:lnTo>
                          <a:pt x="133" y="3287"/>
                        </a:lnTo>
                        <a:lnTo>
                          <a:pt x="139" y="3282"/>
                        </a:lnTo>
                        <a:lnTo>
                          <a:pt x="155" y="3280"/>
                        </a:lnTo>
                        <a:lnTo>
                          <a:pt x="162" y="3282"/>
                        </a:lnTo>
                        <a:lnTo>
                          <a:pt x="170" y="3287"/>
                        </a:lnTo>
                        <a:lnTo>
                          <a:pt x="176" y="3292"/>
                        </a:lnTo>
                        <a:lnTo>
                          <a:pt x="185" y="3305"/>
                        </a:lnTo>
                        <a:lnTo>
                          <a:pt x="193" y="3306"/>
                        </a:lnTo>
                        <a:lnTo>
                          <a:pt x="194" y="3317"/>
                        </a:lnTo>
                        <a:lnTo>
                          <a:pt x="192" y="3325"/>
                        </a:lnTo>
                        <a:lnTo>
                          <a:pt x="192" y="3333"/>
                        </a:lnTo>
                        <a:lnTo>
                          <a:pt x="197" y="3341"/>
                        </a:lnTo>
                        <a:lnTo>
                          <a:pt x="199" y="3348"/>
                        </a:lnTo>
                        <a:lnTo>
                          <a:pt x="198" y="3355"/>
                        </a:lnTo>
                        <a:lnTo>
                          <a:pt x="196" y="3363"/>
                        </a:lnTo>
                        <a:lnTo>
                          <a:pt x="189" y="3368"/>
                        </a:lnTo>
                        <a:lnTo>
                          <a:pt x="187" y="3376"/>
                        </a:lnTo>
                        <a:lnTo>
                          <a:pt x="189" y="3384"/>
                        </a:lnTo>
                        <a:lnTo>
                          <a:pt x="202" y="3395"/>
                        </a:lnTo>
                        <a:lnTo>
                          <a:pt x="205" y="3411"/>
                        </a:lnTo>
                        <a:lnTo>
                          <a:pt x="216" y="3433"/>
                        </a:lnTo>
                        <a:lnTo>
                          <a:pt x="221" y="3439"/>
                        </a:lnTo>
                        <a:lnTo>
                          <a:pt x="236" y="3448"/>
                        </a:lnTo>
                        <a:lnTo>
                          <a:pt x="241" y="3454"/>
                        </a:lnTo>
                        <a:lnTo>
                          <a:pt x="242" y="3462"/>
                        </a:lnTo>
                        <a:lnTo>
                          <a:pt x="241" y="3470"/>
                        </a:lnTo>
                        <a:lnTo>
                          <a:pt x="245" y="3477"/>
                        </a:lnTo>
                        <a:lnTo>
                          <a:pt x="268" y="3475"/>
                        </a:lnTo>
                        <a:lnTo>
                          <a:pt x="274" y="3479"/>
                        </a:lnTo>
                        <a:lnTo>
                          <a:pt x="282" y="3482"/>
                        </a:lnTo>
                        <a:lnTo>
                          <a:pt x="279" y="3489"/>
                        </a:lnTo>
                        <a:lnTo>
                          <a:pt x="284" y="3495"/>
                        </a:lnTo>
                        <a:lnTo>
                          <a:pt x="294" y="3497"/>
                        </a:lnTo>
                        <a:lnTo>
                          <a:pt x="295" y="3510"/>
                        </a:lnTo>
                        <a:lnTo>
                          <a:pt x="288" y="3515"/>
                        </a:lnTo>
                        <a:lnTo>
                          <a:pt x="284" y="3522"/>
                        </a:lnTo>
                        <a:lnTo>
                          <a:pt x="272" y="3532"/>
                        </a:lnTo>
                        <a:lnTo>
                          <a:pt x="264" y="3537"/>
                        </a:lnTo>
                        <a:lnTo>
                          <a:pt x="247" y="3535"/>
                        </a:lnTo>
                        <a:lnTo>
                          <a:pt x="235" y="3524"/>
                        </a:lnTo>
                        <a:lnTo>
                          <a:pt x="228" y="3524"/>
                        </a:lnTo>
                        <a:lnTo>
                          <a:pt x="220" y="3527"/>
                        </a:lnTo>
                        <a:lnTo>
                          <a:pt x="219" y="3535"/>
                        </a:lnTo>
                        <a:lnTo>
                          <a:pt x="212" y="3538"/>
                        </a:lnTo>
                        <a:lnTo>
                          <a:pt x="213" y="3546"/>
                        </a:lnTo>
                        <a:lnTo>
                          <a:pt x="224" y="3557"/>
                        </a:lnTo>
                        <a:lnTo>
                          <a:pt x="226" y="3564"/>
                        </a:lnTo>
                        <a:lnTo>
                          <a:pt x="224" y="3573"/>
                        </a:lnTo>
                        <a:lnTo>
                          <a:pt x="229" y="3578"/>
                        </a:lnTo>
                        <a:lnTo>
                          <a:pt x="228" y="3586"/>
                        </a:lnTo>
                        <a:lnTo>
                          <a:pt x="235" y="3590"/>
                        </a:lnTo>
                        <a:lnTo>
                          <a:pt x="237" y="3597"/>
                        </a:lnTo>
                        <a:lnTo>
                          <a:pt x="236" y="3606"/>
                        </a:lnTo>
                        <a:lnTo>
                          <a:pt x="241" y="3627"/>
                        </a:lnTo>
                        <a:lnTo>
                          <a:pt x="247" y="3633"/>
                        </a:lnTo>
                        <a:lnTo>
                          <a:pt x="255" y="3635"/>
                        </a:lnTo>
                        <a:lnTo>
                          <a:pt x="262" y="3632"/>
                        </a:lnTo>
                        <a:lnTo>
                          <a:pt x="267" y="3626"/>
                        </a:lnTo>
                        <a:lnTo>
                          <a:pt x="269" y="3617"/>
                        </a:lnTo>
                        <a:lnTo>
                          <a:pt x="277" y="3612"/>
                        </a:lnTo>
                        <a:lnTo>
                          <a:pt x="293" y="3616"/>
                        </a:lnTo>
                        <a:lnTo>
                          <a:pt x="301" y="3616"/>
                        </a:lnTo>
                        <a:lnTo>
                          <a:pt x="317" y="3611"/>
                        </a:lnTo>
                        <a:lnTo>
                          <a:pt x="333" y="3613"/>
                        </a:lnTo>
                        <a:lnTo>
                          <a:pt x="349" y="3610"/>
                        </a:lnTo>
                        <a:lnTo>
                          <a:pt x="361" y="3619"/>
                        </a:lnTo>
                        <a:lnTo>
                          <a:pt x="366" y="3627"/>
                        </a:lnTo>
                        <a:lnTo>
                          <a:pt x="366" y="3635"/>
                        </a:lnTo>
                        <a:lnTo>
                          <a:pt x="379" y="3647"/>
                        </a:lnTo>
                        <a:lnTo>
                          <a:pt x="384" y="3653"/>
                        </a:lnTo>
                        <a:lnTo>
                          <a:pt x="384" y="3662"/>
                        </a:lnTo>
                        <a:lnTo>
                          <a:pt x="375" y="3666"/>
                        </a:lnTo>
                        <a:lnTo>
                          <a:pt x="368" y="3667"/>
                        </a:lnTo>
                        <a:lnTo>
                          <a:pt x="371" y="3675"/>
                        </a:lnTo>
                        <a:lnTo>
                          <a:pt x="371" y="3682"/>
                        </a:lnTo>
                        <a:lnTo>
                          <a:pt x="375" y="3698"/>
                        </a:lnTo>
                        <a:lnTo>
                          <a:pt x="382" y="3703"/>
                        </a:lnTo>
                        <a:lnTo>
                          <a:pt x="390" y="3705"/>
                        </a:lnTo>
                        <a:lnTo>
                          <a:pt x="406" y="3710"/>
                        </a:lnTo>
                        <a:lnTo>
                          <a:pt x="413" y="3707"/>
                        </a:lnTo>
                        <a:lnTo>
                          <a:pt x="422" y="3707"/>
                        </a:lnTo>
                        <a:lnTo>
                          <a:pt x="424" y="3715"/>
                        </a:lnTo>
                        <a:lnTo>
                          <a:pt x="435" y="3726"/>
                        </a:lnTo>
                        <a:lnTo>
                          <a:pt x="442" y="3753"/>
                        </a:lnTo>
                        <a:lnTo>
                          <a:pt x="440" y="3762"/>
                        </a:lnTo>
                        <a:lnTo>
                          <a:pt x="442" y="3769"/>
                        </a:lnTo>
                        <a:lnTo>
                          <a:pt x="449" y="3774"/>
                        </a:lnTo>
                        <a:lnTo>
                          <a:pt x="456" y="3779"/>
                        </a:lnTo>
                        <a:lnTo>
                          <a:pt x="463" y="3775"/>
                        </a:lnTo>
                        <a:lnTo>
                          <a:pt x="471" y="3774"/>
                        </a:lnTo>
                        <a:lnTo>
                          <a:pt x="479" y="3775"/>
                        </a:lnTo>
                        <a:lnTo>
                          <a:pt x="490" y="3787"/>
                        </a:lnTo>
                        <a:lnTo>
                          <a:pt x="499" y="3784"/>
                        </a:lnTo>
                        <a:lnTo>
                          <a:pt x="506" y="3788"/>
                        </a:lnTo>
                        <a:lnTo>
                          <a:pt x="531" y="3780"/>
                        </a:lnTo>
                        <a:lnTo>
                          <a:pt x="546" y="3773"/>
                        </a:lnTo>
                        <a:lnTo>
                          <a:pt x="553" y="3775"/>
                        </a:lnTo>
                        <a:lnTo>
                          <a:pt x="558" y="3782"/>
                        </a:lnTo>
                        <a:lnTo>
                          <a:pt x="569" y="3804"/>
                        </a:lnTo>
                        <a:lnTo>
                          <a:pt x="580" y="3816"/>
                        </a:lnTo>
                        <a:lnTo>
                          <a:pt x="587" y="3816"/>
                        </a:lnTo>
                        <a:lnTo>
                          <a:pt x="591" y="3809"/>
                        </a:lnTo>
                        <a:lnTo>
                          <a:pt x="600" y="3809"/>
                        </a:lnTo>
                        <a:lnTo>
                          <a:pt x="605" y="3815"/>
                        </a:lnTo>
                        <a:lnTo>
                          <a:pt x="612" y="3816"/>
                        </a:lnTo>
                        <a:lnTo>
                          <a:pt x="619" y="3820"/>
                        </a:lnTo>
                        <a:lnTo>
                          <a:pt x="626" y="3826"/>
                        </a:lnTo>
                        <a:lnTo>
                          <a:pt x="642" y="3825"/>
                        </a:lnTo>
                        <a:lnTo>
                          <a:pt x="655" y="3834"/>
                        </a:lnTo>
                        <a:lnTo>
                          <a:pt x="662" y="3833"/>
                        </a:lnTo>
                        <a:lnTo>
                          <a:pt x="675" y="3844"/>
                        </a:lnTo>
                        <a:lnTo>
                          <a:pt x="683" y="3845"/>
                        </a:lnTo>
                        <a:lnTo>
                          <a:pt x="692" y="3845"/>
                        </a:lnTo>
                        <a:lnTo>
                          <a:pt x="698" y="3850"/>
                        </a:lnTo>
                        <a:lnTo>
                          <a:pt x="691" y="3854"/>
                        </a:lnTo>
                        <a:lnTo>
                          <a:pt x="699" y="3877"/>
                        </a:lnTo>
                        <a:lnTo>
                          <a:pt x="691" y="3892"/>
                        </a:lnTo>
                        <a:lnTo>
                          <a:pt x="675" y="3896"/>
                        </a:lnTo>
                        <a:lnTo>
                          <a:pt x="680" y="3902"/>
                        </a:lnTo>
                        <a:lnTo>
                          <a:pt x="688" y="3904"/>
                        </a:lnTo>
                        <a:lnTo>
                          <a:pt x="693" y="3911"/>
                        </a:lnTo>
                        <a:lnTo>
                          <a:pt x="676" y="3916"/>
                        </a:lnTo>
                        <a:lnTo>
                          <a:pt x="673" y="3922"/>
                        </a:lnTo>
                        <a:lnTo>
                          <a:pt x="672" y="3930"/>
                        </a:lnTo>
                        <a:lnTo>
                          <a:pt x="677" y="3936"/>
                        </a:lnTo>
                        <a:lnTo>
                          <a:pt x="680" y="3944"/>
                        </a:lnTo>
                        <a:lnTo>
                          <a:pt x="678" y="3952"/>
                        </a:lnTo>
                        <a:lnTo>
                          <a:pt x="686" y="3956"/>
                        </a:lnTo>
                        <a:lnTo>
                          <a:pt x="682" y="3972"/>
                        </a:lnTo>
                        <a:lnTo>
                          <a:pt x="675" y="3995"/>
                        </a:lnTo>
                        <a:lnTo>
                          <a:pt x="667" y="3999"/>
                        </a:lnTo>
                        <a:lnTo>
                          <a:pt x="653" y="3995"/>
                        </a:lnTo>
                        <a:lnTo>
                          <a:pt x="644" y="3997"/>
                        </a:lnTo>
                        <a:lnTo>
                          <a:pt x="629" y="3989"/>
                        </a:lnTo>
                        <a:lnTo>
                          <a:pt x="623" y="3994"/>
                        </a:lnTo>
                        <a:lnTo>
                          <a:pt x="614" y="4008"/>
                        </a:lnTo>
                        <a:lnTo>
                          <a:pt x="600" y="4014"/>
                        </a:lnTo>
                        <a:lnTo>
                          <a:pt x="592" y="4029"/>
                        </a:lnTo>
                        <a:lnTo>
                          <a:pt x="594" y="4037"/>
                        </a:lnTo>
                        <a:lnTo>
                          <a:pt x="594" y="4052"/>
                        </a:lnTo>
                        <a:lnTo>
                          <a:pt x="607" y="4047"/>
                        </a:lnTo>
                        <a:lnTo>
                          <a:pt x="617" y="4048"/>
                        </a:lnTo>
                        <a:lnTo>
                          <a:pt x="623" y="4043"/>
                        </a:lnTo>
                        <a:lnTo>
                          <a:pt x="638" y="4041"/>
                        </a:lnTo>
                        <a:lnTo>
                          <a:pt x="644" y="4043"/>
                        </a:lnTo>
                        <a:lnTo>
                          <a:pt x="645" y="4049"/>
                        </a:lnTo>
                        <a:lnTo>
                          <a:pt x="653" y="4051"/>
                        </a:lnTo>
                        <a:lnTo>
                          <a:pt x="655" y="4053"/>
                        </a:lnTo>
                        <a:lnTo>
                          <a:pt x="654" y="4058"/>
                        </a:lnTo>
                        <a:lnTo>
                          <a:pt x="644" y="4058"/>
                        </a:lnTo>
                        <a:lnTo>
                          <a:pt x="632" y="4063"/>
                        </a:lnTo>
                        <a:lnTo>
                          <a:pt x="616" y="4073"/>
                        </a:lnTo>
                        <a:lnTo>
                          <a:pt x="605" y="4076"/>
                        </a:lnTo>
                        <a:lnTo>
                          <a:pt x="605" y="4081"/>
                        </a:lnTo>
                        <a:lnTo>
                          <a:pt x="610" y="4086"/>
                        </a:lnTo>
                        <a:lnTo>
                          <a:pt x="605" y="4089"/>
                        </a:lnTo>
                        <a:lnTo>
                          <a:pt x="594" y="4086"/>
                        </a:lnTo>
                        <a:lnTo>
                          <a:pt x="569" y="4090"/>
                        </a:lnTo>
                        <a:lnTo>
                          <a:pt x="567" y="4100"/>
                        </a:lnTo>
                        <a:lnTo>
                          <a:pt x="575" y="4107"/>
                        </a:lnTo>
                        <a:lnTo>
                          <a:pt x="587" y="4112"/>
                        </a:lnTo>
                        <a:lnTo>
                          <a:pt x="597" y="4126"/>
                        </a:lnTo>
                        <a:lnTo>
                          <a:pt x="607" y="4135"/>
                        </a:lnTo>
                        <a:lnTo>
                          <a:pt x="605" y="4137"/>
                        </a:lnTo>
                        <a:lnTo>
                          <a:pt x="591" y="4133"/>
                        </a:lnTo>
                        <a:lnTo>
                          <a:pt x="585" y="4143"/>
                        </a:lnTo>
                        <a:lnTo>
                          <a:pt x="579" y="4143"/>
                        </a:lnTo>
                        <a:lnTo>
                          <a:pt x="567" y="4160"/>
                        </a:lnTo>
                        <a:lnTo>
                          <a:pt x="557" y="4172"/>
                        </a:lnTo>
                        <a:lnTo>
                          <a:pt x="548" y="4191"/>
                        </a:lnTo>
                        <a:lnTo>
                          <a:pt x="535" y="4192"/>
                        </a:lnTo>
                        <a:lnTo>
                          <a:pt x="519" y="4189"/>
                        </a:lnTo>
                        <a:lnTo>
                          <a:pt x="516" y="4194"/>
                        </a:lnTo>
                        <a:lnTo>
                          <a:pt x="516" y="4200"/>
                        </a:lnTo>
                        <a:lnTo>
                          <a:pt x="506" y="4205"/>
                        </a:lnTo>
                        <a:lnTo>
                          <a:pt x="519" y="4210"/>
                        </a:lnTo>
                        <a:lnTo>
                          <a:pt x="531" y="4220"/>
                        </a:lnTo>
                        <a:lnTo>
                          <a:pt x="536" y="4235"/>
                        </a:lnTo>
                        <a:lnTo>
                          <a:pt x="546" y="4246"/>
                        </a:lnTo>
                        <a:lnTo>
                          <a:pt x="556" y="4247"/>
                        </a:lnTo>
                        <a:lnTo>
                          <a:pt x="560" y="4242"/>
                        </a:lnTo>
                        <a:lnTo>
                          <a:pt x="565" y="4250"/>
                        </a:lnTo>
                        <a:lnTo>
                          <a:pt x="580" y="4262"/>
                        </a:lnTo>
                        <a:lnTo>
                          <a:pt x="623" y="4280"/>
                        </a:lnTo>
                        <a:lnTo>
                          <a:pt x="649" y="4301"/>
                        </a:lnTo>
                        <a:lnTo>
                          <a:pt x="656" y="4313"/>
                        </a:lnTo>
                        <a:lnTo>
                          <a:pt x="662" y="4321"/>
                        </a:lnTo>
                        <a:lnTo>
                          <a:pt x="671" y="4323"/>
                        </a:lnTo>
                        <a:lnTo>
                          <a:pt x="683" y="4336"/>
                        </a:lnTo>
                        <a:lnTo>
                          <a:pt x="698" y="4331"/>
                        </a:lnTo>
                        <a:lnTo>
                          <a:pt x="707" y="4329"/>
                        </a:lnTo>
                        <a:lnTo>
                          <a:pt x="714" y="4332"/>
                        </a:lnTo>
                        <a:lnTo>
                          <a:pt x="723" y="4331"/>
                        </a:lnTo>
                        <a:lnTo>
                          <a:pt x="737" y="4336"/>
                        </a:lnTo>
                        <a:lnTo>
                          <a:pt x="743" y="4342"/>
                        </a:lnTo>
                        <a:lnTo>
                          <a:pt x="759" y="4344"/>
                        </a:lnTo>
                        <a:lnTo>
                          <a:pt x="782" y="4354"/>
                        </a:lnTo>
                        <a:lnTo>
                          <a:pt x="791" y="4355"/>
                        </a:lnTo>
                        <a:lnTo>
                          <a:pt x="815" y="4353"/>
                        </a:lnTo>
                        <a:lnTo>
                          <a:pt x="831" y="4358"/>
                        </a:lnTo>
                        <a:lnTo>
                          <a:pt x="847" y="4358"/>
                        </a:lnTo>
                        <a:lnTo>
                          <a:pt x="854" y="4363"/>
                        </a:lnTo>
                        <a:lnTo>
                          <a:pt x="858" y="4368"/>
                        </a:lnTo>
                        <a:lnTo>
                          <a:pt x="896" y="4390"/>
                        </a:lnTo>
                        <a:lnTo>
                          <a:pt x="898" y="4398"/>
                        </a:lnTo>
                        <a:lnTo>
                          <a:pt x="906" y="4402"/>
                        </a:lnTo>
                        <a:lnTo>
                          <a:pt x="914" y="4399"/>
                        </a:lnTo>
                        <a:lnTo>
                          <a:pt x="920" y="4395"/>
                        </a:lnTo>
                        <a:lnTo>
                          <a:pt x="935" y="4388"/>
                        </a:lnTo>
                        <a:lnTo>
                          <a:pt x="944" y="4388"/>
                        </a:lnTo>
                        <a:lnTo>
                          <a:pt x="950" y="4393"/>
                        </a:lnTo>
                        <a:lnTo>
                          <a:pt x="957" y="4392"/>
                        </a:lnTo>
                        <a:lnTo>
                          <a:pt x="973" y="4395"/>
                        </a:lnTo>
                        <a:lnTo>
                          <a:pt x="978" y="4401"/>
                        </a:lnTo>
                        <a:lnTo>
                          <a:pt x="985" y="4404"/>
                        </a:lnTo>
                        <a:lnTo>
                          <a:pt x="993" y="4404"/>
                        </a:lnTo>
                        <a:lnTo>
                          <a:pt x="1000" y="4408"/>
                        </a:lnTo>
                        <a:lnTo>
                          <a:pt x="1004" y="4415"/>
                        </a:lnTo>
                        <a:lnTo>
                          <a:pt x="1000" y="4430"/>
                        </a:lnTo>
                        <a:lnTo>
                          <a:pt x="1012" y="4440"/>
                        </a:lnTo>
                        <a:lnTo>
                          <a:pt x="1028" y="4445"/>
                        </a:lnTo>
                        <a:lnTo>
                          <a:pt x="1035" y="4450"/>
                        </a:lnTo>
                        <a:lnTo>
                          <a:pt x="1040" y="4453"/>
                        </a:lnTo>
                        <a:lnTo>
                          <a:pt x="1048" y="4458"/>
                        </a:lnTo>
                        <a:lnTo>
                          <a:pt x="1055" y="4458"/>
                        </a:lnTo>
                        <a:lnTo>
                          <a:pt x="1067" y="4469"/>
                        </a:lnTo>
                        <a:lnTo>
                          <a:pt x="1071" y="4477"/>
                        </a:lnTo>
                        <a:lnTo>
                          <a:pt x="1079" y="4477"/>
                        </a:lnTo>
                        <a:lnTo>
                          <a:pt x="1084" y="4493"/>
                        </a:lnTo>
                        <a:lnTo>
                          <a:pt x="1087" y="4500"/>
                        </a:lnTo>
                        <a:lnTo>
                          <a:pt x="1095" y="4500"/>
                        </a:lnTo>
                        <a:lnTo>
                          <a:pt x="1111" y="4504"/>
                        </a:lnTo>
                        <a:lnTo>
                          <a:pt x="1119" y="4501"/>
                        </a:lnTo>
                        <a:lnTo>
                          <a:pt x="1124" y="4496"/>
                        </a:lnTo>
                        <a:lnTo>
                          <a:pt x="1130" y="4481"/>
                        </a:lnTo>
                        <a:lnTo>
                          <a:pt x="1138" y="4477"/>
                        </a:lnTo>
                        <a:lnTo>
                          <a:pt x="1145" y="4473"/>
                        </a:lnTo>
                        <a:lnTo>
                          <a:pt x="1148" y="4466"/>
                        </a:lnTo>
                        <a:lnTo>
                          <a:pt x="1154" y="4456"/>
                        </a:lnTo>
                        <a:lnTo>
                          <a:pt x="1144" y="4451"/>
                        </a:lnTo>
                        <a:lnTo>
                          <a:pt x="1132" y="4423"/>
                        </a:lnTo>
                        <a:lnTo>
                          <a:pt x="1113" y="4391"/>
                        </a:lnTo>
                        <a:lnTo>
                          <a:pt x="1105" y="4380"/>
                        </a:lnTo>
                        <a:lnTo>
                          <a:pt x="1101" y="4366"/>
                        </a:lnTo>
                        <a:lnTo>
                          <a:pt x="1101" y="4344"/>
                        </a:lnTo>
                        <a:lnTo>
                          <a:pt x="1108" y="4317"/>
                        </a:lnTo>
                        <a:lnTo>
                          <a:pt x="1106" y="4305"/>
                        </a:lnTo>
                        <a:lnTo>
                          <a:pt x="1097" y="4326"/>
                        </a:lnTo>
                        <a:lnTo>
                          <a:pt x="1094" y="4320"/>
                        </a:lnTo>
                        <a:lnTo>
                          <a:pt x="1091" y="4302"/>
                        </a:lnTo>
                        <a:lnTo>
                          <a:pt x="1081" y="4285"/>
                        </a:lnTo>
                        <a:lnTo>
                          <a:pt x="1069" y="4268"/>
                        </a:lnTo>
                        <a:lnTo>
                          <a:pt x="1059" y="4268"/>
                        </a:lnTo>
                        <a:lnTo>
                          <a:pt x="1054" y="4253"/>
                        </a:lnTo>
                        <a:lnTo>
                          <a:pt x="1063" y="4240"/>
                        </a:lnTo>
                        <a:lnTo>
                          <a:pt x="1064" y="4229"/>
                        </a:lnTo>
                        <a:lnTo>
                          <a:pt x="1071" y="4218"/>
                        </a:lnTo>
                        <a:lnTo>
                          <a:pt x="1075" y="4218"/>
                        </a:lnTo>
                        <a:lnTo>
                          <a:pt x="1076" y="4215"/>
                        </a:lnTo>
                        <a:lnTo>
                          <a:pt x="1079" y="4207"/>
                        </a:lnTo>
                        <a:lnTo>
                          <a:pt x="1089" y="4198"/>
                        </a:lnTo>
                        <a:lnTo>
                          <a:pt x="1095" y="4162"/>
                        </a:lnTo>
                        <a:lnTo>
                          <a:pt x="1102" y="4165"/>
                        </a:lnTo>
                        <a:lnTo>
                          <a:pt x="1106" y="4144"/>
                        </a:lnTo>
                        <a:lnTo>
                          <a:pt x="1107" y="4133"/>
                        </a:lnTo>
                        <a:lnTo>
                          <a:pt x="1098" y="4117"/>
                        </a:lnTo>
                        <a:lnTo>
                          <a:pt x="1110" y="4121"/>
                        </a:lnTo>
                        <a:lnTo>
                          <a:pt x="1121" y="4121"/>
                        </a:lnTo>
                        <a:lnTo>
                          <a:pt x="1119" y="4128"/>
                        </a:lnTo>
                        <a:lnTo>
                          <a:pt x="1126" y="4139"/>
                        </a:lnTo>
                        <a:lnTo>
                          <a:pt x="1130" y="4154"/>
                        </a:lnTo>
                        <a:lnTo>
                          <a:pt x="1138" y="4154"/>
                        </a:lnTo>
                        <a:lnTo>
                          <a:pt x="1143" y="4151"/>
                        </a:lnTo>
                        <a:lnTo>
                          <a:pt x="1148" y="4151"/>
                        </a:lnTo>
                        <a:lnTo>
                          <a:pt x="1160" y="4123"/>
                        </a:lnTo>
                        <a:lnTo>
                          <a:pt x="1166" y="4119"/>
                        </a:lnTo>
                        <a:lnTo>
                          <a:pt x="1159" y="4117"/>
                        </a:lnTo>
                        <a:lnTo>
                          <a:pt x="1155" y="4111"/>
                        </a:lnTo>
                        <a:lnTo>
                          <a:pt x="1149" y="4107"/>
                        </a:lnTo>
                        <a:lnTo>
                          <a:pt x="1140" y="4107"/>
                        </a:lnTo>
                        <a:lnTo>
                          <a:pt x="1133" y="4105"/>
                        </a:lnTo>
                        <a:lnTo>
                          <a:pt x="1130" y="4099"/>
                        </a:lnTo>
                        <a:lnTo>
                          <a:pt x="1137" y="4091"/>
                        </a:lnTo>
                        <a:lnTo>
                          <a:pt x="1138" y="4084"/>
                        </a:lnTo>
                        <a:lnTo>
                          <a:pt x="1145" y="4081"/>
                        </a:lnTo>
                        <a:lnTo>
                          <a:pt x="1154" y="4087"/>
                        </a:lnTo>
                        <a:lnTo>
                          <a:pt x="1166" y="4084"/>
                        </a:lnTo>
                        <a:lnTo>
                          <a:pt x="1157" y="4027"/>
                        </a:lnTo>
                        <a:lnTo>
                          <a:pt x="1150" y="4025"/>
                        </a:lnTo>
                        <a:lnTo>
                          <a:pt x="1145" y="4019"/>
                        </a:lnTo>
                        <a:lnTo>
                          <a:pt x="1143" y="4010"/>
                        </a:lnTo>
                        <a:lnTo>
                          <a:pt x="1139" y="4004"/>
                        </a:lnTo>
                        <a:lnTo>
                          <a:pt x="1133" y="3998"/>
                        </a:lnTo>
                        <a:lnTo>
                          <a:pt x="1126" y="3998"/>
                        </a:lnTo>
                        <a:lnTo>
                          <a:pt x="1108" y="4000"/>
                        </a:lnTo>
                        <a:lnTo>
                          <a:pt x="1095" y="3997"/>
                        </a:lnTo>
                        <a:lnTo>
                          <a:pt x="1094" y="4005"/>
                        </a:lnTo>
                        <a:lnTo>
                          <a:pt x="1081" y="3993"/>
                        </a:lnTo>
                        <a:lnTo>
                          <a:pt x="1081" y="3986"/>
                        </a:lnTo>
                        <a:lnTo>
                          <a:pt x="1076" y="3978"/>
                        </a:lnTo>
                        <a:lnTo>
                          <a:pt x="1081" y="3971"/>
                        </a:lnTo>
                        <a:lnTo>
                          <a:pt x="1076" y="3965"/>
                        </a:lnTo>
                        <a:lnTo>
                          <a:pt x="1076" y="3957"/>
                        </a:lnTo>
                        <a:lnTo>
                          <a:pt x="1047" y="3947"/>
                        </a:lnTo>
                        <a:lnTo>
                          <a:pt x="1058" y="3903"/>
                        </a:lnTo>
                        <a:lnTo>
                          <a:pt x="1071" y="3896"/>
                        </a:lnTo>
                        <a:lnTo>
                          <a:pt x="1076" y="3888"/>
                        </a:lnTo>
                        <a:lnTo>
                          <a:pt x="1074" y="3881"/>
                        </a:lnTo>
                        <a:lnTo>
                          <a:pt x="1063" y="3870"/>
                        </a:lnTo>
                        <a:lnTo>
                          <a:pt x="1073" y="3825"/>
                        </a:lnTo>
                        <a:lnTo>
                          <a:pt x="1086" y="3816"/>
                        </a:lnTo>
                        <a:lnTo>
                          <a:pt x="1091" y="3810"/>
                        </a:lnTo>
                        <a:lnTo>
                          <a:pt x="1090" y="3801"/>
                        </a:lnTo>
                        <a:lnTo>
                          <a:pt x="1092" y="3794"/>
                        </a:lnTo>
                        <a:lnTo>
                          <a:pt x="1092" y="3787"/>
                        </a:lnTo>
                        <a:lnTo>
                          <a:pt x="1096" y="3778"/>
                        </a:lnTo>
                        <a:lnTo>
                          <a:pt x="1101" y="3772"/>
                        </a:lnTo>
                        <a:lnTo>
                          <a:pt x="1107" y="3777"/>
                        </a:lnTo>
                        <a:lnTo>
                          <a:pt x="1111" y="3784"/>
                        </a:lnTo>
                        <a:lnTo>
                          <a:pt x="1123" y="3794"/>
                        </a:lnTo>
                        <a:lnTo>
                          <a:pt x="1140" y="3831"/>
                        </a:lnTo>
                        <a:lnTo>
                          <a:pt x="1149" y="3833"/>
                        </a:lnTo>
                        <a:lnTo>
                          <a:pt x="1175" y="3816"/>
                        </a:lnTo>
                        <a:lnTo>
                          <a:pt x="1172" y="3807"/>
                        </a:lnTo>
                        <a:lnTo>
                          <a:pt x="1169" y="3800"/>
                        </a:lnTo>
                        <a:lnTo>
                          <a:pt x="1165" y="3775"/>
                        </a:lnTo>
                        <a:lnTo>
                          <a:pt x="1157" y="3762"/>
                        </a:lnTo>
                        <a:lnTo>
                          <a:pt x="1166" y="3763"/>
                        </a:lnTo>
                        <a:lnTo>
                          <a:pt x="1173" y="3760"/>
                        </a:lnTo>
                        <a:lnTo>
                          <a:pt x="1193" y="3746"/>
                        </a:lnTo>
                        <a:lnTo>
                          <a:pt x="1200" y="3742"/>
                        </a:lnTo>
                        <a:lnTo>
                          <a:pt x="1205" y="3736"/>
                        </a:lnTo>
                        <a:lnTo>
                          <a:pt x="1205" y="3728"/>
                        </a:lnTo>
                        <a:lnTo>
                          <a:pt x="1205" y="3719"/>
                        </a:lnTo>
                        <a:lnTo>
                          <a:pt x="1213" y="3718"/>
                        </a:lnTo>
                        <a:lnTo>
                          <a:pt x="1221" y="3719"/>
                        </a:lnTo>
                        <a:lnTo>
                          <a:pt x="1229" y="3715"/>
                        </a:lnTo>
                        <a:lnTo>
                          <a:pt x="1234" y="3709"/>
                        </a:lnTo>
                        <a:lnTo>
                          <a:pt x="1241" y="3705"/>
                        </a:lnTo>
                        <a:lnTo>
                          <a:pt x="1248" y="3703"/>
                        </a:lnTo>
                        <a:lnTo>
                          <a:pt x="1253" y="3697"/>
                        </a:lnTo>
                        <a:lnTo>
                          <a:pt x="1261" y="3692"/>
                        </a:lnTo>
                        <a:lnTo>
                          <a:pt x="1266" y="3686"/>
                        </a:lnTo>
                        <a:lnTo>
                          <a:pt x="1267" y="3678"/>
                        </a:lnTo>
                        <a:lnTo>
                          <a:pt x="1274" y="3672"/>
                        </a:lnTo>
                        <a:lnTo>
                          <a:pt x="1289" y="3669"/>
                        </a:lnTo>
                        <a:lnTo>
                          <a:pt x="1305" y="3669"/>
                        </a:lnTo>
                        <a:lnTo>
                          <a:pt x="1306" y="3677"/>
                        </a:lnTo>
                        <a:lnTo>
                          <a:pt x="1310" y="3685"/>
                        </a:lnTo>
                        <a:lnTo>
                          <a:pt x="1326" y="3681"/>
                        </a:lnTo>
                        <a:lnTo>
                          <a:pt x="1331" y="3687"/>
                        </a:lnTo>
                        <a:lnTo>
                          <a:pt x="1336" y="3680"/>
                        </a:lnTo>
                        <a:lnTo>
                          <a:pt x="1338" y="3671"/>
                        </a:lnTo>
                        <a:lnTo>
                          <a:pt x="1343" y="3665"/>
                        </a:lnTo>
                        <a:lnTo>
                          <a:pt x="1350" y="3665"/>
                        </a:lnTo>
                        <a:lnTo>
                          <a:pt x="1358" y="3662"/>
                        </a:lnTo>
                        <a:lnTo>
                          <a:pt x="1366" y="3662"/>
                        </a:lnTo>
                        <a:lnTo>
                          <a:pt x="1371" y="3678"/>
                        </a:lnTo>
                        <a:lnTo>
                          <a:pt x="1376" y="3685"/>
                        </a:lnTo>
                        <a:lnTo>
                          <a:pt x="1385" y="3681"/>
                        </a:lnTo>
                        <a:lnTo>
                          <a:pt x="1392" y="3681"/>
                        </a:lnTo>
                        <a:lnTo>
                          <a:pt x="1399" y="3683"/>
                        </a:lnTo>
                        <a:lnTo>
                          <a:pt x="1415" y="3680"/>
                        </a:lnTo>
                        <a:lnTo>
                          <a:pt x="1423" y="3681"/>
                        </a:lnTo>
                        <a:lnTo>
                          <a:pt x="1430" y="3685"/>
                        </a:lnTo>
                        <a:lnTo>
                          <a:pt x="1436" y="3691"/>
                        </a:lnTo>
                        <a:lnTo>
                          <a:pt x="1442" y="3705"/>
                        </a:lnTo>
                        <a:lnTo>
                          <a:pt x="1463" y="3718"/>
                        </a:lnTo>
                        <a:lnTo>
                          <a:pt x="1468" y="3724"/>
                        </a:lnTo>
                        <a:lnTo>
                          <a:pt x="1471" y="3732"/>
                        </a:lnTo>
                        <a:lnTo>
                          <a:pt x="1482" y="3745"/>
                        </a:lnTo>
                        <a:lnTo>
                          <a:pt x="1481" y="3752"/>
                        </a:lnTo>
                        <a:lnTo>
                          <a:pt x="1482" y="3761"/>
                        </a:lnTo>
                        <a:lnTo>
                          <a:pt x="1487" y="3767"/>
                        </a:lnTo>
                        <a:lnTo>
                          <a:pt x="1494" y="3764"/>
                        </a:lnTo>
                        <a:lnTo>
                          <a:pt x="1494" y="3757"/>
                        </a:lnTo>
                        <a:lnTo>
                          <a:pt x="1493" y="3748"/>
                        </a:lnTo>
                        <a:lnTo>
                          <a:pt x="1494" y="3741"/>
                        </a:lnTo>
                        <a:lnTo>
                          <a:pt x="1489" y="3734"/>
                        </a:lnTo>
                        <a:lnTo>
                          <a:pt x="1494" y="3728"/>
                        </a:lnTo>
                        <a:lnTo>
                          <a:pt x="1503" y="3726"/>
                        </a:lnTo>
                        <a:lnTo>
                          <a:pt x="1505" y="3734"/>
                        </a:lnTo>
                        <a:lnTo>
                          <a:pt x="1511" y="3739"/>
                        </a:lnTo>
                        <a:lnTo>
                          <a:pt x="1514" y="3747"/>
                        </a:lnTo>
                        <a:lnTo>
                          <a:pt x="1520" y="3752"/>
                        </a:lnTo>
                        <a:lnTo>
                          <a:pt x="1536" y="3757"/>
                        </a:lnTo>
                        <a:lnTo>
                          <a:pt x="1549" y="3766"/>
                        </a:lnTo>
                        <a:lnTo>
                          <a:pt x="1558" y="3763"/>
                        </a:lnTo>
                        <a:lnTo>
                          <a:pt x="1578" y="3750"/>
                        </a:lnTo>
                        <a:lnTo>
                          <a:pt x="1578" y="3741"/>
                        </a:lnTo>
                        <a:lnTo>
                          <a:pt x="1584" y="3737"/>
                        </a:lnTo>
                        <a:lnTo>
                          <a:pt x="1590" y="3732"/>
                        </a:lnTo>
                        <a:lnTo>
                          <a:pt x="1598" y="3731"/>
                        </a:lnTo>
                        <a:lnTo>
                          <a:pt x="1606" y="3734"/>
                        </a:lnTo>
                        <a:lnTo>
                          <a:pt x="1606" y="3725"/>
                        </a:lnTo>
                        <a:lnTo>
                          <a:pt x="1614" y="3725"/>
                        </a:lnTo>
                        <a:lnTo>
                          <a:pt x="1622" y="3728"/>
                        </a:lnTo>
                        <a:lnTo>
                          <a:pt x="1629" y="3723"/>
                        </a:lnTo>
                        <a:lnTo>
                          <a:pt x="1637" y="3728"/>
                        </a:lnTo>
                        <a:lnTo>
                          <a:pt x="1648" y="3739"/>
                        </a:lnTo>
                        <a:lnTo>
                          <a:pt x="1662" y="3730"/>
                        </a:lnTo>
                        <a:lnTo>
                          <a:pt x="1666" y="3723"/>
                        </a:lnTo>
                        <a:lnTo>
                          <a:pt x="1682" y="3723"/>
                        </a:lnTo>
                        <a:lnTo>
                          <a:pt x="1689" y="3719"/>
                        </a:lnTo>
                        <a:lnTo>
                          <a:pt x="1704" y="3725"/>
                        </a:lnTo>
                        <a:lnTo>
                          <a:pt x="1709" y="3731"/>
                        </a:lnTo>
                        <a:lnTo>
                          <a:pt x="1710" y="3747"/>
                        </a:lnTo>
                        <a:lnTo>
                          <a:pt x="1716" y="3753"/>
                        </a:lnTo>
                        <a:lnTo>
                          <a:pt x="1721" y="3760"/>
                        </a:lnTo>
                        <a:lnTo>
                          <a:pt x="1737" y="3757"/>
                        </a:lnTo>
                        <a:lnTo>
                          <a:pt x="1752" y="3761"/>
                        </a:lnTo>
                        <a:lnTo>
                          <a:pt x="1754" y="3772"/>
                        </a:lnTo>
                        <a:lnTo>
                          <a:pt x="1772" y="3771"/>
                        </a:lnTo>
                        <a:lnTo>
                          <a:pt x="1778" y="3766"/>
                        </a:lnTo>
                        <a:lnTo>
                          <a:pt x="1785" y="3751"/>
                        </a:lnTo>
                        <a:lnTo>
                          <a:pt x="1790" y="3745"/>
                        </a:lnTo>
                        <a:lnTo>
                          <a:pt x="1796" y="3747"/>
                        </a:lnTo>
                        <a:lnTo>
                          <a:pt x="1807" y="3760"/>
                        </a:lnTo>
                        <a:lnTo>
                          <a:pt x="1824" y="3761"/>
                        </a:lnTo>
                        <a:lnTo>
                          <a:pt x="1839" y="3757"/>
                        </a:lnTo>
                        <a:lnTo>
                          <a:pt x="1847" y="3752"/>
                        </a:lnTo>
                        <a:lnTo>
                          <a:pt x="1863" y="3747"/>
                        </a:lnTo>
                        <a:lnTo>
                          <a:pt x="1874" y="3709"/>
                        </a:lnTo>
                        <a:lnTo>
                          <a:pt x="1877" y="3702"/>
                        </a:lnTo>
                        <a:lnTo>
                          <a:pt x="1872" y="3696"/>
                        </a:lnTo>
                        <a:lnTo>
                          <a:pt x="1870" y="3692"/>
                        </a:lnTo>
                        <a:lnTo>
                          <a:pt x="1856" y="3691"/>
                        </a:lnTo>
                        <a:lnTo>
                          <a:pt x="1840" y="3689"/>
                        </a:lnTo>
                        <a:lnTo>
                          <a:pt x="1834" y="3682"/>
                        </a:lnTo>
                        <a:lnTo>
                          <a:pt x="1831" y="3677"/>
                        </a:lnTo>
                        <a:lnTo>
                          <a:pt x="1813" y="3674"/>
                        </a:lnTo>
                        <a:lnTo>
                          <a:pt x="1806" y="3671"/>
                        </a:lnTo>
                        <a:lnTo>
                          <a:pt x="1807" y="3662"/>
                        </a:lnTo>
                        <a:lnTo>
                          <a:pt x="1802" y="3655"/>
                        </a:lnTo>
                        <a:lnTo>
                          <a:pt x="1786" y="3653"/>
                        </a:lnTo>
                        <a:lnTo>
                          <a:pt x="1788" y="3644"/>
                        </a:lnTo>
                        <a:lnTo>
                          <a:pt x="1795" y="3642"/>
                        </a:lnTo>
                        <a:lnTo>
                          <a:pt x="1807" y="3632"/>
                        </a:lnTo>
                        <a:lnTo>
                          <a:pt x="1823" y="3626"/>
                        </a:lnTo>
                        <a:lnTo>
                          <a:pt x="1837" y="3617"/>
                        </a:lnTo>
                        <a:lnTo>
                          <a:pt x="1840" y="3611"/>
                        </a:lnTo>
                        <a:lnTo>
                          <a:pt x="1842" y="3602"/>
                        </a:lnTo>
                        <a:lnTo>
                          <a:pt x="1823" y="3575"/>
                        </a:lnTo>
                        <a:lnTo>
                          <a:pt x="1831" y="3572"/>
                        </a:lnTo>
                        <a:lnTo>
                          <a:pt x="1838" y="3565"/>
                        </a:lnTo>
                        <a:lnTo>
                          <a:pt x="1839" y="3558"/>
                        </a:lnTo>
                        <a:lnTo>
                          <a:pt x="1845" y="3553"/>
                        </a:lnTo>
                        <a:lnTo>
                          <a:pt x="1854" y="3552"/>
                        </a:lnTo>
                        <a:lnTo>
                          <a:pt x="1863" y="3553"/>
                        </a:lnTo>
                        <a:lnTo>
                          <a:pt x="1870" y="3552"/>
                        </a:lnTo>
                        <a:lnTo>
                          <a:pt x="1877" y="3554"/>
                        </a:lnTo>
                        <a:lnTo>
                          <a:pt x="1893" y="3554"/>
                        </a:lnTo>
                        <a:lnTo>
                          <a:pt x="1902" y="3551"/>
                        </a:lnTo>
                        <a:lnTo>
                          <a:pt x="1904" y="3543"/>
                        </a:lnTo>
                        <a:lnTo>
                          <a:pt x="1901" y="3537"/>
                        </a:lnTo>
                        <a:lnTo>
                          <a:pt x="1886" y="3529"/>
                        </a:lnTo>
                        <a:lnTo>
                          <a:pt x="1854" y="3524"/>
                        </a:lnTo>
                        <a:lnTo>
                          <a:pt x="1850" y="3518"/>
                        </a:lnTo>
                        <a:lnTo>
                          <a:pt x="1852" y="3509"/>
                        </a:lnTo>
                        <a:lnTo>
                          <a:pt x="1859" y="3509"/>
                        </a:lnTo>
                        <a:lnTo>
                          <a:pt x="1866" y="3506"/>
                        </a:lnTo>
                        <a:lnTo>
                          <a:pt x="1871" y="3499"/>
                        </a:lnTo>
                        <a:lnTo>
                          <a:pt x="1865" y="3494"/>
                        </a:lnTo>
                        <a:lnTo>
                          <a:pt x="1858" y="3498"/>
                        </a:lnTo>
                        <a:lnTo>
                          <a:pt x="1842" y="3498"/>
                        </a:lnTo>
                        <a:lnTo>
                          <a:pt x="1842" y="3489"/>
                        </a:lnTo>
                        <a:lnTo>
                          <a:pt x="1844" y="3482"/>
                        </a:lnTo>
                        <a:lnTo>
                          <a:pt x="1849" y="3476"/>
                        </a:lnTo>
                        <a:lnTo>
                          <a:pt x="1838" y="3463"/>
                        </a:lnTo>
                        <a:lnTo>
                          <a:pt x="1854" y="3463"/>
                        </a:lnTo>
                        <a:lnTo>
                          <a:pt x="1859" y="3457"/>
                        </a:lnTo>
                        <a:lnTo>
                          <a:pt x="1867" y="3457"/>
                        </a:lnTo>
                        <a:lnTo>
                          <a:pt x="1872" y="3463"/>
                        </a:lnTo>
                        <a:lnTo>
                          <a:pt x="1880" y="3462"/>
                        </a:lnTo>
                        <a:lnTo>
                          <a:pt x="1888" y="3463"/>
                        </a:lnTo>
                        <a:lnTo>
                          <a:pt x="1896" y="3461"/>
                        </a:lnTo>
                        <a:lnTo>
                          <a:pt x="1920" y="3461"/>
                        </a:lnTo>
                        <a:lnTo>
                          <a:pt x="1925" y="3468"/>
                        </a:lnTo>
                        <a:lnTo>
                          <a:pt x="1935" y="3456"/>
                        </a:lnTo>
                        <a:lnTo>
                          <a:pt x="1942" y="3452"/>
                        </a:lnTo>
                        <a:lnTo>
                          <a:pt x="1958" y="3454"/>
                        </a:lnTo>
                        <a:lnTo>
                          <a:pt x="1966" y="3449"/>
                        </a:lnTo>
                        <a:lnTo>
                          <a:pt x="1973" y="3446"/>
                        </a:lnTo>
                        <a:lnTo>
                          <a:pt x="1987" y="3436"/>
                        </a:lnTo>
                        <a:lnTo>
                          <a:pt x="1994" y="3439"/>
                        </a:lnTo>
                        <a:lnTo>
                          <a:pt x="2000" y="3444"/>
                        </a:lnTo>
                        <a:lnTo>
                          <a:pt x="2008" y="3444"/>
                        </a:lnTo>
                        <a:lnTo>
                          <a:pt x="2010" y="3436"/>
                        </a:lnTo>
                        <a:lnTo>
                          <a:pt x="2027" y="3432"/>
                        </a:lnTo>
                        <a:lnTo>
                          <a:pt x="2033" y="3428"/>
                        </a:lnTo>
                        <a:lnTo>
                          <a:pt x="2042" y="3427"/>
                        </a:lnTo>
                        <a:lnTo>
                          <a:pt x="2049" y="3424"/>
                        </a:lnTo>
                        <a:lnTo>
                          <a:pt x="2057" y="3424"/>
                        </a:lnTo>
                        <a:lnTo>
                          <a:pt x="2064" y="3427"/>
                        </a:lnTo>
                        <a:lnTo>
                          <a:pt x="2069" y="3419"/>
                        </a:lnTo>
                        <a:lnTo>
                          <a:pt x="2070" y="3412"/>
                        </a:lnTo>
                        <a:lnTo>
                          <a:pt x="2074" y="3403"/>
                        </a:lnTo>
                        <a:lnTo>
                          <a:pt x="2081" y="3400"/>
                        </a:lnTo>
                        <a:lnTo>
                          <a:pt x="2089" y="3398"/>
                        </a:lnTo>
                        <a:lnTo>
                          <a:pt x="2096" y="3402"/>
                        </a:lnTo>
                        <a:lnTo>
                          <a:pt x="2114" y="3396"/>
                        </a:lnTo>
                        <a:lnTo>
                          <a:pt x="2114" y="3397"/>
                        </a:lnTo>
                        <a:lnTo>
                          <a:pt x="2151" y="3387"/>
                        </a:lnTo>
                        <a:lnTo>
                          <a:pt x="2183" y="3384"/>
                        </a:lnTo>
                        <a:lnTo>
                          <a:pt x="2211" y="3375"/>
                        </a:lnTo>
                        <a:lnTo>
                          <a:pt x="2218" y="3369"/>
                        </a:lnTo>
                        <a:lnTo>
                          <a:pt x="2226" y="3370"/>
                        </a:lnTo>
                        <a:lnTo>
                          <a:pt x="2234" y="3368"/>
                        </a:lnTo>
                        <a:lnTo>
                          <a:pt x="2238" y="3362"/>
                        </a:lnTo>
                        <a:lnTo>
                          <a:pt x="2238" y="3353"/>
                        </a:lnTo>
                        <a:lnTo>
                          <a:pt x="2238" y="3346"/>
                        </a:lnTo>
                        <a:lnTo>
                          <a:pt x="2247" y="3347"/>
                        </a:lnTo>
                        <a:lnTo>
                          <a:pt x="2254" y="3344"/>
                        </a:lnTo>
                        <a:lnTo>
                          <a:pt x="2259" y="3338"/>
                        </a:lnTo>
                        <a:lnTo>
                          <a:pt x="2265" y="3333"/>
                        </a:lnTo>
                        <a:lnTo>
                          <a:pt x="2274" y="3333"/>
                        </a:lnTo>
                        <a:lnTo>
                          <a:pt x="2279" y="3326"/>
                        </a:lnTo>
                        <a:lnTo>
                          <a:pt x="2286" y="3326"/>
                        </a:lnTo>
                        <a:lnTo>
                          <a:pt x="2293" y="3332"/>
                        </a:lnTo>
                        <a:lnTo>
                          <a:pt x="2300" y="3330"/>
                        </a:lnTo>
                        <a:lnTo>
                          <a:pt x="2307" y="3333"/>
                        </a:lnTo>
                        <a:lnTo>
                          <a:pt x="2316" y="3331"/>
                        </a:lnTo>
                        <a:lnTo>
                          <a:pt x="2323" y="3335"/>
                        </a:lnTo>
                        <a:lnTo>
                          <a:pt x="2328" y="3341"/>
                        </a:lnTo>
                        <a:lnTo>
                          <a:pt x="2342" y="3349"/>
                        </a:lnTo>
                        <a:lnTo>
                          <a:pt x="2349" y="3346"/>
                        </a:lnTo>
                        <a:lnTo>
                          <a:pt x="2355" y="3341"/>
                        </a:lnTo>
                        <a:lnTo>
                          <a:pt x="2371" y="3338"/>
                        </a:lnTo>
                        <a:lnTo>
                          <a:pt x="2379" y="3341"/>
                        </a:lnTo>
                        <a:lnTo>
                          <a:pt x="2385" y="3347"/>
                        </a:lnTo>
                        <a:lnTo>
                          <a:pt x="2388" y="3354"/>
                        </a:lnTo>
                        <a:lnTo>
                          <a:pt x="2390" y="3370"/>
                        </a:lnTo>
                        <a:lnTo>
                          <a:pt x="2388" y="3379"/>
                        </a:lnTo>
                        <a:lnTo>
                          <a:pt x="2391" y="3386"/>
                        </a:lnTo>
                        <a:lnTo>
                          <a:pt x="2403" y="3397"/>
                        </a:lnTo>
                        <a:lnTo>
                          <a:pt x="2399" y="3403"/>
                        </a:lnTo>
                        <a:lnTo>
                          <a:pt x="2401" y="3420"/>
                        </a:lnTo>
                        <a:lnTo>
                          <a:pt x="2396" y="3427"/>
                        </a:lnTo>
                        <a:lnTo>
                          <a:pt x="2391" y="3433"/>
                        </a:lnTo>
                        <a:lnTo>
                          <a:pt x="2394" y="3440"/>
                        </a:lnTo>
                        <a:lnTo>
                          <a:pt x="2397" y="3448"/>
                        </a:lnTo>
                        <a:lnTo>
                          <a:pt x="2413" y="3444"/>
                        </a:lnTo>
                        <a:lnTo>
                          <a:pt x="2420" y="3449"/>
                        </a:lnTo>
                        <a:lnTo>
                          <a:pt x="2428" y="3448"/>
                        </a:lnTo>
                        <a:lnTo>
                          <a:pt x="2431" y="3439"/>
                        </a:lnTo>
                        <a:lnTo>
                          <a:pt x="2439" y="3439"/>
                        </a:lnTo>
                        <a:lnTo>
                          <a:pt x="2446" y="3441"/>
                        </a:lnTo>
                        <a:lnTo>
                          <a:pt x="2449" y="3433"/>
                        </a:lnTo>
                        <a:lnTo>
                          <a:pt x="2449" y="3425"/>
                        </a:lnTo>
                        <a:lnTo>
                          <a:pt x="2456" y="3427"/>
                        </a:lnTo>
                        <a:lnTo>
                          <a:pt x="2460" y="3434"/>
                        </a:lnTo>
                        <a:lnTo>
                          <a:pt x="2462" y="3443"/>
                        </a:lnTo>
                        <a:lnTo>
                          <a:pt x="2467" y="3448"/>
                        </a:lnTo>
                        <a:lnTo>
                          <a:pt x="2465" y="3455"/>
                        </a:lnTo>
                        <a:lnTo>
                          <a:pt x="2463" y="3463"/>
                        </a:lnTo>
                        <a:lnTo>
                          <a:pt x="2479" y="3465"/>
                        </a:lnTo>
                        <a:lnTo>
                          <a:pt x="2477" y="3457"/>
                        </a:lnTo>
                        <a:lnTo>
                          <a:pt x="2472" y="3451"/>
                        </a:lnTo>
                        <a:lnTo>
                          <a:pt x="2479" y="3448"/>
                        </a:lnTo>
                        <a:lnTo>
                          <a:pt x="2495" y="3451"/>
                        </a:lnTo>
                        <a:lnTo>
                          <a:pt x="2503" y="3456"/>
                        </a:lnTo>
                        <a:lnTo>
                          <a:pt x="2508" y="3462"/>
                        </a:lnTo>
                        <a:lnTo>
                          <a:pt x="2516" y="3466"/>
                        </a:lnTo>
                        <a:lnTo>
                          <a:pt x="2523" y="3466"/>
                        </a:lnTo>
                        <a:lnTo>
                          <a:pt x="2527" y="3459"/>
                        </a:lnTo>
                        <a:lnTo>
                          <a:pt x="2535" y="3455"/>
                        </a:lnTo>
                        <a:lnTo>
                          <a:pt x="2537" y="3463"/>
                        </a:lnTo>
                        <a:lnTo>
                          <a:pt x="2537" y="3471"/>
                        </a:lnTo>
                        <a:lnTo>
                          <a:pt x="2528" y="3473"/>
                        </a:lnTo>
                        <a:lnTo>
                          <a:pt x="2522" y="3478"/>
                        </a:lnTo>
                        <a:lnTo>
                          <a:pt x="2517" y="3486"/>
                        </a:lnTo>
                        <a:lnTo>
                          <a:pt x="2515" y="3493"/>
                        </a:lnTo>
                        <a:lnTo>
                          <a:pt x="2516" y="3502"/>
                        </a:lnTo>
                        <a:lnTo>
                          <a:pt x="2521" y="3508"/>
                        </a:lnTo>
                        <a:lnTo>
                          <a:pt x="2528" y="3508"/>
                        </a:lnTo>
                        <a:lnTo>
                          <a:pt x="2533" y="3502"/>
                        </a:lnTo>
                        <a:lnTo>
                          <a:pt x="2548" y="3495"/>
                        </a:lnTo>
                        <a:lnTo>
                          <a:pt x="2555" y="3498"/>
                        </a:lnTo>
                        <a:lnTo>
                          <a:pt x="2564" y="3498"/>
                        </a:lnTo>
                        <a:lnTo>
                          <a:pt x="2570" y="3503"/>
                        </a:lnTo>
                        <a:lnTo>
                          <a:pt x="2578" y="3503"/>
                        </a:lnTo>
                        <a:lnTo>
                          <a:pt x="2575" y="3495"/>
                        </a:lnTo>
                        <a:lnTo>
                          <a:pt x="2580" y="3489"/>
                        </a:lnTo>
                        <a:lnTo>
                          <a:pt x="2589" y="3488"/>
                        </a:lnTo>
                        <a:lnTo>
                          <a:pt x="2598" y="3477"/>
                        </a:lnTo>
                        <a:lnTo>
                          <a:pt x="2614" y="3475"/>
                        </a:lnTo>
                        <a:lnTo>
                          <a:pt x="2627" y="3463"/>
                        </a:lnTo>
                        <a:lnTo>
                          <a:pt x="2633" y="3449"/>
                        </a:lnTo>
                        <a:lnTo>
                          <a:pt x="2639" y="3444"/>
                        </a:lnTo>
                        <a:lnTo>
                          <a:pt x="2648" y="3445"/>
                        </a:lnTo>
                        <a:lnTo>
                          <a:pt x="2664" y="3441"/>
                        </a:lnTo>
                        <a:lnTo>
                          <a:pt x="2671" y="3439"/>
                        </a:lnTo>
                        <a:lnTo>
                          <a:pt x="2675" y="3432"/>
                        </a:lnTo>
                        <a:lnTo>
                          <a:pt x="2691" y="3430"/>
                        </a:lnTo>
                        <a:lnTo>
                          <a:pt x="2704" y="3422"/>
                        </a:lnTo>
                        <a:lnTo>
                          <a:pt x="2708" y="3429"/>
                        </a:lnTo>
                        <a:lnTo>
                          <a:pt x="2709" y="3436"/>
                        </a:lnTo>
                        <a:lnTo>
                          <a:pt x="2704" y="3444"/>
                        </a:lnTo>
                        <a:lnTo>
                          <a:pt x="2697" y="3446"/>
                        </a:lnTo>
                        <a:lnTo>
                          <a:pt x="2689" y="3446"/>
                        </a:lnTo>
                        <a:lnTo>
                          <a:pt x="2688" y="3454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40000"/>
                      <a:lumOff val="60000"/>
                    </a:schemeClr>
                  </a:solidFill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501" name="Freeform 183"/>
                  <p:cNvSpPr>
                    <a:spLocks/>
                  </p:cNvSpPr>
                  <p:nvPr/>
                </p:nvSpPr>
                <p:spPr bwMode="gray">
                  <a:xfrm>
                    <a:off x="2730" y="1750"/>
                    <a:ext cx="36" cy="27"/>
                  </a:xfrm>
                  <a:custGeom>
                    <a:avLst/>
                    <a:gdLst>
                      <a:gd name="T0" fmla="*/ 0 w 180"/>
                      <a:gd name="T1" fmla="*/ 5 h 134"/>
                      <a:gd name="T2" fmla="*/ 0 w 180"/>
                      <a:gd name="T3" fmla="*/ 5 h 134"/>
                      <a:gd name="T4" fmla="*/ 0 w 180"/>
                      <a:gd name="T5" fmla="*/ 4 h 134"/>
                      <a:gd name="T6" fmla="*/ 1 w 180"/>
                      <a:gd name="T7" fmla="*/ 4 h 134"/>
                      <a:gd name="T8" fmla="*/ 1 w 180"/>
                      <a:gd name="T9" fmla="*/ 4 h 134"/>
                      <a:gd name="T10" fmla="*/ 1 w 180"/>
                      <a:gd name="T11" fmla="*/ 3 h 134"/>
                      <a:gd name="T12" fmla="*/ 1 w 180"/>
                      <a:gd name="T13" fmla="*/ 3 h 134"/>
                      <a:gd name="T14" fmla="*/ 2 w 180"/>
                      <a:gd name="T15" fmla="*/ 3 h 134"/>
                      <a:gd name="T16" fmla="*/ 2 w 180"/>
                      <a:gd name="T17" fmla="*/ 3 h 134"/>
                      <a:gd name="T18" fmla="*/ 3 w 180"/>
                      <a:gd name="T19" fmla="*/ 2 h 134"/>
                      <a:gd name="T20" fmla="*/ 3 w 180"/>
                      <a:gd name="T21" fmla="*/ 1 h 134"/>
                      <a:gd name="T22" fmla="*/ 3 w 180"/>
                      <a:gd name="T23" fmla="*/ 1 h 134"/>
                      <a:gd name="T24" fmla="*/ 3 w 180"/>
                      <a:gd name="T25" fmla="*/ 0 h 134"/>
                      <a:gd name="T26" fmla="*/ 3 w 180"/>
                      <a:gd name="T27" fmla="*/ 1 h 134"/>
                      <a:gd name="T28" fmla="*/ 3 w 180"/>
                      <a:gd name="T29" fmla="*/ 2 h 134"/>
                      <a:gd name="T30" fmla="*/ 3 w 180"/>
                      <a:gd name="T31" fmla="*/ 2 h 134"/>
                      <a:gd name="T32" fmla="*/ 2 w 180"/>
                      <a:gd name="T33" fmla="*/ 3 h 134"/>
                      <a:gd name="T34" fmla="*/ 2 w 180"/>
                      <a:gd name="T35" fmla="*/ 3 h 134"/>
                      <a:gd name="T36" fmla="*/ 3 w 180"/>
                      <a:gd name="T37" fmla="*/ 3 h 134"/>
                      <a:gd name="T38" fmla="*/ 3 w 180"/>
                      <a:gd name="T39" fmla="*/ 3 h 134"/>
                      <a:gd name="T40" fmla="*/ 3 w 180"/>
                      <a:gd name="T41" fmla="*/ 3 h 134"/>
                      <a:gd name="T42" fmla="*/ 4 w 180"/>
                      <a:gd name="T43" fmla="*/ 3 h 134"/>
                      <a:gd name="T44" fmla="*/ 4 w 180"/>
                      <a:gd name="T45" fmla="*/ 2 h 134"/>
                      <a:gd name="T46" fmla="*/ 4 w 180"/>
                      <a:gd name="T47" fmla="*/ 2 h 134"/>
                      <a:gd name="T48" fmla="*/ 4 w 180"/>
                      <a:gd name="T49" fmla="*/ 2 h 134"/>
                      <a:gd name="T50" fmla="*/ 4 w 180"/>
                      <a:gd name="T51" fmla="*/ 2 h 134"/>
                      <a:gd name="T52" fmla="*/ 4 w 180"/>
                      <a:gd name="T53" fmla="*/ 2 h 134"/>
                      <a:gd name="T54" fmla="*/ 5 w 180"/>
                      <a:gd name="T55" fmla="*/ 2 h 134"/>
                      <a:gd name="T56" fmla="*/ 5 w 180"/>
                      <a:gd name="T57" fmla="*/ 2 h 134"/>
                      <a:gd name="T58" fmla="*/ 5 w 180"/>
                      <a:gd name="T59" fmla="*/ 2 h 134"/>
                      <a:gd name="T60" fmla="*/ 6 w 180"/>
                      <a:gd name="T61" fmla="*/ 2 h 134"/>
                      <a:gd name="T62" fmla="*/ 7 w 180"/>
                      <a:gd name="T63" fmla="*/ 2 h 134"/>
                      <a:gd name="T64" fmla="*/ 7 w 180"/>
                      <a:gd name="T65" fmla="*/ 2 h 134"/>
                      <a:gd name="T66" fmla="*/ 7 w 180"/>
                      <a:gd name="T67" fmla="*/ 3 h 134"/>
                      <a:gd name="T68" fmla="*/ 7 w 180"/>
                      <a:gd name="T69" fmla="*/ 4 h 134"/>
                      <a:gd name="T70" fmla="*/ 7 w 180"/>
                      <a:gd name="T71" fmla="*/ 5 h 134"/>
                      <a:gd name="T72" fmla="*/ 7 w 180"/>
                      <a:gd name="T73" fmla="*/ 5 h 134"/>
                      <a:gd name="T74" fmla="*/ 6 w 180"/>
                      <a:gd name="T75" fmla="*/ 5 h 134"/>
                      <a:gd name="T76" fmla="*/ 5 w 180"/>
                      <a:gd name="T77" fmla="*/ 5 h 134"/>
                      <a:gd name="T78" fmla="*/ 3 w 180"/>
                      <a:gd name="T79" fmla="*/ 5 h 134"/>
                      <a:gd name="T80" fmla="*/ 1 w 180"/>
                      <a:gd name="T81" fmla="*/ 5 h 134"/>
                      <a:gd name="T82" fmla="*/ 0 w 180"/>
                      <a:gd name="T83" fmla="*/ 5 h 134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w 180"/>
                      <a:gd name="T127" fmla="*/ 0 h 134"/>
                      <a:gd name="T128" fmla="*/ 180 w 180"/>
                      <a:gd name="T129" fmla="*/ 134 h 134"/>
                    </a:gdLst>
                    <a:ahLst/>
                    <a:cxnLst>
                      <a:cxn ang="T84">
                        <a:pos x="T0" y="T1"/>
                      </a:cxn>
                      <a:cxn ang="T85">
                        <a:pos x="T2" y="T3"/>
                      </a:cxn>
                      <a:cxn ang="T86">
                        <a:pos x="T4" y="T5"/>
                      </a:cxn>
                      <a:cxn ang="T87">
                        <a:pos x="T6" y="T7"/>
                      </a:cxn>
                      <a:cxn ang="T88">
                        <a:pos x="T8" y="T9"/>
                      </a:cxn>
                      <a:cxn ang="T89">
                        <a:pos x="T10" y="T11"/>
                      </a:cxn>
                      <a:cxn ang="T90">
                        <a:pos x="T12" y="T13"/>
                      </a:cxn>
                      <a:cxn ang="T91">
                        <a:pos x="T14" y="T15"/>
                      </a:cxn>
                      <a:cxn ang="T92">
                        <a:pos x="T16" y="T17"/>
                      </a:cxn>
                      <a:cxn ang="T93">
                        <a:pos x="T18" y="T19"/>
                      </a:cxn>
                      <a:cxn ang="T94">
                        <a:pos x="T20" y="T21"/>
                      </a:cxn>
                      <a:cxn ang="T95">
                        <a:pos x="T22" y="T23"/>
                      </a:cxn>
                      <a:cxn ang="T96">
                        <a:pos x="T24" y="T25"/>
                      </a:cxn>
                      <a:cxn ang="T97">
                        <a:pos x="T26" y="T27"/>
                      </a:cxn>
                      <a:cxn ang="T98">
                        <a:pos x="T28" y="T29"/>
                      </a:cxn>
                      <a:cxn ang="T99">
                        <a:pos x="T30" y="T31"/>
                      </a:cxn>
                      <a:cxn ang="T100">
                        <a:pos x="T32" y="T33"/>
                      </a:cxn>
                      <a:cxn ang="T101">
                        <a:pos x="T34" y="T35"/>
                      </a:cxn>
                      <a:cxn ang="T102">
                        <a:pos x="T36" y="T37"/>
                      </a:cxn>
                      <a:cxn ang="T103">
                        <a:pos x="T38" y="T39"/>
                      </a:cxn>
                      <a:cxn ang="T104">
                        <a:pos x="T40" y="T41"/>
                      </a:cxn>
                      <a:cxn ang="T105">
                        <a:pos x="T42" y="T43"/>
                      </a:cxn>
                      <a:cxn ang="T106">
                        <a:pos x="T44" y="T45"/>
                      </a:cxn>
                      <a:cxn ang="T107">
                        <a:pos x="T46" y="T47"/>
                      </a:cxn>
                      <a:cxn ang="T108">
                        <a:pos x="T48" y="T49"/>
                      </a:cxn>
                      <a:cxn ang="T109">
                        <a:pos x="T50" y="T51"/>
                      </a:cxn>
                      <a:cxn ang="T110">
                        <a:pos x="T52" y="T53"/>
                      </a:cxn>
                      <a:cxn ang="T111">
                        <a:pos x="T54" y="T55"/>
                      </a:cxn>
                      <a:cxn ang="T112">
                        <a:pos x="T56" y="T57"/>
                      </a:cxn>
                      <a:cxn ang="T113">
                        <a:pos x="T58" y="T59"/>
                      </a:cxn>
                      <a:cxn ang="T114">
                        <a:pos x="T60" y="T61"/>
                      </a:cxn>
                      <a:cxn ang="T115">
                        <a:pos x="T62" y="T63"/>
                      </a:cxn>
                      <a:cxn ang="T116">
                        <a:pos x="T64" y="T65"/>
                      </a:cxn>
                      <a:cxn ang="T117">
                        <a:pos x="T66" y="T67"/>
                      </a:cxn>
                      <a:cxn ang="T118">
                        <a:pos x="T68" y="T69"/>
                      </a:cxn>
                      <a:cxn ang="T119">
                        <a:pos x="T70" y="T71"/>
                      </a:cxn>
                      <a:cxn ang="T120">
                        <a:pos x="T72" y="T73"/>
                      </a:cxn>
                      <a:cxn ang="T121">
                        <a:pos x="T74" y="T75"/>
                      </a:cxn>
                      <a:cxn ang="T122">
                        <a:pos x="T76" y="T77"/>
                      </a:cxn>
                      <a:cxn ang="T123">
                        <a:pos x="T78" y="T79"/>
                      </a:cxn>
                      <a:cxn ang="T124">
                        <a:pos x="T80" y="T81"/>
                      </a:cxn>
                      <a:cxn ang="T125">
                        <a:pos x="T82" y="T83"/>
                      </a:cxn>
                    </a:cxnLst>
                    <a:rect l="T126" t="T127" r="T128" b="T129"/>
                    <a:pathLst>
                      <a:path w="180" h="134">
                        <a:moveTo>
                          <a:pt x="0" y="118"/>
                        </a:moveTo>
                        <a:lnTo>
                          <a:pt x="2" y="114"/>
                        </a:lnTo>
                        <a:lnTo>
                          <a:pt x="12" y="107"/>
                        </a:lnTo>
                        <a:lnTo>
                          <a:pt x="14" y="102"/>
                        </a:lnTo>
                        <a:lnTo>
                          <a:pt x="19" y="87"/>
                        </a:lnTo>
                        <a:lnTo>
                          <a:pt x="21" y="76"/>
                        </a:lnTo>
                        <a:lnTo>
                          <a:pt x="25" y="70"/>
                        </a:lnTo>
                        <a:lnTo>
                          <a:pt x="46" y="69"/>
                        </a:lnTo>
                        <a:lnTo>
                          <a:pt x="55" y="63"/>
                        </a:lnTo>
                        <a:lnTo>
                          <a:pt x="67" y="48"/>
                        </a:lnTo>
                        <a:lnTo>
                          <a:pt x="77" y="32"/>
                        </a:lnTo>
                        <a:lnTo>
                          <a:pt x="82" y="15"/>
                        </a:lnTo>
                        <a:lnTo>
                          <a:pt x="83" y="0"/>
                        </a:lnTo>
                        <a:lnTo>
                          <a:pt x="79" y="27"/>
                        </a:lnTo>
                        <a:lnTo>
                          <a:pt x="71" y="46"/>
                        </a:lnTo>
                        <a:lnTo>
                          <a:pt x="65" y="55"/>
                        </a:lnTo>
                        <a:lnTo>
                          <a:pt x="57" y="64"/>
                        </a:lnTo>
                        <a:lnTo>
                          <a:pt x="61" y="71"/>
                        </a:lnTo>
                        <a:lnTo>
                          <a:pt x="67" y="70"/>
                        </a:lnTo>
                        <a:lnTo>
                          <a:pt x="76" y="75"/>
                        </a:lnTo>
                        <a:lnTo>
                          <a:pt x="87" y="75"/>
                        </a:lnTo>
                        <a:lnTo>
                          <a:pt x="89" y="66"/>
                        </a:lnTo>
                        <a:lnTo>
                          <a:pt x="89" y="49"/>
                        </a:lnTo>
                        <a:lnTo>
                          <a:pt x="93" y="44"/>
                        </a:lnTo>
                        <a:lnTo>
                          <a:pt x="93" y="41"/>
                        </a:lnTo>
                        <a:lnTo>
                          <a:pt x="103" y="38"/>
                        </a:lnTo>
                        <a:lnTo>
                          <a:pt x="109" y="43"/>
                        </a:lnTo>
                        <a:lnTo>
                          <a:pt x="116" y="46"/>
                        </a:lnTo>
                        <a:lnTo>
                          <a:pt x="122" y="50"/>
                        </a:lnTo>
                        <a:lnTo>
                          <a:pt x="130" y="54"/>
                        </a:lnTo>
                        <a:lnTo>
                          <a:pt x="147" y="57"/>
                        </a:lnTo>
                        <a:lnTo>
                          <a:pt x="163" y="55"/>
                        </a:lnTo>
                        <a:lnTo>
                          <a:pt x="169" y="59"/>
                        </a:lnTo>
                        <a:lnTo>
                          <a:pt x="180" y="82"/>
                        </a:lnTo>
                        <a:lnTo>
                          <a:pt x="174" y="97"/>
                        </a:lnTo>
                        <a:lnTo>
                          <a:pt x="174" y="114"/>
                        </a:lnTo>
                        <a:lnTo>
                          <a:pt x="177" y="124"/>
                        </a:lnTo>
                        <a:lnTo>
                          <a:pt x="153" y="127"/>
                        </a:lnTo>
                        <a:lnTo>
                          <a:pt x="126" y="133"/>
                        </a:lnTo>
                        <a:lnTo>
                          <a:pt x="78" y="134"/>
                        </a:lnTo>
                        <a:lnTo>
                          <a:pt x="14" y="123"/>
                        </a:lnTo>
                        <a:lnTo>
                          <a:pt x="0" y="118"/>
                        </a:lnTo>
                        <a:close/>
                      </a:path>
                    </a:pathLst>
                  </a:custGeom>
                  <a:solidFill>
                    <a:srgbClr val="C9F3E7"/>
                  </a:solidFill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</p:grpSp>
            <p:sp>
              <p:nvSpPr>
                <p:cNvPr id="451" name="Freeform 184"/>
                <p:cNvSpPr>
                  <a:spLocks/>
                </p:cNvSpPr>
                <p:nvPr/>
              </p:nvSpPr>
              <p:spPr bwMode="gray">
                <a:xfrm>
                  <a:off x="4384273" y="2121317"/>
                  <a:ext cx="8790" cy="5436"/>
                </a:xfrm>
                <a:custGeom>
                  <a:avLst/>
                  <a:gdLst>
                    <a:gd name="T0" fmla="*/ 2121 w 21"/>
                    <a:gd name="T1" fmla="*/ 949 h 13"/>
                    <a:gd name="T2" fmla="*/ 2651 w 21"/>
                    <a:gd name="T3" fmla="*/ 1423 h 13"/>
                    <a:gd name="T4" fmla="*/ 2121 w 21"/>
                    <a:gd name="T5" fmla="*/ 1423 h 13"/>
                    <a:gd name="T6" fmla="*/ 1061 w 21"/>
                    <a:gd name="T7" fmla="*/ 1423 h 13"/>
                    <a:gd name="T8" fmla="*/ 530 w 21"/>
                    <a:gd name="T9" fmla="*/ 949 h 13"/>
                    <a:gd name="T10" fmla="*/ 0 w 21"/>
                    <a:gd name="T11" fmla="*/ 0 h 13"/>
                    <a:gd name="T12" fmla="*/ 1591 w 21"/>
                    <a:gd name="T13" fmla="*/ 0 h 13"/>
                    <a:gd name="T14" fmla="*/ 2121 w 21"/>
                    <a:gd name="T15" fmla="*/ 949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1"/>
                    <a:gd name="T25" fmla="*/ 0 h 13"/>
                    <a:gd name="T26" fmla="*/ 21 w 21"/>
                    <a:gd name="T27" fmla="*/ 13 h 13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1" h="13">
                      <a:moveTo>
                        <a:pt x="18" y="7"/>
                      </a:moveTo>
                      <a:lnTo>
                        <a:pt x="21" y="11"/>
                      </a:lnTo>
                      <a:lnTo>
                        <a:pt x="16" y="13"/>
                      </a:lnTo>
                      <a:lnTo>
                        <a:pt x="10" y="12"/>
                      </a:lnTo>
                      <a:lnTo>
                        <a:pt x="6" y="7"/>
                      </a:lnTo>
                      <a:lnTo>
                        <a:pt x="0" y="0"/>
                      </a:lnTo>
                      <a:lnTo>
                        <a:pt x="13" y="1"/>
                      </a:lnTo>
                      <a:lnTo>
                        <a:pt x="18" y="7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52" name="Freeform 185"/>
                <p:cNvSpPr>
                  <a:spLocks/>
                </p:cNvSpPr>
                <p:nvPr/>
              </p:nvSpPr>
              <p:spPr bwMode="gray">
                <a:xfrm>
                  <a:off x="4541235" y="1990857"/>
                  <a:ext cx="5023" cy="10871"/>
                </a:xfrm>
                <a:custGeom>
                  <a:avLst/>
                  <a:gdLst>
                    <a:gd name="T0" fmla="*/ 955 w 14"/>
                    <a:gd name="T1" fmla="*/ 2467 h 30"/>
                    <a:gd name="T2" fmla="*/ 1432 w 14"/>
                    <a:gd name="T3" fmla="*/ 2056 h 30"/>
                    <a:gd name="T4" fmla="*/ 1432 w 14"/>
                    <a:gd name="T5" fmla="*/ 822 h 30"/>
                    <a:gd name="T6" fmla="*/ 1432 w 14"/>
                    <a:gd name="T7" fmla="*/ 411 h 30"/>
                    <a:gd name="T8" fmla="*/ 477 w 14"/>
                    <a:gd name="T9" fmla="*/ 0 h 30"/>
                    <a:gd name="T10" fmla="*/ 0 w 14"/>
                    <a:gd name="T11" fmla="*/ 822 h 30"/>
                    <a:gd name="T12" fmla="*/ 0 w 14"/>
                    <a:gd name="T13" fmla="*/ 1645 h 30"/>
                    <a:gd name="T14" fmla="*/ 955 w 14"/>
                    <a:gd name="T15" fmla="*/ 2467 h 30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4"/>
                    <a:gd name="T25" fmla="*/ 0 h 30"/>
                    <a:gd name="T26" fmla="*/ 14 w 14"/>
                    <a:gd name="T27" fmla="*/ 30 h 30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4" h="30">
                      <a:moveTo>
                        <a:pt x="8" y="30"/>
                      </a:moveTo>
                      <a:lnTo>
                        <a:pt x="14" y="23"/>
                      </a:lnTo>
                      <a:lnTo>
                        <a:pt x="14" y="12"/>
                      </a:lnTo>
                      <a:lnTo>
                        <a:pt x="13" y="5"/>
                      </a:lnTo>
                      <a:lnTo>
                        <a:pt x="4" y="0"/>
                      </a:lnTo>
                      <a:lnTo>
                        <a:pt x="2" y="8"/>
                      </a:lnTo>
                      <a:lnTo>
                        <a:pt x="0" y="18"/>
                      </a:lnTo>
                      <a:lnTo>
                        <a:pt x="8" y="30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grpSp>
              <p:nvGrpSpPr>
                <p:cNvPr id="453" name="Group 186"/>
                <p:cNvGrpSpPr>
                  <a:grpSpLocks/>
                </p:cNvGrpSpPr>
                <p:nvPr/>
              </p:nvGrpSpPr>
              <p:grpSpPr bwMode="auto">
                <a:xfrm>
                  <a:off x="4485984" y="1999011"/>
                  <a:ext cx="227282" cy="269073"/>
                  <a:chOff x="2589" y="1903"/>
                  <a:chExt cx="129" cy="153"/>
                </a:xfrm>
                <a:solidFill>
                  <a:srgbClr val="D9D9D9"/>
                </a:solidFill>
              </p:grpSpPr>
              <p:sp>
                <p:nvSpPr>
                  <p:cNvPr id="495" name="Freeform 187"/>
                  <p:cNvSpPr>
                    <a:spLocks/>
                  </p:cNvSpPr>
                  <p:nvPr/>
                </p:nvSpPr>
                <p:spPr bwMode="gray">
                  <a:xfrm>
                    <a:off x="2653" y="2034"/>
                    <a:ext cx="34" cy="22"/>
                  </a:xfrm>
                  <a:custGeom>
                    <a:avLst/>
                    <a:gdLst>
                      <a:gd name="T0" fmla="*/ 7 w 172"/>
                      <a:gd name="T1" fmla="*/ 0 h 110"/>
                      <a:gd name="T2" fmla="*/ 7 w 172"/>
                      <a:gd name="T3" fmla="*/ 0 h 110"/>
                      <a:gd name="T4" fmla="*/ 7 w 172"/>
                      <a:gd name="T5" fmla="*/ 0 h 110"/>
                      <a:gd name="T6" fmla="*/ 7 w 172"/>
                      <a:gd name="T7" fmla="*/ 0 h 110"/>
                      <a:gd name="T8" fmla="*/ 6 w 172"/>
                      <a:gd name="T9" fmla="*/ 1 h 110"/>
                      <a:gd name="T10" fmla="*/ 6 w 172"/>
                      <a:gd name="T11" fmla="*/ 2 h 110"/>
                      <a:gd name="T12" fmla="*/ 6 w 172"/>
                      <a:gd name="T13" fmla="*/ 3 h 110"/>
                      <a:gd name="T14" fmla="*/ 6 w 172"/>
                      <a:gd name="T15" fmla="*/ 3 h 110"/>
                      <a:gd name="T16" fmla="*/ 6 w 172"/>
                      <a:gd name="T17" fmla="*/ 3 h 110"/>
                      <a:gd name="T18" fmla="*/ 6 w 172"/>
                      <a:gd name="T19" fmla="*/ 3 h 110"/>
                      <a:gd name="T20" fmla="*/ 6 w 172"/>
                      <a:gd name="T21" fmla="*/ 4 h 110"/>
                      <a:gd name="T22" fmla="*/ 6 w 172"/>
                      <a:gd name="T23" fmla="*/ 4 h 110"/>
                      <a:gd name="T24" fmla="*/ 5 w 172"/>
                      <a:gd name="T25" fmla="*/ 4 h 110"/>
                      <a:gd name="T26" fmla="*/ 5 w 172"/>
                      <a:gd name="T27" fmla="*/ 4 h 110"/>
                      <a:gd name="T28" fmla="*/ 4 w 172"/>
                      <a:gd name="T29" fmla="*/ 4 h 110"/>
                      <a:gd name="T30" fmla="*/ 4 w 172"/>
                      <a:gd name="T31" fmla="*/ 4 h 110"/>
                      <a:gd name="T32" fmla="*/ 3 w 172"/>
                      <a:gd name="T33" fmla="*/ 3 h 110"/>
                      <a:gd name="T34" fmla="*/ 3 w 172"/>
                      <a:gd name="T35" fmla="*/ 3 h 110"/>
                      <a:gd name="T36" fmla="*/ 3 w 172"/>
                      <a:gd name="T37" fmla="*/ 3 h 110"/>
                      <a:gd name="T38" fmla="*/ 2 w 172"/>
                      <a:gd name="T39" fmla="*/ 3 h 110"/>
                      <a:gd name="T40" fmla="*/ 2 w 172"/>
                      <a:gd name="T41" fmla="*/ 3 h 110"/>
                      <a:gd name="T42" fmla="*/ 1 w 172"/>
                      <a:gd name="T43" fmla="*/ 2 h 110"/>
                      <a:gd name="T44" fmla="*/ 1 w 172"/>
                      <a:gd name="T45" fmla="*/ 2 h 110"/>
                      <a:gd name="T46" fmla="*/ 0 w 172"/>
                      <a:gd name="T47" fmla="*/ 2 h 110"/>
                      <a:gd name="T48" fmla="*/ 0 w 172"/>
                      <a:gd name="T49" fmla="*/ 2 h 110"/>
                      <a:gd name="T50" fmla="*/ 0 w 172"/>
                      <a:gd name="T51" fmla="*/ 1 h 110"/>
                      <a:gd name="T52" fmla="*/ 0 w 172"/>
                      <a:gd name="T53" fmla="*/ 1 h 110"/>
                      <a:gd name="T54" fmla="*/ 0 w 172"/>
                      <a:gd name="T55" fmla="*/ 1 h 110"/>
                      <a:gd name="T56" fmla="*/ 0 w 172"/>
                      <a:gd name="T57" fmla="*/ 0 h 110"/>
                      <a:gd name="T58" fmla="*/ 0 w 172"/>
                      <a:gd name="T59" fmla="*/ 0 h 110"/>
                      <a:gd name="T60" fmla="*/ 1 w 172"/>
                      <a:gd name="T61" fmla="*/ 1 h 110"/>
                      <a:gd name="T62" fmla="*/ 1 w 172"/>
                      <a:gd name="T63" fmla="*/ 1 h 110"/>
                      <a:gd name="T64" fmla="*/ 2 w 172"/>
                      <a:gd name="T65" fmla="*/ 0 h 110"/>
                      <a:gd name="T66" fmla="*/ 2 w 172"/>
                      <a:gd name="T67" fmla="*/ 1 h 110"/>
                      <a:gd name="T68" fmla="*/ 3 w 172"/>
                      <a:gd name="T69" fmla="*/ 1 h 110"/>
                      <a:gd name="T70" fmla="*/ 3 w 172"/>
                      <a:gd name="T71" fmla="*/ 1 h 110"/>
                      <a:gd name="T72" fmla="*/ 3 w 172"/>
                      <a:gd name="T73" fmla="*/ 1 h 110"/>
                      <a:gd name="T74" fmla="*/ 4 w 172"/>
                      <a:gd name="T75" fmla="*/ 1 h 110"/>
                      <a:gd name="T76" fmla="*/ 5 w 172"/>
                      <a:gd name="T77" fmla="*/ 1 h 110"/>
                      <a:gd name="T78" fmla="*/ 5 w 172"/>
                      <a:gd name="T79" fmla="*/ 0 h 110"/>
                      <a:gd name="T80" fmla="*/ 6 w 172"/>
                      <a:gd name="T81" fmla="*/ 0 h 110"/>
                      <a:gd name="T82" fmla="*/ 6 w 172"/>
                      <a:gd name="T83" fmla="*/ 0 h 110"/>
                      <a:gd name="T84" fmla="*/ 6 w 172"/>
                      <a:gd name="T85" fmla="*/ 0 h 110"/>
                      <a:gd name="T86" fmla="*/ 7 w 172"/>
                      <a:gd name="T87" fmla="*/ 0 h 110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w 172"/>
                      <a:gd name="T133" fmla="*/ 0 h 110"/>
                      <a:gd name="T134" fmla="*/ 172 w 172"/>
                      <a:gd name="T135" fmla="*/ 110 h 110"/>
                    </a:gdLst>
                    <a:ahLst/>
                    <a:cxnLst>
                      <a:cxn ang="T88">
                        <a:pos x="T0" y="T1"/>
                      </a:cxn>
                      <a:cxn ang="T89">
                        <a:pos x="T2" y="T3"/>
                      </a:cxn>
                      <a:cxn ang="T90">
                        <a:pos x="T4" y="T5"/>
                      </a:cxn>
                      <a:cxn ang="T91">
                        <a:pos x="T6" y="T7"/>
                      </a:cxn>
                      <a:cxn ang="T92">
                        <a:pos x="T8" y="T9"/>
                      </a:cxn>
                      <a:cxn ang="T93">
                        <a:pos x="T10" y="T11"/>
                      </a:cxn>
                      <a:cxn ang="T94">
                        <a:pos x="T12" y="T13"/>
                      </a:cxn>
                      <a:cxn ang="T95">
                        <a:pos x="T14" y="T15"/>
                      </a:cxn>
                      <a:cxn ang="T96">
                        <a:pos x="T16" y="T17"/>
                      </a:cxn>
                      <a:cxn ang="T97">
                        <a:pos x="T18" y="T19"/>
                      </a:cxn>
                      <a:cxn ang="T98">
                        <a:pos x="T20" y="T21"/>
                      </a:cxn>
                      <a:cxn ang="T99">
                        <a:pos x="T22" y="T23"/>
                      </a:cxn>
                      <a:cxn ang="T100">
                        <a:pos x="T24" y="T25"/>
                      </a:cxn>
                      <a:cxn ang="T101">
                        <a:pos x="T26" y="T27"/>
                      </a:cxn>
                      <a:cxn ang="T102">
                        <a:pos x="T28" y="T29"/>
                      </a:cxn>
                      <a:cxn ang="T103">
                        <a:pos x="T30" y="T31"/>
                      </a:cxn>
                      <a:cxn ang="T104">
                        <a:pos x="T32" y="T33"/>
                      </a:cxn>
                      <a:cxn ang="T105">
                        <a:pos x="T34" y="T35"/>
                      </a:cxn>
                      <a:cxn ang="T106">
                        <a:pos x="T36" y="T37"/>
                      </a:cxn>
                      <a:cxn ang="T107">
                        <a:pos x="T38" y="T39"/>
                      </a:cxn>
                      <a:cxn ang="T108">
                        <a:pos x="T40" y="T41"/>
                      </a:cxn>
                      <a:cxn ang="T109">
                        <a:pos x="T42" y="T43"/>
                      </a:cxn>
                      <a:cxn ang="T110">
                        <a:pos x="T44" y="T45"/>
                      </a:cxn>
                      <a:cxn ang="T111">
                        <a:pos x="T46" y="T47"/>
                      </a:cxn>
                      <a:cxn ang="T112">
                        <a:pos x="T48" y="T49"/>
                      </a:cxn>
                      <a:cxn ang="T113">
                        <a:pos x="T50" y="T51"/>
                      </a:cxn>
                      <a:cxn ang="T114">
                        <a:pos x="T52" y="T53"/>
                      </a:cxn>
                      <a:cxn ang="T115">
                        <a:pos x="T54" y="T55"/>
                      </a:cxn>
                      <a:cxn ang="T116">
                        <a:pos x="T56" y="T57"/>
                      </a:cxn>
                      <a:cxn ang="T117">
                        <a:pos x="T58" y="T59"/>
                      </a:cxn>
                      <a:cxn ang="T118">
                        <a:pos x="T60" y="T61"/>
                      </a:cxn>
                      <a:cxn ang="T119">
                        <a:pos x="T62" y="T63"/>
                      </a:cxn>
                      <a:cxn ang="T120">
                        <a:pos x="T64" y="T65"/>
                      </a:cxn>
                      <a:cxn ang="T121">
                        <a:pos x="T66" y="T67"/>
                      </a:cxn>
                      <a:cxn ang="T122">
                        <a:pos x="T68" y="T69"/>
                      </a:cxn>
                      <a:cxn ang="T123">
                        <a:pos x="T70" y="T71"/>
                      </a:cxn>
                      <a:cxn ang="T124">
                        <a:pos x="T72" y="T73"/>
                      </a:cxn>
                      <a:cxn ang="T125">
                        <a:pos x="T74" y="T75"/>
                      </a:cxn>
                      <a:cxn ang="T126">
                        <a:pos x="T76" y="T77"/>
                      </a:cxn>
                      <a:cxn ang="T127">
                        <a:pos x="T78" y="T79"/>
                      </a:cxn>
                      <a:cxn ang="T128">
                        <a:pos x="T80" y="T81"/>
                      </a:cxn>
                      <a:cxn ang="T129">
                        <a:pos x="T82" y="T83"/>
                      </a:cxn>
                      <a:cxn ang="T130">
                        <a:pos x="T84" y="T85"/>
                      </a:cxn>
                      <a:cxn ang="T131">
                        <a:pos x="T86" y="T87"/>
                      </a:cxn>
                    </a:cxnLst>
                    <a:rect l="T132" t="T133" r="T134" b="T135"/>
                    <a:pathLst>
                      <a:path w="172" h="110">
                        <a:moveTo>
                          <a:pt x="172" y="0"/>
                        </a:moveTo>
                        <a:lnTo>
                          <a:pt x="168" y="1"/>
                        </a:lnTo>
                        <a:lnTo>
                          <a:pt x="168" y="2"/>
                        </a:lnTo>
                        <a:lnTo>
                          <a:pt x="167" y="12"/>
                        </a:lnTo>
                        <a:lnTo>
                          <a:pt x="153" y="34"/>
                        </a:lnTo>
                        <a:lnTo>
                          <a:pt x="143" y="60"/>
                        </a:lnTo>
                        <a:lnTo>
                          <a:pt x="142" y="66"/>
                        </a:lnTo>
                        <a:lnTo>
                          <a:pt x="146" y="70"/>
                        </a:lnTo>
                        <a:lnTo>
                          <a:pt x="147" y="75"/>
                        </a:lnTo>
                        <a:lnTo>
                          <a:pt x="152" y="87"/>
                        </a:lnTo>
                        <a:lnTo>
                          <a:pt x="146" y="103"/>
                        </a:lnTo>
                        <a:lnTo>
                          <a:pt x="145" y="110"/>
                        </a:lnTo>
                        <a:lnTo>
                          <a:pt x="130" y="110"/>
                        </a:lnTo>
                        <a:lnTo>
                          <a:pt x="118" y="108"/>
                        </a:lnTo>
                        <a:lnTo>
                          <a:pt x="108" y="98"/>
                        </a:lnTo>
                        <a:lnTo>
                          <a:pt x="99" y="88"/>
                        </a:lnTo>
                        <a:lnTo>
                          <a:pt x="84" y="83"/>
                        </a:lnTo>
                        <a:lnTo>
                          <a:pt x="76" y="82"/>
                        </a:lnTo>
                        <a:lnTo>
                          <a:pt x="67" y="79"/>
                        </a:lnTo>
                        <a:lnTo>
                          <a:pt x="61" y="71"/>
                        </a:lnTo>
                        <a:lnTo>
                          <a:pt x="49" y="66"/>
                        </a:lnTo>
                        <a:lnTo>
                          <a:pt x="37" y="56"/>
                        </a:lnTo>
                        <a:lnTo>
                          <a:pt x="25" y="51"/>
                        </a:lnTo>
                        <a:lnTo>
                          <a:pt x="8" y="48"/>
                        </a:lnTo>
                        <a:lnTo>
                          <a:pt x="2" y="40"/>
                        </a:lnTo>
                        <a:lnTo>
                          <a:pt x="0" y="26"/>
                        </a:lnTo>
                        <a:lnTo>
                          <a:pt x="1" y="18"/>
                        </a:lnTo>
                        <a:lnTo>
                          <a:pt x="3" y="15"/>
                        </a:lnTo>
                        <a:lnTo>
                          <a:pt x="6" y="10"/>
                        </a:lnTo>
                        <a:lnTo>
                          <a:pt x="9" y="8"/>
                        </a:lnTo>
                        <a:lnTo>
                          <a:pt x="19" y="15"/>
                        </a:lnTo>
                        <a:lnTo>
                          <a:pt x="25" y="15"/>
                        </a:lnTo>
                        <a:lnTo>
                          <a:pt x="41" y="5"/>
                        </a:lnTo>
                        <a:lnTo>
                          <a:pt x="62" y="15"/>
                        </a:lnTo>
                        <a:lnTo>
                          <a:pt x="66" y="22"/>
                        </a:lnTo>
                        <a:lnTo>
                          <a:pt x="73" y="22"/>
                        </a:lnTo>
                        <a:lnTo>
                          <a:pt x="80" y="20"/>
                        </a:lnTo>
                        <a:lnTo>
                          <a:pt x="110" y="16"/>
                        </a:lnTo>
                        <a:lnTo>
                          <a:pt x="119" y="13"/>
                        </a:lnTo>
                        <a:lnTo>
                          <a:pt x="127" y="8"/>
                        </a:lnTo>
                        <a:lnTo>
                          <a:pt x="146" y="8"/>
                        </a:lnTo>
                        <a:lnTo>
                          <a:pt x="152" y="4"/>
                        </a:lnTo>
                        <a:lnTo>
                          <a:pt x="163" y="2"/>
                        </a:lnTo>
                        <a:lnTo>
                          <a:pt x="172" y="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60000"/>
                      <a:lumOff val="40000"/>
                    </a:schemeClr>
                  </a:solidFill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496" name="Freeform 188"/>
                  <p:cNvSpPr>
                    <a:spLocks/>
                  </p:cNvSpPr>
                  <p:nvPr/>
                </p:nvSpPr>
                <p:spPr bwMode="gray">
                  <a:xfrm>
                    <a:off x="2606" y="1991"/>
                    <a:ext cx="16" cy="35"/>
                  </a:xfrm>
                  <a:custGeom>
                    <a:avLst/>
                    <a:gdLst>
                      <a:gd name="T0" fmla="*/ 2 w 82"/>
                      <a:gd name="T1" fmla="*/ 0 h 173"/>
                      <a:gd name="T2" fmla="*/ 2 w 82"/>
                      <a:gd name="T3" fmla="*/ 0 h 173"/>
                      <a:gd name="T4" fmla="*/ 2 w 82"/>
                      <a:gd name="T5" fmla="*/ 0 h 173"/>
                      <a:gd name="T6" fmla="*/ 3 w 82"/>
                      <a:gd name="T7" fmla="*/ 0 h 173"/>
                      <a:gd name="T8" fmla="*/ 3 w 82"/>
                      <a:gd name="T9" fmla="*/ 1 h 173"/>
                      <a:gd name="T10" fmla="*/ 3 w 82"/>
                      <a:gd name="T11" fmla="*/ 2 h 173"/>
                      <a:gd name="T12" fmla="*/ 3 w 82"/>
                      <a:gd name="T13" fmla="*/ 3 h 173"/>
                      <a:gd name="T14" fmla="*/ 3 w 82"/>
                      <a:gd name="T15" fmla="*/ 3 h 173"/>
                      <a:gd name="T16" fmla="*/ 3 w 82"/>
                      <a:gd name="T17" fmla="*/ 4 h 173"/>
                      <a:gd name="T18" fmla="*/ 3 w 82"/>
                      <a:gd name="T19" fmla="*/ 6 h 173"/>
                      <a:gd name="T20" fmla="*/ 3 w 82"/>
                      <a:gd name="T21" fmla="*/ 6 h 173"/>
                      <a:gd name="T22" fmla="*/ 3 w 82"/>
                      <a:gd name="T23" fmla="*/ 6 h 173"/>
                      <a:gd name="T24" fmla="*/ 3 w 82"/>
                      <a:gd name="T25" fmla="*/ 6 h 173"/>
                      <a:gd name="T26" fmla="*/ 2 w 82"/>
                      <a:gd name="T27" fmla="*/ 6 h 173"/>
                      <a:gd name="T28" fmla="*/ 2 w 82"/>
                      <a:gd name="T29" fmla="*/ 6 h 173"/>
                      <a:gd name="T30" fmla="*/ 2 w 82"/>
                      <a:gd name="T31" fmla="*/ 7 h 173"/>
                      <a:gd name="T32" fmla="*/ 2 w 82"/>
                      <a:gd name="T33" fmla="*/ 7 h 173"/>
                      <a:gd name="T34" fmla="*/ 1 w 82"/>
                      <a:gd name="T35" fmla="*/ 7 h 173"/>
                      <a:gd name="T36" fmla="*/ 1 w 82"/>
                      <a:gd name="T37" fmla="*/ 7 h 173"/>
                      <a:gd name="T38" fmla="*/ 1 w 82"/>
                      <a:gd name="T39" fmla="*/ 6 h 173"/>
                      <a:gd name="T40" fmla="*/ 1 w 82"/>
                      <a:gd name="T41" fmla="*/ 6 h 173"/>
                      <a:gd name="T42" fmla="*/ 1 w 82"/>
                      <a:gd name="T43" fmla="*/ 6 h 173"/>
                      <a:gd name="T44" fmla="*/ 0 w 82"/>
                      <a:gd name="T45" fmla="*/ 5 h 173"/>
                      <a:gd name="T46" fmla="*/ 1 w 82"/>
                      <a:gd name="T47" fmla="*/ 4 h 173"/>
                      <a:gd name="T48" fmla="*/ 1 w 82"/>
                      <a:gd name="T49" fmla="*/ 4 h 173"/>
                      <a:gd name="T50" fmla="*/ 1 w 82"/>
                      <a:gd name="T51" fmla="*/ 4 h 173"/>
                      <a:gd name="T52" fmla="*/ 1 w 82"/>
                      <a:gd name="T53" fmla="*/ 4 h 173"/>
                      <a:gd name="T54" fmla="*/ 1 w 82"/>
                      <a:gd name="T55" fmla="*/ 4 h 173"/>
                      <a:gd name="T56" fmla="*/ 1 w 82"/>
                      <a:gd name="T57" fmla="*/ 3 h 173"/>
                      <a:gd name="T58" fmla="*/ 1 w 82"/>
                      <a:gd name="T59" fmla="*/ 3 h 173"/>
                      <a:gd name="T60" fmla="*/ 0 w 82"/>
                      <a:gd name="T61" fmla="*/ 3 h 173"/>
                      <a:gd name="T62" fmla="*/ 0 w 82"/>
                      <a:gd name="T63" fmla="*/ 2 h 173"/>
                      <a:gd name="T64" fmla="*/ 0 w 82"/>
                      <a:gd name="T65" fmla="*/ 2 h 173"/>
                      <a:gd name="T66" fmla="*/ 0 w 82"/>
                      <a:gd name="T67" fmla="*/ 2 h 173"/>
                      <a:gd name="T68" fmla="*/ 0 w 82"/>
                      <a:gd name="T69" fmla="*/ 2 h 173"/>
                      <a:gd name="T70" fmla="*/ 0 w 82"/>
                      <a:gd name="T71" fmla="*/ 1 h 173"/>
                      <a:gd name="T72" fmla="*/ 0 w 82"/>
                      <a:gd name="T73" fmla="*/ 1 h 173"/>
                      <a:gd name="T74" fmla="*/ 0 w 82"/>
                      <a:gd name="T75" fmla="*/ 1 h 173"/>
                      <a:gd name="T76" fmla="*/ 1 w 82"/>
                      <a:gd name="T77" fmla="*/ 1 h 173"/>
                      <a:gd name="T78" fmla="*/ 2 w 82"/>
                      <a:gd name="T79" fmla="*/ 0 h 173"/>
                      <a:gd name="T80" fmla="*/ 2 w 82"/>
                      <a:gd name="T81" fmla="*/ 0 h 173"/>
                      <a:gd name="T82" fmla="*/ 2 w 82"/>
                      <a:gd name="T83" fmla="*/ 0 h 173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w 82"/>
                      <a:gd name="T127" fmla="*/ 0 h 173"/>
                      <a:gd name="T128" fmla="*/ 82 w 82"/>
                      <a:gd name="T129" fmla="*/ 173 h 173"/>
                    </a:gdLst>
                    <a:ahLst/>
                    <a:cxnLst>
                      <a:cxn ang="T84">
                        <a:pos x="T0" y="T1"/>
                      </a:cxn>
                      <a:cxn ang="T85">
                        <a:pos x="T2" y="T3"/>
                      </a:cxn>
                      <a:cxn ang="T86">
                        <a:pos x="T4" y="T5"/>
                      </a:cxn>
                      <a:cxn ang="T87">
                        <a:pos x="T6" y="T7"/>
                      </a:cxn>
                      <a:cxn ang="T88">
                        <a:pos x="T8" y="T9"/>
                      </a:cxn>
                      <a:cxn ang="T89">
                        <a:pos x="T10" y="T11"/>
                      </a:cxn>
                      <a:cxn ang="T90">
                        <a:pos x="T12" y="T13"/>
                      </a:cxn>
                      <a:cxn ang="T91">
                        <a:pos x="T14" y="T15"/>
                      </a:cxn>
                      <a:cxn ang="T92">
                        <a:pos x="T16" y="T17"/>
                      </a:cxn>
                      <a:cxn ang="T93">
                        <a:pos x="T18" y="T19"/>
                      </a:cxn>
                      <a:cxn ang="T94">
                        <a:pos x="T20" y="T21"/>
                      </a:cxn>
                      <a:cxn ang="T95">
                        <a:pos x="T22" y="T23"/>
                      </a:cxn>
                      <a:cxn ang="T96">
                        <a:pos x="T24" y="T25"/>
                      </a:cxn>
                      <a:cxn ang="T97">
                        <a:pos x="T26" y="T27"/>
                      </a:cxn>
                      <a:cxn ang="T98">
                        <a:pos x="T28" y="T29"/>
                      </a:cxn>
                      <a:cxn ang="T99">
                        <a:pos x="T30" y="T31"/>
                      </a:cxn>
                      <a:cxn ang="T100">
                        <a:pos x="T32" y="T33"/>
                      </a:cxn>
                      <a:cxn ang="T101">
                        <a:pos x="T34" y="T35"/>
                      </a:cxn>
                      <a:cxn ang="T102">
                        <a:pos x="T36" y="T37"/>
                      </a:cxn>
                      <a:cxn ang="T103">
                        <a:pos x="T38" y="T39"/>
                      </a:cxn>
                      <a:cxn ang="T104">
                        <a:pos x="T40" y="T41"/>
                      </a:cxn>
                      <a:cxn ang="T105">
                        <a:pos x="T42" y="T43"/>
                      </a:cxn>
                      <a:cxn ang="T106">
                        <a:pos x="T44" y="T45"/>
                      </a:cxn>
                      <a:cxn ang="T107">
                        <a:pos x="T46" y="T47"/>
                      </a:cxn>
                      <a:cxn ang="T108">
                        <a:pos x="T48" y="T49"/>
                      </a:cxn>
                      <a:cxn ang="T109">
                        <a:pos x="T50" y="T51"/>
                      </a:cxn>
                      <a:cxn ang="T110">
                        <a:pos x="T52" y="T53"/>
                      </a:cxn>
                      <a:cxn ang="T111">
                        <a:pos x="T54" y="T55"/>
                      </a:cxn>
                      <a:cxn ang="T112">
                        <a:pos x="T56" y="T57"/>
                      </a:cxn>
                      <a:cxn ang="T113">
                        <a:pos x="T58" y="T59"/>
                      </a:cxn>
                      <a:cxn ang="T114">
                        <a:pos x="T60" y="T61"/>
                      </a:cxn>
                      <a:cxn ang="T115">
                        <a:pos x="T62" y="T63"/>
                      </a:cxn>
                      <a:cxn ang="T116">
                        <a:pos x="T64" y="T65"/>
                      </a:cxn>
                      <a:cxn ang="T117">
                        <a:pos x="T66" y="T67"/>
                      </a:cxn>
                      <a:cxn ang="T118">
                        <a:pos x="T68" y="T69"/>
                      </a:cxn>
                      <a:cxn ang="T119">
                        <a:pos x="T70" y="T71"/>
                      </a:cxn>
                      <a:cxn ang="T120">
                        <a:pos x="T72" y="T73"/>
                      </a:cxn>
                      <a:cxn ang="T121">
                        <a:pos x="T74" y="T75"/>
                      </a:cxn>
                      <a:cxn ang="T122">
                        <a:pos x="T76" y="T77"/>
                      </a:cxn>
                      <a:cxn ang="T123">
                        <a:pos x="T78" y="T79"/>
                      </a:cxn>
                      <a:cxn ang="T124">
                        <a:pos x="T80" y="T81"/>
                      </a:cxn>
                      <a:cxn ang="T125">
                        <a:pos x="T82" y="T83"/>
                      </a:cxn>
                    </a:cxnLst>
                    <a:rect l="T126" t="T127" r="T128" b="T129"/>
                    <a:pathLst>
                      <a:path w="82" h="173">
                        <a:moveTo>
                          <a:pt x="50" y="0"/>
                        </a:moveTo>
                        <a:lnTo>
                          <a:pt x="63" y="5"/>
                        </a:lnTo>
                        <a:lnTo>
                          <a:pt x="64" y="8"/>
                        </a:lnTo>
                        <a:lnTo>
                          <a:pt x="70" y="12"/>
                        </a:lnTo>
                        <a:lnTo>
                          <a:pt x="75" y="24"/>
                        </a:lnTo>
                        <a:lnTo>
                          <a:pt x="81" y="43"/>
                        </a:lnTo>
                        <a:lnTo>
                          <a:pt x="82" y="63"/>
                        </a:lnTo>
                        <a:lnTo>
                          <a:pt x="80" y="79"/>
                        </a:lnTo>
                        <a:lnTo>
                          <a:pt x="81" y="111"/>
                        </a:lnTo>
                        <a:lnTo>
                          <a:pt x="80" y="138"/>
                        </a:lnTo>
                        <a:lnTo>
                          <a:pt x="76" y="144"/>
                        </a:lnTo>
                        <a:lnTo>
                          <a:pt x="76" y="149"/>
                        </a:lnTo>
                        <a:lnTo>
                          <a:pt x="70" y="154"/>
                        </a:lnTo>
                        <a:lnTo>
                          <a:pt x="57" y="150"/>
                        </a:lnTo>
                        <a:lnTo>
                          <a:pt x="52" y="155"/>
                        </a:lnTo>
                        <a:lnTo>
                          <a:pt x="47" y="165"/>
                        </a:lnTo>
                        <a:lnTo>
                          <a:pt x="41" y="171"/>
                        </a:lnTo>
                        <a:lnTo>
                          <a:pt x="31" y="173"/>
                        </a:lnTo>
                        <a:lnTo>
                          <a:pt x="26" y="168"/>
                        </a:lnTo>
                        <a:lnTo>
                          <a:pt x="15" y="152"/>
                        </a:lnTo>
                        <a:lnTo>
                          <a:pt x="14" y="144"/>
                        </a:lnTo>
                        <a:lnTo>
                          <a:pt x="14" y="139"/>
                        </a:lnTo>
                        <a:lnTo>
                          <a:pt x="11" y="130"/>
                        </a:lnTo>
                        <a:lnTo>
                          <a:pt x="14" y="109"/>
                        </a:lnTo>
                        <a:lnTo>
                          <a:pt x="17" y="106"/>
                        </a:lnTo>
                        <a:lnTo>
                          <a:pt x="18" y="101"/>
                        </a:lnTo>
                        <a:lnTo>
                          <a:pt x="16" y="97"/>
                        </a:lnTo>
                        <a:lnTo>
                          <a:pt x="14" y="89"/>
                        </a:lnTo>
                        <a:lnTo>
                          <a:pt x="15" y="80"/>
                        </a:lnTo>
                        <a:lnTo>
                          <a:pt x="15" y="70"/>
                        </a:lnTo>
                        <a:lnTo>
                          <a:pt x="12" y="63"/>
                        </a:lnTo>
                        <a:lnTo>
                          <a:pt x="10" y="54"/>
                        </a:lnTo>
                        <a:lnTo>
                          <a:pt x="7" y="53"/>
                        </a:lnTo>
                        <a:lnTo>
                          <a:pt x="4" y="53"/>
                        </a:lnTo>
                        <a:lnTo>
                          <a:pt x="0" y="47"/>
                        </a:lnTo>
                        <a:lnTo>
                          <a:pt x="0" y="26"/>
                        </a:lnTo>
                        <a:lnTo>
                          <a:pt x="1" y="25"/>
                        </a:lnTo>
                        <a:lnTo>
                          <a:pt x="10" y="33"/>
                        </a:lnTo>
                        <a:lnTo>
                          <a:pt x="20" y="32"/>
                        </a:lnTo>
                        <a:lnTo>
                          <a:pt x="39" y="12"/>
                        </a:lnTo>
                        <a:lnTo>
                          <a:pt x="45" y="10"/>
                        </a:lnTo>
                        <a:lnTo>
                          <a:pt x="50" y="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60000"/>
                      <a:lumOff val="40000"/>
                    </a:schemeClr>
                  </a:solidFill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497" name="Freeform 189"/>
                  <p:cNvSpPr>
                    <a:spLocks/>
                  </p:cNvSpPr>
                  <p:nvPr/>
                </p:nvSpPr>
                <p:spPr bwMode="gray">
                  <a:xfrm>
                    <a:off x="2589" y="1903"/>
                    <a:ext cx="129" cy="136"/>
                  </a:xfrm>
                  <a:custGeom>
                    <a:avLst/>
                    <a:gdLst>
                      <a:gd name="T0" fmla="*/ 8 w 645"/>
                      <a:gd name="T1" fmla="*/ 2 h 681"/>
                      <a:gd name="T2" fmla="*/ 7 w 645"/>
                      <a:gd name="T3" fmla="*/ 2 h 681"/>
                      <a:gd name="T4" fmla="*/ 6 w 645"/>
                      <a:gd name="T5" fmla="*/ 2 h 681"/>
                      <a:gd name="T6" fmla="*/ 5 w 645"/>
                      <a:gd name="T7" fmla="*/ 4 h 681"/>
                      <a:gd name="T8" fmla="*/ 4 w 645"/>
                      <a:gd name="T9" fmla="*/ 3 h 681"/>
                      <a:gd name="T10" fmla="*/ 3 w 645"/>
                      <a:gd name="T11" fmla="*/ 3 h 681"/>
                      <a:gd name="T12" fmla="*/ 1 w 645"/>
                      <a:gd name="T13" fmla="*/ 4 h 681"/>
                      <a:gd name="T14" fmla="*/ 0 w 645"/>
                      <a:gd name="T15" fmla="*/ 4 h 681"/>
                      <a:gd name="T16" fmla="*/ 0 w 645"/>
                      <a:gd name="T17" fmla="*/ 6 h 681"/>
                      <a:gd name="T18" fmla="*/ 0 w 645"/>
                      <a:gd name="T19" fmla="*/ 7 h 681"/>
                      <a:gd name="T20" fmla="*/ 1 w 645"/>
                      <a:gd name="T21" fmla="*/ 9 h 681"/>
                      <a:gd name="T22" fmla="*/ 2 w 645"/>
                      <a:gd name="T23" fmla="*/ 10 h 681"/>
                      <a:gd name="T24" fmla="*/ 3 w 645"/>
                      <a:gd name="T25" fmla="*/ 10 h 681"/>
                      <a:gd name="T26" fmla="*/ 4 w 645"/>
                      <a:gd name="T27" fmla="*/ 9 h 681"/>
                      <a:gd name="T28" fmla="*/ 5 w 645"/>
                      <a:gd name="T29" fmla="*/ 9 h 681"/>
                      <a:gd name="T30" fmla="*/ 8 w 645"/>
                      <a:gd name="T31" fmla="*/ 10 h 681"/>
                      <a:gd name="T32" fmla="*/ 9 w 645"/>
                      <a:gd name="T33" fmla="*/ 13 h 681"/>
                      <a:gd name="T34" fmla="*/ 10 w 645"/>
                      <a:gd name="T35" fmla="*/ 14 h 681"/>
                      <a:gd name="T36" fmla="*/ 12 w 645"/>
                      <a:gd name="T37" fmla="*/ 16 h 681"/>
                      <a:gd name="T38" fmla="*/ 15 w 645"/>
                      <a:gd name="T39" fmla="*/ 18 h 681"/>
                      <a:gd name="T40" fmla="*/ 17 w 645"/>
                      <a:gd name="T41" fmla="*/ 19 h 681"/>
                      <a:gd name="T42" fmla="*/ 18 w 645"/>
                      <a:gd name="T43" fmla="*/ 19 h 681"/>
                      <a:gd name="T44" fmla="*/ 18 w 645"/>
                      <a:gd name="T45" fmla="*/ 21 h 681"/>
                      <a:gd name="T46" fmla="*/ 19 w 645"/>
                      <a:gd name="T47" fmla="*/ 21 h 681"/>
                      <a:gd name="T48" fmla="*/ 20 w 645"/>
                      <a:gd name="T49" fmla="*/ 22 h 681"/>
                      <a:gd name="T50" fmla="*/ 20 w 645"/>
                      <a:gd name="T51" fmla="*/ 25 h 681"/>
                      <a:gd name="T52" fmla="*/ 20 w 645"/>
                      <a:gd name="T53" fmla="*/ 26 h 681"/>
                      <a:gd name="T54" fmla="*/ 20 w 645"/>
                      <a:gd name="T55" fmla="*/ 27 h 681"/>
                      <a:gd name="T56" fmla="*/ 21 w 645"/>
                      <a:gd name="T57" fmla="*/ 26 h 681"/>
                      <a:gd name="T58" fmla="*/ 22 w 645"/>
                      <a:gd name="T59" fmla="*/ 26 h 681"/>
                      <a:gd name="T60" fmla="*/ 22 w 645"/>
                      <a:gd name="T61" fmla="*/ 24 h 681"/>
                      <a:gd name="T62" fmla="*/ 23 w 645"/>
                      <a:gd name="T63" fmla="*/ 23 h 681"/>
                      <a:gd name="T64" fmla="*/ 22 w 645"/>
                      <a:gd name="T65" fmla="*/ 22 h 681"/>
                      <a:gd name="T66" fmla="*/ 22 w 645"/>
                      <a:gd name="T67" fmla="*/ 20 h 681"/>
                      <a:gd name="T68" fmla="*/ 24 w 645"/>
                      <a:gd name="T69" fmla="*/ 20 h 681"/>
                      <a:gd name="T70" fmla="*/ 25 w 645"/>
                      <a:gd name="T71" fmla="*/ 22 h 681"/>
                      <a:gd name="T72" fmla="*/ 25 w 645"/>
                      <a:gd name="T73" fmla="*/ 20 h 681"/>
                      <a:gd name="T74" fmla="*/ 23 w 645"/>
                      <a:gd name="T75" fmla="*/ 18 h 681"/>
                      <a:gd name="T76" fmla="*/ 20 w 645"/>
                      <a:gd name="T77" fmla="*/ 17 h 681"/>
                      <a:gd name="T78" fmla="*/ 20 w 645"/>
                      <a:gd name="T79" fmla="*/ 17 h 681"/>
                      <a:gd name="T80" fmla="*/ 20 w 645"/>
                      <a:gd name="T81" fmla="*/ 16 h 681"/>
                      <a:gd name="T82" fmla="*/ 19 w 645"/>
                      <a:gd name="T83" fmla="*/ 16 h 681"/>
                      <a:gd name="T84" fmla="*/ 17 w 645"/>
                      <a:gd name="T85" fmla="*/ 15 h 681"/>
                      <a:gd name="T86" fmla="*/ 16 w 645"/>
                      <a:gd name="T87" fmla="*/ 14 h 681"/>
                      <a:gd name="T88" fmla="*/ 15 w 645"/>
                      <a:gd name="T89" fmla="*/ 11 h 681"/>
                      <a:gd name="T90" fmla="*/ 14 w 645"/>
                      <a:gd name="T91" fmla="*/ 11 h 681"/>
                      <a:gd name="T92" fmla="*/ 13 w 645"/>
                      <a:gd name="T93" fmla="*/ 9 h 681"/>
                      <a:gd name="T94" fmla="*/ 12 w 645"/>
                      <a:gd name="T95" fmla="*/ 7 h 681"/>
                      <a:gd name="T96" fmla="*/ 12 w 645"/>
                      <a:gd name="T97" fmla="*/ 6 h 681"/>
                      <a:gd name="T98" fmla="*/ 13 w 645"/>
                      <a:gd name="T99" fmla="*/ 5 h 681"/>
                      <a:gd name="T100" fmla="*/ 15 w 645"/>
                      <a:gd name="T101" fmla="*/ 4 h 681"/>
                      <a:gd name="T102" fmla="*/ 15 w 645"/>
                      <a:gd name="T103" fmla="*/ 5 h 681"/>
                      <a:gd name="T104" fmla="*/ 16 w 645"/>
                      <a:gd name="T105" fmla="*/ 5 h 681"/>
                      <a:gd name="T106" fmla="*/ 15 w 645"/>
                      <a:gd name="T107" fmla="*/ 4 h 681"/>
                      <a:gd name="T108" fmla="*/ 15 w 645"/>
                      <a:gd name="T109" fmla="*/ 3 h 681"/>
                      <a:gd name="T110" fmla="*/ 15 w 645"/>
                      <a:gd name="T111" fmla="*/ 3 h 681"/>
                      <a:gd name="T112" fmla="*/ 15 w 645"/>
                      <a:gd name="T113" fmla="*/ 2 h 681"/>
                      <a:gd name="T114" fmla="*/ 13 w 645"/>
                      <a:gd name="T115" fmla="*/ 1 h 681"/>
                      <a:gd name="T116" fmla="*/ 12 w 645"/>
                      <a:gd name="T117" fmla="*/ 0 h 681"/>
                      <a:gd name="T118" fmla="*/ 11 w 645"/>
                      <a:gd name="T119" fmla="*/ 0 h 681"/>
                      <a:gd name="T120" fmla="*/ 9 w 645"/>
                      <a:gd name="T121" fmla="*/ 1 h 681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w 645"/>
                      <a:gd name="T184" fmla="*/ 0 h 681"/>
                      <a:gd name="T185" fmla="*/ 645 w 645"/>
                      <a:gd name="T186" fmla="*/ 681 h 681"/>
                    </a:gdLst>
                    <a:ahLst/>
                    <a:cxnLst>
                      <a:cxn ang="T122">
                        <a:pos x="T0" y="T1"/>
                      </a:cxn>
                      <a:cxn ang="T123">
                        <a:pos x="T2" y="T3"/>
                      </a:cxn>
                      <a:cxn ang="T124">
                        <a:pos x="T4" y="T5"/>
                      </a:cxn>
                      <a:cxn ang="T125">
                        <a:pos x="T6" y="T7"/>
                      </a:cxn>
                      <a:cxn ang="T126">
                        <a:pos x="T8" y="T9"/>
                      </a:cxn>
                      <a:cxn ang="T127">
                        <a:pos x="T10" y="T11"/>
                      </a:cxn>
                      <a:cxn ang="T128">
                        <a:pos x="T12" y="T13"/>
                      </a:cxn>
                      <a:cxn ang="T129">
                        <a:pos x="T14" y="T15"/>
                      </a:cxn>
                      <a:cxn ang="T130">
                        <a:pos x="T16" y="T17"/>
                      </a:cxn>
                      <a:cxn ang="T131">
                        <a:pos x="T18" y="T19"/>
                      </a:cxn>
                      <a:cxn ang="T132">
                        <a:pos x="T20" y="T21"/>
                      </a:cxn>
                      <a:cxn ang="T133">
                        <a:pos x="T22" y="T23"/>
                      </a:cxn>
                      <a:cxn ang="T134">
                        <a:pos x="T24" y="T25"/>
                      </a:cxn>
                      <a:cxn ang="T135">
                        <a:pos x="T26" y="T27"/>
                      </a:cxn>
                      <a:cxn ang="T136">
                        <a:pos x="T28" y="T29"/>
                      </a:cxn>
                      <a:cxn ang="T137">
                        <a:pos x="T30" y="T31"/>
                      </a:cxn>
                      <a:cxn ang="T138">
                        <a:pos x="T32" y="T33"/>
                      </a:cxn>
                      <a:cxn ang="T139">
                        <a:pos x="T34" y="T35"/>
                      </a:cxn>
                      <a:cxn ang="T140">
                        <a:pos x="T36" y="T37"/>
                      </a:cxn>
                      <a:cxn ang="T141">
                        <a:pos x="T38" y="T39"/>
                      </a:cxn>
                      <a:cxn ang="T142">
                        <a:pos x="T40" y="T41"/>
                      </a:cxn>
                      <a:cxn ang="T143">
                        <a:pos x="T42" y="T43"/>
                      </a:cxn>
                      <a:cxn ang="T144">
                        <a:pos x="T44" y="T45"/>
                      </a:cxn>
                      <a:cxn ang="T145">
                        <a:pos x="T46" y="T47"/>
                      </a:cxn>
                      <a:cxn ang="T146">
                        <a:pos x="T48" y="T49"/>
                      </a:cxn>
                      <a:cxn ang="T147">
                        <a:pos x="T50" y="T51"/>
                      </a:cxn>
                      <a:cxn ang="T148">
                        <a:pos x="T52" y="T53"/>
                      </a:cxn>
                      <a:cxn ang="T149">
                        <a:pos x="T54" y="T55"/>
                      </a:cxn>
                      <a:cxn ang="T150">
                        <a:pos x="T56" y="T57"/>
                      </a:cxn>
                      <a:cxn ang="T151">
                        <a:pos x="T58" y="T59"/>
                      </a:cxn>
                      <a:cxn ang="T152">
                        <a:pos x="T60" y="T61"/>
                      </a:cxn>
                      <a:cxn ang="T153">
                        <a:pos x="T62" y="T63"/>
                      </a:cxn>
                      <a:cxn ang="T154">
                        <a:pos x="T64" y="T65"/>
                      </a:cxn>
                      <a:cxn ang="T155">
                        <a:pos x="T66" y="T67"/>
                      </a:cxn>
                      <a:cxn ang="T156">
                        <a:pos x="T68" y="T69"/>
                      </a:cxn>
                      <a:cxn ang="T157">
                        <a:pos x="T70" y="T71"/>
                      </a:cxn>
                      <a:cxn ang="T158">
                        <a:pos x="T72" y="T73"/>
                      </a:cxn>
                      <a:cxn ang="T159">
                        <a:pos x="T74" y="T75"/>
                      </a:cxn>
                      <a:cxn ang="T160">
                        <a:pos x="T76" y="T77"/>
                      </a:cxn>
                      <a:cxn ang="T161">
                        <a:pos x="T78" y="T79"/>
                      </a:cxn>
                      <a:cxn ang="T162">
                        <a:pos x="T80" y="T81"/>
                      </a:cxn>
                      <a:cxn ang="T163">
                        <a:pos x="T82" y="T83"/>
                      </a:cxn>
                      <a:cxn ang="T164">
                        <a:pos x="T84" y="T85"/>
                      </a:cxn>
                      <a:cxn ang="T165">
                        <a:pos x="T86" y="T87"/>
                      </a:cxn>
                      <a:cxn ang="T166">
                        <a:pos x="T88" y="T89"/>
                      </a:cxn>
                      <a:cxn ang="T167">
                        <a:pos x="T90" y="T91"/>
                      </a:cxn>
                      <a:cxn ang="T168">
                        <a:pos x="T92" y="T93"/>
                      </a:cxn>
                      <a:cxn ang="T169">
                        <a:pos x="T94" y="T95"/>
                      </a:cxn>
                      <a:cxn ang="T170">
                        <a:pos x="T96" y="T97"/>
                      </a:cxn>
                      <a:cxn ang="T171">
                        <a:pos x="T98" y="T99"/>
                      </a:cxn>
                      <a:cxn ang="T172">
                        <a:pos x="T100" y="T101"/>
                      </a:cxn>
                      <a:cxn ang="T173">
                        <a:pos x="T102" y="T103"/>
                      </a:cxn>
                      <a:cxn ang="T174">
                        <a:pos x="T104" y="T105"/>
                      </a:cxn>
                      <a:cxn ang="T175">
                        <a:pos x="T106" y="T107"/>
                      </a:cxn>
                      <a:cxn ang="T176">
                        <a:pos x="T108" y="T109"/>
                      </a:cxn>
                      <a:cxn ang="T177">
                        <a:pos x="T110" y="T111"/>
                      </a:cxn>
                      <a:cxn ang="T178">
                        <a:pos x="T112" y="T113"/>
                      </a:cxn>
                      <a:cxn ang="T179">
                        <a:pos x="T114" y="T115"/>
                      </a:cxn>
                      <a:cxn ang="T180">
                        <a:pos x="T116" y="T117"/>
                      </a:cxn>
                      <a:cxn ang="T181">
                        <a:pos x="T118" y="T119"/>
                      </a:cxn>
                      <a:cxn ang="T182">
                        <a:pos x="T120" y="T121"/>
                      </a:cxn>
                    </a:cxnLst>
                    <a:rect l="T183" t="T184" r="T185" b="T186"/>
                    <a:pathLst>
                      <a:path w="645" h="681">
                        <a:moveTo>
                          <a:pt x="201" y="17"/>
                        </a:moveTo>
                        <a:lnTo>
                          <a:pt x="199" y="28"/>
                        </a:lnTo>
                        <a:lnTo>
                          <a:pt x="199" y="36"/>
                        </a:lnTo>
                        <a:lnTo>
                          <a:pt x="195" y="38"/>
                        </a:lnTo>
                        <a:lnTo>
                          <a:pt x="184" y="40"/>
                        </a:lnTo>
                        <a:lnTo>
                          <a:pt x="183" y="46"/>
                        </a:lnTo>
                        <a:lnTo>
                          <a:pt x="184" y="53"/>
                        </a:lnTo>
                        <a:lnTo>
                          <a:pt x="186" y="59"/>
                        </a:lnTo>
                        <a:lnTo>
                          <a:pt x="185" y="63"/>
                        </a:lnTo>
                        <a:lnTo>
                          <a:pt x="164" y="59"/>
                        </a:lnTo>
                        <a:lnTo>
                          <a:pt x="153" y="58"/>
                        </a:lnTo>
                        <a:lnTo>
                          <a:pt x="147" y="53"/>
                        </a:lnTo>
                        <a:lnTo>
                          <a:pt x="140" y="49"/>
                        </a:lnTo>
                        <a:lnTo>
                          <a:pt x="137" y="60"/>
                        </a:lnTo>
                        <a:lnTo>
                          <a:pt x="126" y="79"/>
                        </a:lnTo>
                        <a:lnTo>
                          <a:pt x="125" y="89"/>
                        </a:lnTo>
                        <a:lnTo>
                          <a:pt x="123" y="94"/>
                        </a:lnTo>
                        <a:lnTo>
                          <a:pt x="115" y="89"/>
                        </a:lnTo>
                        <a:lnTo>
                          <a:pt x="109" y="81"/>
                        </a:lnTo>
                        <a:lnTo>
                          <a:pt x="98" y="73"/>
                        </a:lnTo>
                        <a:lnTo>
                          <a:pt x="92" y="53"/>
                        </a:lnTo>
                        <a:lnTo>
                          <a:pt x="81" y="59"/>
                        </a:lnTo>
                        <a:lnTo>
                          <a:pt x="75" y="68"/>
                        </a:lnTo>
                        <a:lnTo>
                          <a:pt x="75" y="76"/>
                        </a:lnTo>
                        <a:lnTo>
                          <a:pt x="71" y="81"/>
                        </a:lnTo>
                        <a:lnTo>
                          <a:pt x="60" y="90"/>
                        </a:lnTo>
                        <a:lnTo>
                          <a:pt x="48" y="90"/>
                        </a:lnTo>
                        <a:lnTo>
                          <a:pt x="23" y="96"/>
                        </a:lnTo>
                        <a:lnTo>
                          <a:pt x="14" y="96"/>
                        </a:lnTo>
                        <a:lnTo>
                          <a:pt x="5" y="97"/>
                        </a:lnTo>
                        <a:lnTo>
                          <a:pt x="3" y="102"/>
                        </a:lnTo>
                        <a:lnTo>
                          <a:pt x="5" y="107"/>
                        </a:lnTo>
                        <a:lnTo>
                          <a:pt x="16" y="133"/>
                        </a:lnTo>
                        <a:lnTo>
                          <a:pt x="18" y="143"/>
                        </a:lnTo>
                        <a:lnTo>
                          <a:pt x="7" y="150"/>
                        </a:lnTo>
                        <a:lnTo>
                          <a:pt x="2" y="156"/>
                        </a:lnTo>
                        <a:lnTo>
                          <a:pt x="0" y="165"/>
                        </a:lnTo>
                        <a:lnTo>
                          <a:pt x="1" y="170"/>
                        </a:lnTo>
                        <a:lnTo>
                          <a:pt x="2" y="175"/>
                        </a:lnTo>
                        <a:lnTo>
                          <a:pt x="11" y="177"/>
                        </a:lnTo>
                        <a:lnTo>
                          <a:pt x="12" y="186"/>
                        </a:lnTo>
                        <a:lnTo>
                          <a:pt x="10" y="194"/>
                        </a:lnTo>
                        <a:lnTo>
                          <a:pt x="11" y="205"/>
                        </a:lnTo>
                        <a:lnTo>
                          <a:pt x="13" y="216"/>
                        </a:lnTo>
                        <a:lnTo>
                          <a:pt x="19" y="225"/>
                        </a:lnTo>
                        <a:lnTo>
                          <a:pt x="44" y="227"/>
                        </a:lnTo>
                        <a:lnTo>
                          <a:pt x="48" y="236"/>
                        </a:lnTo>
                        <a:lnTo>
                          <a:pt x="48" y="245"/>
                        </a:lnTo>
                        <a:lnTo>
                          <a:pt x="45" y="251"/>
                        </a:lnTo>
                        <a:lnTo>
                          <a:pt x="46" y="254"/>
                        </a:lnTo>
                        <a:lnTo>
                          <a:pt x="54" y="254"/>
                        </a:lnTo>
                        <a:lnTo>
                          <a:pt x="64" y="254"/>
                        </a:lnTo>
                        <a:lnTo>
                          <a:pt x="80" y="247"/>
                        </a:lnTo>
                        <a:lnTo>
                          <a:pt x="81" y="240"/>
                        </a:lnTo>
                        <a:lnTo>
                          <a:pt x="89" y="226"/>
                        </a:lnTo>
                        <a:lnTo>
                          <a:pt x="94" y="224"/>
                        </a:lnTo>
                        <a:lnTo>
                          <a:pt x="97" y="218"/>
                        </a:lnTo>
                        <a:lnTo>
                          <a:pt x="114" y="210"/>
                        </a:lnTo>
                        <a:lnTo>
                          <a:pt x="123" y="210"/>
                        </a:lnTo>
                        <a:lnTo>
                          <a:pt x="132" y="213"/>
                        </a:lnTo>
                        <a:lnTo>
                          <a:pt x="173" y="236"/>
                        </a:lnTo>
                        <a:lnTo>
                          <a:pt x="190" y="243"/>
                        </a:lnTo>
                        <a:lnTo>
                          <a:pt x="193" y="248"/>
                        </a:lnTo>
                        <a:lnTo>
                          <a:pt x="195" y="259"/>
                        </a:lnTo>
                        <a:lnTo>
                          <a:pt x="207" y="294"/>
                        </a:lnTo>
                        <a:lnTo>
                          <a:pt x="211" y="306"/>
                        </a:lnTo>
                        <a:lnTo>
                          <a:pt x="210" y="313"/>
                        </a:lnTo>
                        <a:lnTo>
                          <a:pt x="231" y="333"/>
                        </a:lnTo>
                        <a:lnTo>
                          <a:pt x="241" y="345"/>
                        </a:lnTo>
                        <a:lnTo>
                          <a:pt x="244" y="361"/>
                        </a:lnTo>
                        <a:lnTo>
                          <a:pt x="252" y="358"/>
                        </a:lnTo>
                        <a:lnTo>
                          <a:pt x="259" y="358"/>
                        </a:lnTo>
                        <a:lnTo>
                          <a:pt x="269" y="365"/>
                        </a:lnTo>
                        <a:lnTo>
                          <a:pt x="282" y="386"/>
                        </a:lnTo>
                        <a:lnTo>
                          <a:pt x="292" y="387"/>
                        </a:lnTo>
                        <a:lnTo>
                          <a:pt x="309" y="410"/>
                        </a:lnTo>
                        <a:lnTo>
                          <a:pt x="323" y="424"/>
                        </a:lnTo>
                        <a:lnTo>
                          <a:pt x="347" y="444"/>
                        </a:lnTo>
                        <a:lnTo>
                          <a:pt x="352" y="442"/>
                        </a:lnTo>
                        <a:lnTo>
                          <a:pt x="379" y="444"/>
                        </a:lnTo>
                        <a:lnTo>
                          <a:pt x="385" y="445"/>
                        </a:lnTo>
                        <a:lnTo>
                          <a:pt x="400" y="462"/>
                        </a:lnTo>
                        <a:lnTo>
                          <a:pt x="404" y="472"/>
                        </a:lnTo>
                        <a:lnTo>
                          <a:pt x="421" y="479"/>
                        </a:lnTo>
                        <a:lnTo>
                          <a:pt x="422" y="482"/>
                        </a:lnTo>
                        <a:lnTo>
                          <a:pt x="421" y="490"/>
                        </a:lnTo>
                        <a:lnTo>
                          <a:pt x="440" y="487"/>
                        </a:lnTo>
                        <a:lnTo>
                          <a:pt x="444" y="488"/>
                        </a:lnTo>
                        <a:lnTo>
                          <a:pt x="449" y="494"/>
                        </a:lnTo>
                        <a:lnTo>
                          <a:pt x="453" y="505"/>
                        </a:lnTo>
                        <a:lnTo>
                          <a:pt x="451" y="512"/>
                        </a:lnTo>
                        <a:lnTo>
                          <a:pt x="455" y="520"/>
                        </a:lnTo>
                        <a:lnTo>
                          <a:pt x="467" y="525"/>
                        </a:lnTo>
                        <a:lnTo>
                          <a:pt x="473" y="530"/>
                        </a:lnTo>
                        <a:lnTo>
                          <a:pt x="478" y="537"/>
                        </a:lnTo>
                        <a:lnTo>
                          <a:pt x="483" y="527"/>
                        </a:lnTo>
                        <a:lnTo>
                          <a:pt x="487" y="527"/>
                        </a:lnTo>
                        <a:lnTo>
                          <a:pt x="495" y="539"/>
                        </a:lnTo>
                        <a:lnTo>
                          <a:pt x="495" y="546"/>
                        </a:lnTo>
                        <a:lnTo>
                          <a:pt x="498" y="559"/>
                        </a:lnTo>
                        <a:lnTo>
                          <a:pt x="510" y="578"/>
                        </a:lnTo>
                        <a:lnTo>
                          <a:pt x="513" y="596"/>
                        </a:lnTo>
                        <a:lnTo>
                          <a:pt x="522" y="617"/>
                        </a:lnTo>
                        <a:lnTo>
                          <a:pt x="507" y="624"/>
                        </a:lnTo>
                        <a:lnTo>
                          <a:pt x="500" y="629"/>
                        </a:lnTo>
                        <a:lnTo>
                          <a:pt x="503" y="640"/>
                        </a:lnTo>
                        <a:lnTo>
                          <a:pt x="496" y="651"/>
                        </a:lnTo>
                        <a:lnTo>
                          <a:pt x="492" y="661"/>
                        </a:lnTo>
                        <a:lnTo>
                          <a:pt x="494" y="673"/>
                        </a:lnTo>
                        <a:lnTo>
                          <a:pt x="496" y="681"/>
                        </a:lnTo>
                        <a:lnTo>
                          <a:pt x="496" y="678"/>
                        </a:lnTo>
                        <a:lnTo>
                          <a:pt x="496" y="681"/>
                        </a:lnTo>
                        <a:lnTo>
                          <a:pt x="503" y="681"/>
                        </a:lnTo>
                        <a:lnTo>
                          <a:pt x="511" y="681"/>
                        </a:lnTo>
                        <a:lnTo>
                          <a:pt x="514" y="678"/>
                        </a:lnTo>
                        <a:lnTo>
                          <a:pt x="522" y="661"/>
                        </a:lnTo>
                        <a:lnTo>
                          <a:pt x="525" y="656"/>
                        </a:lnTo>
                        <a:lnTo>
                          <a:pt x="532" y="651"/>
                        </a:lnTo>
                        <a:lnTo>
                          <a:pt x="538" y="649"/>
                        </a:lnTo>
                        <a:lnTo>
                          <a:pt x="540" y="643"/>
                        </a:lnTo>
                        <a:lnTo>
                          <a:pt x="541" y="621"/>
                        </a:lnTo>
                        <a:lnTo>
                          <a:pt x="544" y="616"/>
                        </a:lnTo>
                        <a:lnTo>
                          <a:pt x="553" y="613"/>
                        </a:lnTo>
                        <a:lnTo>
                          <a:pt x="562" y="607"/>
                        </a:lnTo>
                        <a:lnTo>
                          <a:pt x="567" y="607"/>
                        </a:lnTo>
                        <a:lnTo>
                          <a:pt x="570" y="603"/>
                        </a:lnTo>
                        <a:lnTo>
                          <a:pt x="570" y="590"/>
                        </a:lnTo>
                        <a:lnTo>
                          <a:pt x="568" y="585"/>
                        </a:lnTo>
                        <a:lnTo>
                          <a:pt x="567" y="575"/>
                        </a:lnTo>
                        <a:lnTo>
                          <a:pt x="564" y="570"/>
                        </a:lnTo>
                        <a:lnTo>
                          <a:pt x="554" y="564"/>
                        </a:lnTo>
                        <a:lnTo>
                          <a:pt x="549" y="558"/>
                        </a:lnTo>
                        <a:lnTo>
                          <a:pt x="538" y="553"/>
                        </a:lnTo>
                        <a:lnTo>
                          <a:pt x="538" y="543"/>
                        </a:lnTo>
                        <a:lnTo>
                          <a:pt x="543" y="523"/>
                        </a:lnTo>
                        <a:lnTo>
                          <a:pt x="551" y="511"/>
                        </a:lnTo>
                        <a:lnTo>
                          <a:pt x="564" y="499"/>
                        </a:lnTo>
                        <a:lnTo>
                          <a:pt x="575" y="496"/>
                        </a:lnTo>
                        <a:lnTo>
                          <a:pt x="591" y="509"/>
                        </a:lnTo>
                        <a:lnTo>
                          <a:pt x="604" y="512"/>
                        </a:lnTo>
                        <a:lnTo>
                          <a:pt x="615" y="519"/>
                        </a:lnTo>
                        <a:lnTo>
                          <a:pt x="619" y="527"/>
                        </a:lnTo>
                        <a:lnTo>
                          <a:pt x="626" y="539"/>
                        </a:lnTo>
                        <a:lnTo>
                          <a:pt x="637" y="546"/>
                        </a:lnTo>
                        <a:lnTo>
                          <a:pt x="637" y="543"/>
                        </a:lnTo>
                        <a:lnTo>
                          <a:pt x="645" y="527"/>
                        </a:lnTo>
                        <a:lnTo>
                          <a:pt x="642" y="520"/>
                        </a:lnTo>
                        <a:lnTo>
                          <a:pt x="636" y="511"/>
                        </a:lnTo>
                        <a:lnTo>
                          <a:pt x="626" y="500"/>
                        </a:lnTo>
                        <a:lnTo>
                          <a:pt x="615" y="482"/>
                        </a:lnTo>
                        <a:lnTo>
                          <a:pt x="580" y="468"/>
                        </a:lnTo>
                        <a:lnTo>
                          <a:pt x="572" y="460"/>
                        </a:lnTo>
                        <a:lnTo>
                          <a:pt x="560" y="452"/>
                        </a:lnTo>
                        <a:lnTo>
                          <a:pt x="524" y="437"/>
                        </a:lnTo>
                        <a:lnTo>
                          <a:pt x="516" y="433"/>
                        </a:lnTo>
                        <a:lnTo>
                          <a:pt x="510" y="430"/>
                        </a:lnTo>
                        <a:lnTo>
                          <a:pt x="506" y="430"/>
                        </a:lnTo>
                        <a:lnTo>
                          <a:pt x="502" y="426"/>
                        </a:lnTo>
                        <a:lnTo>
                          <a:pt x="502" y="420"/>
                        </a:lnTo>
                        <a:lnTo>
                          <a:pt x="508" y="414"/>
                        </a:lnTo>
                        <a:lnTo>
                          <a:pt x="516" y="409"/>
                        </a:lnTo>
                        <a:lnTo>
                          <a:pt x="517" y="401"/>
                        </a:lnTo>
                        <a:lnTo>
                          <a:pt x="511" y="392"/>
                        </a:lnTo>
                        <a:lnTo>
                          <a:pt x="500" y="392"/>
                        </a:lnTo>
                        <a:lnTo>
                          <a:pt x="496" y="394"/>
                        </a:lnTo>
                        <a:lnTo>
                          <a:pt x="503" y="392"/>
                        </a:lnTo>
                        <a:lnTo>
                          <a:pt x="496" y="394"/>
                        </a:lnTo>
                        <a:lnTo>
                          <a:pt x="465" y="394"/>
                        </a:lnTo>
                        <a:lnTo>
                          <a:pt x="465" y="403"/>
                        </a:lnTo>
                        <a:lnTo>
                          <a:pt x="453" y="390"/>
                        </a:lnTo>
                        <a:lnTo>
                          <a:pt x="442" y="382"/>
                        </a:lnTo>
                        <a:lnTo>
                          <a:pt x="437" y="382"/>
                        </a:lnTo>
                        <a:lnTo>
                          <a:pt x="435" y="374"/>
                        </a:lnTo>
                        <a:lnTo>
                          <a:pt x="431" y="374"/>
                        </a:lnTo>
                        <a:lnTo>
                          <a:pt x="410" y="354"/>
                        </a:lnTo>
                        <a:lnTo>
                          <a:pt x="405" y="345"/>
                        </a:lnTo>
                        <a:lnTo>
                          <a:pt x="398" y="332"/>
                        </a:lnTo>
                        <a:lnTo>
                          <a:pt x="392" y="313"/>
                        </a:lnTo>
                        <a:lnTo>
                          <a:pt x="388" y="309"/>
                        </a:lnTo>
                        <a:lnTo>
                          <a:pt x="382" y="285"/>
                        </a:lnTo>
                        <a:lnTo>
                          <a:pt x="374" y="270"/>
                        </a:lnTo>
                        <a:lnTo>
                          <a:pt x="369" y="267"/>
                        </a:lnTo>
                        <a:lnTo>
                          <a:pt x="363" y="267"/>
                        </a:lnTo>
                        <a:lnTo>
                          <a:pt x="362" y="263"/>
                        </a:lnTo>
                        <a:lnTo>
                          <a:pt x="347" y="254"/>
                        </a:lnTo>
                        <a:lnTo>
                          <a:pt x="341" y="247"/>
                        </a:lnTo>
                        <a:lnTo>
                          <a:pt x="320" y="237"/>
                        </a:lnTo>
                        <a:lnTo>
                          <a:pt x="314" y="230"/>
                        </a:lnTo>
                        <a:lnTo>
                          <a:pt x="309" y="220"/>
                        </a:lnTo>
                        <a:lnTo>
                          <a:pt x="306" y="211"/>
                        </a:lnTo>
                        <a:lnTo>
                          <a:pt x="306" y="193"/>
                        </a:lnTo>
                        <a:lnTo>
                          <a:pt x="308" y="177"/>
                        </a:lnTo>
                        <a:lnTo>
                          <a:pt x="313" y="172"/>
                        </a:lnTo>
                        <a:lnTo>
                          <a:pt x="314" y="165"/>
                        </a:lnTo>
                        <a:lnTo>
                          <a:pt x="312" y="159"/>
                        </a:lnTo>
                        <a:lnTo>
                          <a:pt x="304" y="156"/>
                        </a:lnTo>
                        <a:lnTo>
                          <a:pt x="302" y="141"/>
                        </a:lnTo>
                        <a:lnTo>
                          <a:pt x="304" y="134"/>
                        </a:lnTo>
                        <a:lnTo>
                          <a:pt x="314" y="126"/>
                        </a:lnTo>
                        <a:lnTo>
                          <a:pt x="318" y="126"/>
                        </a:lnTo>
                        <a:lnTo>
                          <a:pt x="319" y="127"/>
                        </a:lnTo>
                        <a:lnTo>
                          <a:pt x="324" y="126"/>
                        </a:lnTo>
                        <a:lnTo>
                          <a:pt x="357" y="108"/>
                        </a:lnTo>
                        <a:lnTo>
                          <a:pt x="366" y="111"/>
                        </a:lnTo>
                        <a:lnTo>
                          <a:pt x="376" y="106"/>
                        </a:lnTo>
                        <a:lnTo>
                          <a:pt x="382" y="107"/>
                        </a:lnTo>
                        <a:lnTo>
                          <a:pt x="383" y="113"/>
                        </a:lnTo>
                        <a:lnTo>
                          <a:pt x="379" y="121"/>
                        </a:lnTo>
                        <a:lnTo>
                          <a:pt x="379" y="122"/>
                        </a:lnTo>
                        <a:lnTo>
                          <a:pt x="384" y="123"/>
                        </a:lnTo>
                        <a:lnTo>
                          <a:pt x="389" y="122"/>
                        </a:lnTo>
                        <a:lnTo>
                          <a:pt x="393" y="119"/>
                        </a:lnTo>
                        <a:lnTo>
                          <a:pt x="394" y="114"/>
                        </a:lnTo>
                        <a:lnTo>
                          <a:pt x="392" y="111"/>
                        </a:lnTo>
                        <a:lnTo>
                          <a:pt x="388" y="110"/>
                        </a:lnTo>
                        <a:lnTo>
                          <a:pt x="385" y="105"/>
                        </a:lnTo>
                        <a:lnTo>
                          <a:pt x="378" y="101"/>
                        </a:lnTo>
                        <a:lnTo>
                          <a:pt x="376" y="98"/>
                        </a:lnTo>
                        <a:lnTo>
                          <a:pt x="376" y="90"/>
                        </a:lnTo>
                        <a:lnTo>
                          <a:pt x="371" y="84"/>
                        </a:lnTo>
                        <a:lnTo>
                          <a:pt x="372" y="76"/>
                        </a:lnTo>
                        <a:lnTo>
                          <a:pt x="374" y="69"/>
                        </a:lnTo>
                        <a:lnTo>
                          <a:pt x="369" y="70"/>
                        </a:lnTo>
                        <a:lnTo>
                          <a:pt x="367" y="69"/>
                        </a:lnTo>
                        <a:lnTo>
                          <a:pt x="367" y="64"/>
                        </a:lnTo>
                        <a:lnTo>
                          <a:pt x="369" y="57"/>
                        </a:lnTo>
                        <a:lnTo>
                          <a:pt x="381" y="47"/>
                        </a:lnTo>
                        <a:lnTo>
                          <a:pt x="372" y="47"/>
                        </a:lnTo>
                        <a:lnTo>
                          <a:pt x="358" y="42"/>
                        </a:lnTo>
                        <a:lnTo>
                          <a:pt x="328" y="37"/>
                        </a:lnTo>
                        <a:lnTo>
                          <a:pt x="318" y="31"/>
                        </a:lnTo>
                        <a:lnTo>
                          <a:pt x="313" y="31"/>
                        </a:lnTo>
                        <a:lnTo>
                          <a:pt x="302" y="22"/>
                        </a:lnTo>
                        <a:lnTo>
                          <a:pt x="298" y="15"/>
                        </a:lnTo>
                        <a:lnTo>
                          <a:pt x="296" y="8"/>
                        </a:lnTo>
                        <a:lnTo>
                          <a:pt x="296" y="3"/>
                        </a:lnTo>
                        <a:lnTo>
                          <a:pt x="293" y="0"/>
                        </a:lnTo>
                        <a:lnTo>
                          <a:pt x="287" y="1"/>
                        </a:lnTo>
                        <a:lnTo>
                          <a:pt x="282" y="5"/>
                        </a:lnTo>
                        <a:lnTo>
                          <a:pt x="272" y="8"/>
                        </a:lnTo>
                        <a:lnTo>
                          <a:pt x="254" y="9"/>
                        </a:lnTo>
                        <a:lnTo>
                          <a:pt x="234" y="16"/>
                        </a:lnTo>
                        <a:lnTo>
                          <a:pt x="218" y="21"/>
                        </a:lnTo>
                        <a:lnTo>
                          <a:pt x="215" y="22"/>
                        </a:lnTo>
                        <a:lnTo>
                          <a:pt x="201" y="17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60000"/>
                      <a:lumOff val="40000"/>
                    </a:schemeClr>
                  </a:solidFill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</p:grpSp>
            <p:sp>
              <p:nvSpPr>
                <p:cNvPr id="454" name="Freeform 190"/>
                <p:cNvSpPr>
                  <a:spLocks/>
                </p:cNvSpPr>
                <p:nvPr/>
              </p:nvSpPr>
              <p:spPr bwMode="gray">
                <a:xfrm>
                  <a:off x="4467149" y="1909319"/>
                  <a:ext cx="12557" cy="19025"/>
                </a:xfrm>
                <a:custGeom>
                  <a:avLst/>
                  <a:gdLst>
                    <a:gd name="T0" fmla="*/ 1641 w 38"/>
                    <a:gd name="T1" fmla="*/ 4694 h 53"/>
                    <a:gd name="T2" fmla="*/ 2462 w 38"/>
                    <a:gd name="T3" fmla="*/ 4694 h 53"/>
                    <a:gd name="T4" fmla="*/ 2872 w 38"/>
                    <a:gd name="T5" fmla="*/ 3840 h 53"/>
                    <a:gd name="T6" fmla="*/ 2872 w 38"/>
                    <a:gd name="T7" fmla="*/ 2987 h 53"/>
                    <a:gd name="T8" fmla="*/ 2462 w 38"/>
                    <a:gd name="T9" fmla="*/ 2134 h 53"/>
                    <a:gd name="T10" fmla="*/ 2051 w 38"/>
                    <a:gd name="T11" fmla="*/ 1707 h 53"/>
                    <a:gd name="T12" fmla="*/ 2051 w 38"/>
                    <a:gd name="T13" fmla="*/ 853 h 53"/>
                    <a:gd name="T14" fmla="*/ 2462 w 38"/>
                    <a:gd name="T15" fmla="*/ 427 h 53"/>
                    <a:gd name="T16" fmla="*/ 1641 w 38"/>
                    <a:gd name="T17" fmla="*/ 0 h 53"/>
                    <a:gd name="T18" fmla="*/ 1231 w 38"/>
                    <a:gd name="T19" fmla="*/ 0 h 53"/>
                    <a:gd name="T20" fmla="*/ 410 w 38"/>
                    <a:gd name="T21" fmla="*/ 427 h 53"/>
                    <a:gd name="T22" fmla="*/ 0 w 38"/>
                    <a:gd name="T23" fmla="*/ 1707 h 53"/>
                    <a:gd name="T24" fmla="*/ 410 w 38"/>
                    <a:gd name="T25" fmla="*/ 2987 h 53"/>
                    <a:gd name="T26" fmla="*/ 410 w 38"/>
                    <a:gd name="T27" fmla="*/ 4267 h 53"/>
                    <a:gd name="T28" fmla="*/ 1641 w 38"/>
                    <a:gd name="T29" fmla="*/ 4694 h 53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38"/>
                    <a:gd name="T46" fmla="*/ 0 h 53"/>
                    <a:gd name="T47" fmla="*/ 38 w 38"/>
                    <a:gd name="T48" fmla="*/ 53 h 53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38" h="53">
                      <a:moveTo>
                        <a:pt x="21" y="53"/>
                      </a:moveTo>
                      <a:lnTo>
                        <a:pt x="33" y="52"/>
                      </a:lnTo>
                      <a:lnTo>
                        <a:pt x="38" y="45"/>
                      </a:lnTo>
                      <a:lnTo>
                        <a:pt x="37" y="33"/>
                      </a:lnTo>
                      <a:lnTo>
                        <a:pt x="33" y="26"/>
                      </a:lnTo>
                      <a:lnTo>
                        <a:pt x="28" y="18"/>
                      </a:lnTo>
                      <a:lnTo>
                        <a:pt x="28" y="11"/>
                      </a:lnTo>
                      <a:lnTo>
                        <a:pt x="30" y="4"/>
                      </a:lnTo>
                      <a:lnTo>
                        <a:pt x="22" y="0"/>
                      </a:lnTo>
                      <a:lnTo>
                        <a:pt x="16" y="0"/>
                      </a:lnTo>
                      <a:lnTo>
                        <a:pt x="6" y="7"/>
                      </a:lnTo>
                      <a:lnTo>
                        <a:pt x="0" y="20"/>
                      </a:lnTo>
                      <a:lnTo>
                        <a:pt x="3" y="33"/>
                      </a:lnTo>
                      <a:lnTo>
                        <a:pt x="3" y="48"/>
                      </a:lnTo>
                      <a:lnTo>
                        <a:pt x="21" y="53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55" name="Freeform 191"/>
                <p:cNvSpPr>
                  <a:spLocks/>
                </p:cNvSpPr>
                <p:nvPr/>
              </p:nvSpPr>
              <p:spPr bwMode="gray">
                <a:xfrm>
                  <a:off x="4472172" y="1984063"/>
                  <a:ext cx="86643" cy="48922"/>
                </a:xfrm>
                <a:custGeom>
                  <a:avLst/>
                  <a:gdLst>
                    <a:gd name="T0" fmla="*/ 4981 w 241"/>
                    <a:gd name="T1" fmla="*/ 10541 h 142"/>
                    <a:gd name="T2" fmla="*/ 4075 w 241"/>
                    <a:gd name="T3" fmla="*/ 9324 h 142"/>
                    <a:gd name="T4" fmla="*/ 3623 w 241"/>
                    <a:gd name="T5" fmla="*/ 8108 h 142"/>
                    <a:gd name="T6" fmla="*/ 906 w 241"/>
                    <a:gd name="T7" fmla="*/ 9324 h 142"/>
                    <a:gd name="T8" fmla="*/ 0 w 241"/>
                    <a:gd name="T9" fmla="*/ 9324 h 142"/>
                    <a:gd name="T10" fmla="*/ 453 w 241"/>
                    <a:gd name="T11" fmla="*/ 6892 h 142"/>
                    <a:gd name="T12" fmla="*/ 1358 w 241"/>
                    <a:gd name="T13" fmla="*/ 6081 h 142"/>
                    <a:gd name="T14" fmla="*/ 1811 w 241"/>
                    <a:gd name="T15" fmla="*/ 5270 h 142"/>
                    <a:gd name="T16" fmla="*/ 2717 w 241"/>
                    <a:gd name="T17" fmla="*/ 4054 h 142"/>
                    <a:gd name="T18" fmla="*/ 4528 w 241"/>
                    <a:gd name="T19" fmla="*/ 1622 h 142"/>
                    <a:gd name="T20" fmla="*/ 6340 w 241"/>
                    <a:gd name="T21" fmla="*/ 1216 h 142"/>
                    <a:gd name="T22" fmla="*/ 7698 w 241"/>
                    <a:gd name="T23" fmla="*/ 405 h 142"/>
                    <a:gd name="T24" fmla="*/ 11774 w 241"/>
                    <a:gd name="T25" fmla="*/ 405 h 142"/>
                    <a:gd name="T26" fmla="*/ 15849 w 241"/>
                    <a:gd name="T27" fmla="*/ 405 h 142"/>
                    <a:gd name="T28" fmla="*/ 18113 w 241"/>
                    <a:gd name="T29" fmla="*/ 1622 h 142"/>
                    <a:gd name="T30" fmla="*/ 17660 w 241"/>
                    <a:gd name="T31" fmla="*/ 3243 h 142"/>
                    <a:gd name="T32" fmla="*/ 19019 w 241"/>
                    <a:gd name="T33" fmla="*/ 4459 h 142"/>
                    <a:gd name="T34" fmla="*/ 20830 w 241"/>
                    <a:gd name="T35" fmla="*/ 4865 h 142"/>
                    <a:gd name="T36" fmla="*/ 22189 w 241"/>
                    <a:gd name="T37" fmla="*/ 4865 h 142"/>
                    <a:gd name="T38" fmla="*/ 22189 w 241"/>
                    <a:gd name="T39" fmla="*/ 6487 h 142"/>
                    <a:gd name="T40" fmla="*/ 20830 w 241"/>
                    <a:gd name="T41" fmla="*/ 6892 h 142"/>
                    <a:gd name="T42" fmla="*/ 20830 w 241"/>
                    <a:gd name="T43" fmla="*/ 8108 h 142"/>
                    <a:gd name="T44" fmla="*/ 20830 w 241"/>
                    <a:gd name="T45" fmla="*/ 8514 h 142"/>
                    <a:gd name="T46" fmla="*/ 17660 w 241"/>
                    <a:gd name="T47" fmla="*/ 8514 h 142"/>
                    <a:gd name="T48" fmla="*/ 16755 w 241"/>
                    <a:gd name="T49" fmla="*/ 7703 h 142"/>
                    <a:gd name="T50" fmla="*/ 15396 w 241"/>
                    <a:gd name="T51" fmla="*/ 10135 h 142"/>
                    <a:gd name="T52" fmla="*/ 14943 w 241"/>
                    <a:gd name="T53" fmla="*/ 11351 h 142"/>
                    <a:gd name="T54" fmla="*/ 13585 w 241"/>
                    <a:gd name="T55" fmla="*/ 10135 h 142"/>
                    <a:gd name="T56" fmla="*/ 12226 w 241"/>
                    <a:gd name="T57" fmla="*/ 8108 h 142"/>
                    <a:gd name="T58" fmla="*/ 10415 w 241"/>
                    <a:gd name="T59" fmla="*/ 8919 h 142"/>
                    <a:gd name="T60" fmla="*/ 10415 w 241"/>
                    <a:gd name="T61" fmla="*/ 10135 h 142"/>
                    <a:gd name="T62" fmla="*/ 8151 w 241"/>
                    <a:gd name="T63" fmla="*/ 10946 h 142"/>
                    <a:gd name="T64" fmla="*/ 4981 w 241"/>
                    <a:gd name="T65" fmla="*/ 11351 h 142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241"/>
                    <a:gd name="T100" fmla="*/ 0 h 142"/>
                    <a:gd name="T101" fmla="*/ 241 w 241"/>
                    <a:gd name="T102" fmla="*/ 142 h 142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241" h="142">
                      <a:moveTo>
                        <a:pt x="54" y="142"/>
                      </a:moveTo>
                      <a:lnTo>
                        <a:pt x="52" y="131"/>
                      </a:lnTo>
                      <a:lnTo>
                        <a:pt x="45" y="130"/>
                      </a:lnTo>
                      <a:lnTo>
                        <a:pt x="42" y="119"/>
                      </a:lnTo>
                      <a:lnTo>
                        <a:pt x="42" y="101"/>
                      </a:lnTo>
                      <a:lnTo>
                        <a:pt x="38" y="100"/>
                      </a:lnTo>
                      <a:lnTo>
                        <a:pt x="21" y="100"/>
                      </a:lnTo>
                      <a:lnTo>
                        <a:pt x="10" y="117"/>
                      </a:lnTo>
                      <a:lnTo>
                        <a:pt x="4" y="121"/>
                      </a:lnTo>
                      <a:lnTo>
                        <a:pt x="0" y="119"/>
                      </a:lnTo>
                      <a:lnTo>
                        <a:pt x="2" y="97"/>
                      </a:lnTo>
                      <a:lnTo>
                        <a:pt x="5" y="84"/>
                      </a:lnTo>
                      <a:lnTo>
                        <a:pt x="9" y="81"/>
                      </a:lnTo>
                      <a:lnTo>
                        <a:pt x="13" y="74"/>
                      </a:lnTo>
                      <a:lnTo>
                        <a:pt x="20" y="70"/>
                      </a:lnTo>
                      <a:lnTo>
                        <a:pt x="21" y="67"/>
                      </a:lnTo>
                      <a:lnTo>
                        <a:pt x="24" y="57"/>
                      </a:lnTo>
                      <a:lnTo>
                        <a:pt x="30" y="49"/>
                      </a:lnTo>
                      <a:lnTo>
                        <a:pt x="53" y="23"/>
                      </a:lnTo>
                      <a:lnTo>
                        <a:pt x="50" y="18"/>
                      </a:lnTo>
                      <a:lnTo>
                        <a:pt x="53" y="11"/>
                      </a:lnTo>
                      <a:lnTo>
                        <a:pt x="70" y="13"/>
                      </a:lnTo>
                      <a:lnTo>
                        <a:pt x="78" y="9"/>
                      </a:lnTo>
                      <a:lnTo>
                        <a:pt x="85" y="3"/>
                      </a:lnTo>
                      <a:lnTo>
                        <a:pt x="91" y="9"/>
                      </a:lnTo>
                      <a:lnTo>
                        <a:pt x="127" y="6"/>
                      </a:lnTo>
                      <a:lnTo>
                        <a:pt x="153" y="0"/>
                      </a:lnTo>
                      <a:lnTo>
                        <a:pt x="172" y="6"/>
                      </a:lnTo>
                      <a:lnTo>
                        <a:pt x="190" y="13"/>
                      </a:lnTo>
                      <a:lnTo>
                        <a:pt x="197" y="22"/>
                      </a:lnTo>
                      <a:lnTo>
                        <a:pt x="195" y="30"/>
                      </a:lnTo>
                      <a:lnTo>
                        <a:pt x="193" y="40"/>
                      </a:lnTo>
                      <a:lnTo>
                        <a:pt x="201" y="52"/>
                      </a:lnTo>
                      <a:lnTo>
                        <a:pt x="207" y="57"/>
                      </a:lnTo>
                      <a:lnTo>
                        <a:pt x="217" y="62"/>
                      </a:lnTo>
                      <a:lnTo>
                        <a:pt x="226" y="63"/>
                      </a:lnTo>
                      <a:lnTo>
                        <a:pt x="234" y="58"/>
                      </a:lnTo>
                      <a:lnTo>
                        <a:pt x="241" y="63"/>
                      </a:lnTo>
                      <a:lnTo>
                        <a:pt x="239" y="74"/>
                      </a:lnTo>
                      <a:lnTo>
                        <a:pt x="239" y="82"/>
                      </a:lnTo>
                      <a:lnTo>
                        <a:pt x="235" y="84"/>
                      </a:lnTo>
                      <a:lnTo>
                        <a:pt x="224" y="86"/>
                      </a:lnTo>
                      <a:lnTo>
                        <a:pt x="223" y="92"/>
                      </a:lnTo>
                      <a:lnTo>
                        <a:pt x="224" y="99"/>
                      </a:lnTo>
                      <a:lnTo>
                        <a:pt x="226" y="105"/>
                      </a:lnTo>
                      <a:lnTo>
                        <a:pt x="225" y="109"/>
                      </a:lnTo>
                      <a:lnTo>
                        <a:pt x="204" y="105"/>
                      </a:lnTo>
                      <a:lnTo>
                        <a:pt x="193" y="104"/>
                      </a:lnTo>
                      <a:lnTo>
                        <a:pt x="187" y="99"/>
                      </a:lnTo>
                      <a:lnTo>
                        <a:pt x="180" y="95"/>
                      </a:lnTo>
                      <a:lnTo>
                        <a:pt x="177" y="106"/>
                      </a:lnTo>
                      <a:lnTo>
                        <a:pt x="166" y="126"/>
                      </a:lnTo>
                      <a:lnTo>
                        <a:pt x="165" y="135"/>
                      </a:lnTo>
                      <a:lnTo>
                        <a:pt x="163" y="140"/>
                      </a:lnTo>
                      <a:lnTo>
                        <a:pt x="155" y="135"/>
                      </a:lnTo>
                      <a:lnTo>
                        <a:pt x="149" y="127"/>
                      </a:lnTo>
                      <a:lnTo>
                        <a:pt x="138" y="119"/>
                      </a:lnTo>
                      <a:lnTo>
                        <a:pt x="132" y="99"/>
                      </a:lnTo>
                      <a:lnTo>
                        <a:pt x="121" y="105"/>
                      </a:lnTo>
                      <a:lnTo>
                        <a:pt x="115" y="114"/>
                      </a:lnTo>
                      <a:lnTo>
                        <a:pt x="115" y="122"/>
                      </a:lnTo>
                      <a:lnTo>
                        <a:pt x="111" y="127"/>
                      </a:lnTo>
                      <a:lnTo>
                        <a:pt x="100" y="136"/>
                      </a:lnTo>
                      <a:lnTo>
                        <a:pt x="88" y="136"/>
                      </a:lnTo>
                      <a:lnTo>
                        <a:pt x="63" y="142"/>
                      </a:lnTo>
                      <a:lnTo>
                        <a:pt x="54" y="142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56" name="Freeform 192"/>
                <p:cNvSpPr>
                  <a:spLocks/>
                </p:cNvSpPr>
                <p:nvPr/>
              </p:nvSpPr>
              <p:spPr bwMode="gray">
                <a:xfrm>
                  <a:off x="4182105" y="2091420"/>
                  <a:ext cx="241095" cy="191613"/>
                </a:xfrm>
                <a:custGeom>
                  <a:avLst/>
                  <a:gdLst>
                    <a:gd name="T0" fmla="*/ 8883 w 687"/>
                    <a:gd name="T1" fmla="*/ 36185 h 545"/>
                    <a:gd name="T2" fmla="*/ 11548 w 687"/>
                    <a:gd name="T3" fmla="*/ 33718 h 545"/>
                    <a:gd name="T4" fmla="*/ 9771 w 687"/>
                    <a:gd name="T5" fmla="*/ 30840 h 545"/>
                    <a:gd name="T6" fmla="*/ 11103 w 687"/>
                    <a:gd name="T7" fmla="*/ 27961 h 545"/>
                    <a:gd name="T8" fmla="*/ 9327 w 687"/>
                    <a:gd name="T9" fmla="*/ 24672 h 545"/>
                    <a:gd name="T10" fmla="*/ 11992 w 687"/>
                    <a:gd name="T11" fmla="*/ 23027 h 545"/>
                    <a:gd name="T12" fmla="*/ 11548 w 687"/>
                    <a:gd name="T13" fmla="*/ 20971 h 545"/>
                    <a:gd name="T14" fmla="*/ 12436 w 687"/>
                    <a:gd name="T15" fmla="*/ 17270 h 545"/>
                    <a:gd name="T16" fmla="*/ 15101 w 687"/>
                    <a:gd name="T17" fmla="*/ 13570 h 545"/>
                    <a:gd name="T18" fmla="*/ 13768 w 687"/>
                    <a:gd name="T19" fmla="*/ 11514 h 545"/>
                    <a:gd name="T20" fmla="*/ 9771 w 687"/>
                    <a:gd name="T21" fmla="*/ 11514 h 545"/>
                    <a:gd name="T22" fmla="*/ 5774 w 687"/>
                    <a:gd name="T23" fmla="*/ 11102 h 545"/>
                    <a:gd name="T24" fmla="*/ 3109 w 687"/>
                    <a:gd name="T25" fmla="*/ 10691 h 545"/>
                    <a:gd name="T26" fmla="*/ 2221 w 687"/>
                    <a:gd name="T27" fmla="*/ 10691 h 545"/>
                    <a:gd name="T28" fmla="*/ 2221 w 687"/>
                    <a:gd name="T29" fmla="*/ 9046 h 545"/>
                    <a:gd name="T30" fmla="*/ 2221 w 687"/>
                    <a:gd name="T31" fmla="*/ 6579 h 545"/>
                    <a:gd name="T32" fmla="*/ 1332 w 687"/>
                    <a:gd name="T33" fmla="*/ 5757 h 545"/>
                    <a:gd name="T34" fmla="*/ 1332 w 687"/>
                    <a:gd name="T35" fmla="*/ 2878 h 545"/>
                    <a:gd name="T36" fmla="*/ 4886 w 687"/>
                    <a:gd name="T37" fmla="*/ 1645 h 545"/>
                    <a:gd name="T38" fmla="*/ 7550 w 687"/>
                    <a:gd name="T39" fmla="*/ 0 h 545"/>
                    <a:gd name="T40" fmla="*/ 11548 w 687"/>
                    <a:gd name="T41" fmla="*/ 1234 h 545"/>
                    <a:gd name="T42" fmla="*/ 16877 w 687"/>
                    <a:gd name="T43" fmla="*/ 822 h 545"/>
                    <a:gd name="T44" fmla="*/ 22651 w 687"/>
                    <a:gd name="T45" fmla="*/ 1645 h 545"/>
                    <a:gd name="T46" fmla="*/ 27093 w 687"/>
                    <a:gd name="T47" fmla="*/ 1645 h 545"/>
                    <a:gd name="T48" fmla="*/ 32422 w 687"/>
                    <a:gd name="T49" fmla="*/ 2056 h 545"/>
                    <a:gd name="T50" fmla="*/ 35975 w 687"/>
                    <a:gd name="T51" fmla="*/ 2056 h 545"/>
                    <a:gd name="T52" fmla="*/ 39084 w 687"/>
                    <a:gd name="T53" fmla="*/ 4523 h 545"/>
                    <a:gd name="T54" fmla="*/ 41749 w 687"/>
                    <a:gd name="T55" fmla="*/ 5757 h 545"/>
                    <a:gd name="T56" fmla="*/ 47523 w 687"/>
                    <a:gd name="T57" fmla="*/ 6579 h 545"/>
                    <a:gd name="T58" fmla="*/ 49744 w 687"/>
                    <a:gd name="T59" fmla="*/ 6168 h 545"/>
                    <a:gd name="T60" fmla="*/ 51964 w 687"/>
                    <a:gd name="T61" fmla="*/ 7813 h 545"/>
                    <a:gd name="T62" fmla="*/ 52853 w 687"/>
                    <a:gd name="T63" fmla="*/ 7402 h 545"/>
                    <a:gd name="T64" fmla="*/ 56850 w 687"/>
                    <a:gd name="T65" fmla="*/ 8224 h 545"/>
                    <a:gd name="T66" fmla="*/ 59959 w 687"/>
                    <a:gd name="T67" fmla="*/ 8224 h 545"/>
                    <a:gd name="T68" fmla="*/ 59959 w 687"/>
                    <a:gd name="T69" fmla="*/ 9458 h 545"/>
                    <a:gd name="T70" fmla="*/ 59959 w 687"/>
                    <a:gd name="T71" fmla="*/ 11925 h 545"/>
                    <a:gd name="T72" fmla="*/ 49744 w 687"/>
                    <a:gd name="T73" fmla="*/ 16859 h 545"/>
                    <a:gd name="T74" fmla="*/ 47967 w 687"/>
                    <a:gd name="T75" fmla="*/ 18915 h 545"/>
                    <a:gd name="T76" fmla="*/ 43970 w 687"/>
                    <a:gd name="T77" fmla="*/ 24672 h 545"/>
                    <a:gd name="T78" fmla="*/ 43526 w 687"/>
                    <a:gd name="T79" fmla="*/ 26317 h 545"/>
                    <a:gd name="T80" fmla="*/ 43970 w 687"/>
                    <a:gd name="T81" fmla="*/ 28373 h 545"/>
                    <a:gd name="T82" fmla="*/ 45746 w 687"/>
                    <a:gd name="T83" fmla="*/ 29195 h 545"/>
                    <a:gd name="T84" fmla="*/ 44414 w 687"/>
                    <a:gd name="T85" fmla="*/ 31251 h 545"/>
                    <a:gd name="T86" fmla="*/ 42193 w 687"/>
                    <a:gd name="T87" fmla="*/ 33718 h 545"/>
                    <a:gd name="T88" fmla="*/ 41305 w 687"/>
                    <a:gd name="T89" fmla="*/ 35774 h 545"/>
                    <a:gd name="T90" fmla="*/ 36864 w 687"/>
                    <a:gd name="T91" fmla="*/ 38241 h 545"/>
                    <a:gd name="T92" fmla="*/ 35087 w 687"/>
                    <a:gd name="T93" fmla="*/ 40709 h 545"/>
                    <a:gd name="T94" fmla="*/ 32422 w 687"/>
                    <a:gd name="T95" fmla="*/ 41120 h 545"/>
                    <a:gd name="T96" fmla="*/ 27981 w 687"/>
                    <a:gd name="T97" fmla="*/ 41120 h 545"/>
                    <a:gd name="T98" fmla="*/ 22651 w 687"/>
                    <a:gd name="T99" fmla="*/ 42353 h 545"/>
                    <a:gd name="T100" fmla="*/ 19986 w 687"/>
                    <a:gd name="T101" fmla="*/ 43587 h 545"/>
                    <a:gd name="T102" fmla="*/ 18654 w 687"/>
                    <a:gd name="T103" fmla="*/ 44821 h 545"/>
                    <a:gd name="T104" fmla="*/ 15101 w 687"/>
                    <a:gd name="T105" fmla="*/ 42353 h 545"/>
                    <a:gd name="T106" fmla="*/ 14212 w 687"/>
                    <a:gd name="T107" fmla="*/ 40297 h 545"/>
                    <a:gd name="T108" fmla="*/ 13324 w 687"/>
                    <a:gd name="T109" fmla="*/ 39064 h 545"/>
                    <a:gd name="T110" fmla="*/ 9327 w 687"/>
                    <a:gd name="T111" fmla="*/ 38653 h 545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687"/>
                    <a:gd name="T169" fmla="*/ 0 h 545"/>
                    <a:gd name="T170" fmla="*/ 687 w 687"/>
                    <a:gd name="T171" fmla="*/ 545 h 545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687" h="545">
                      <a:moveTo>
                        <a:pt x="105" y="468"/>
                      </a:moveTo>
                      <a:lnTo>
                        <a:pt x="101" y="451"/>
                      </a:lnTo>
                      <a:lnTo>
                        <a:pt x="100" y="440"/>
                      </a:lnTo>
                      <a:lnTo>
                        <a:pt x="107" y="430"/>
                      </a:lnTo>
                      <a:lnTo>
                        <a:pt x="122" y="419"/>
                      </a:lnTo>
                      <a:lnTo>
                        <a:pt x="128" y="410"/>
                      </a:lnTo>
                      <a:lnTo>
                        <a:pt x="126" y="399"/>
                      </a:lnTo>
                      <a:lnTo>
                        <a:pt x="116" y="388"/>
                      </a:lnTo>
                      <a:lnTo>
                        <a:pt x="112" y="376"/>
                      </a:lnTo>
                      <a:lnTo>
                        <a:pt x="113" y="361"/>
                      </a:lnTo>
                      <a:lnTo>
                        <a:pt x="121" y="349"/>
                      </a:lnTo>
                      <a:lnTo>
                        <a:pt x="124" y="340"/>
                      </a:lnTo>
                      <a:lnTo>
                        <a:pt x="122" y="335"/>
                      </a:lnTo>
                      <a:lnTo>
                        <a:pt x="110" y="317"/>
                      </a:lnTo>
                      <a:lnTo>
                        <a:pt x="106" y="301"/>
                      </a:lnTo>
                      <a:lnTo>
                        <a:pt x="114" y="295"/>
                      </a:lnTo>
                      <a:lnTo>
                        <a:pt x="126" y="291"/>
                      </a:lnTo>
                      <a:lnTo>
                        <a:pt x="135" y="280"/>
                      </a:lnTo>
                      <a:lnTo>
                        <a:pt x="137" y="270"/>
                      </a:lnTo>
                      <a:lnTo>
                        <a:pt x="129" y="260"/>
                      </a:lnTo>
                      <a:lnTo>
                        <a:pt x="129" y="253"/>
                      </a:lnTo>
                      <a:lnTo>
                        <a:pt x="135" y="238"/>
                      </a:lnTo>
                      <a:lnTo>
                        <a:pt x="138" y="224"/>
                      </a:lnTo>
                      <a:lnTo>
                        <a:pt x="138" y="210"/>
                      </a:lnTo>
                      <a:lnTo>
                        <a:pt x="139" y="200"/>
                      </a:lnTo>
                      <a:lnTo>
                        <a:pt x="161" y="178"/>
                      </a:lnTo>
                      <a:lnTo>
                        <a:pt x="169" y="165"/>
                      </a:lnTo>
                      <a:lnTo>
                        <a:pt x="169" y="156"/>
                      </a:lnTo>
                      <a:lnTo>
                        <a:pt x="161" y="147"/>
                      </a:lnTo>
                      <a:lnTo>
                        <a:pt x="155" y="138"/>
                      </a:lnTo>
                      <a:lnTo>
                        <a:pt x="140" y="134"/>
                      </a:lnTo>
                      <a:lnTo>
                        <a:pt x="123" y="134"/>
                      </a:lnTo>
                      <a:lnTo>
                        <a:pt x="110" y="140"/>
                      </a:lnTo>
                      <a:lnTo>
                        <a:pt x="86" y="138"/>
                      </a:lnTo>
                      <a:lnTo>
                        <a:pt x="73" y="140"/>
                      </a:lnTo>
                      <a:lnTo>
                        <a:pt x="65" y="135"/>
                      </a:lnTo>
                      <a:lnTo>
                        <a:pt x="64" y="123"/>
                      </a:lnTo>
                      <a:lnTo>
                        <a:pt x="51" y="125"/>
                      </a:lnTo>
                      <a:lnTo>
                        <a:pt x="36" y="131"/>
                      </a:lnTo>
                      <a:lnTo>
                        <a:pt x="27" y="141"/>
                      </a:lnTo>
                      <a:lnTo>
                        <a:pt x="25" y="136"/>
                      </a:lnTo>
                      <a:lnTo>
                        <a:pt x="25" y="128"/>
                      </a:lnTo>
                      <a:lnTo>
                        <a:pt x="28" y="116"/>
                      </a:lnTo>
                      <a:lnTo>
                        <a:pt x="35" y="107"/>
                      </a:lnTo>
                      <a:lnTo>
                        <a:pt x="26" y="108"/>
                      </a:lnTo>
                      <a:lnTo>
                        <a:pt x="30" y="100"/>
                      </a:lnTo>
                      <a:lnTo>
                        <a:pt x="20" y="95"/>
                      </a:lnTo>
                      <a:lnTo>
                        <a:pt x="27" y="82"/>
                      </a:lnTo>
                      <a:lnTo>
                        <a:pt x="22" y="82"/>
                      </a:lnTo>
                      <a:lnTo>
                        <a:pt x="15" y="79"/>
                      </a:lnTo>
                      <a:lnTo>
                        <a:pt x="16" y="70"/>
                      </a:lnTo>
                      <a:lnTo>
                        <a:pt x="0" y="57"/>
                      </a:lnTo>
                      <a:lnTo>
                        <a:pt x="5" y="43"/>
                      </a:lnTo>
                      <a:lnTo>
                        <a:pt x="17" y="34"/>
                      </a:lnTo>
                      <a:lnTo>
                        <a:pt x="28" y="31"/>
                      </a:lnTo>
                      <a:lnTo>
                        <a:pt x="47" y="31"/>
                      </a:lnTo>
                      <a:lnTo>
                        <a:pt x="56" y="22"/>
                      </a:lnTo>
                      <a:lnTo>
                        <a:pt x="54" y="16"/>
                      </a:lnTo>
                      <a:lnTo>
                        <a:pt x="62" y="5"/>
                      </a:lnTo>
                      <a:lnTo>
                        <a:pt x="84" y="0"/>
                      </a:lnTo>
                      <a:lnTo>
                        <a:pt x="95" y="3"/>
                      </a:lnTo>
                      <a:lnTo>
                        <a:pt x="110" y="10"/>
                      </a:lnTo>
                      <a:lnTo>
                        <a:pt x="129" y="14"/>
                      </a:lnTo>
                      <a:lnTo>
                        <a:pt x="170" y="12"/>
                      </a:lnTo>
                      <a:lnTo>
                        <a:pt x="180" y="7"/>
                      </a:lnTo>
                      <a:lnTo>
                        <a:pt x="192" y="9"/>
                      </a:lnTo>
                      <a:lnTo>
                        <a:pt x="212" y="15"/>
                      </a:lnTo>
                      <a:lnTo>
                        <a:pt x="223" y="15"/>
                      </a:lnTo>
                      <a:lnTo>
                        <a:pt x="256" y="22"/>
                      </a:lnTo>
                      <a:lnTo>
                        <a:pt x="273" y="23"/>
                      </a:lnTo>
                      <a:lnTo>
                        <a:pt x="293" y="22"/>
                      </a:lnTo>
                      <a:lnTo>
                        <a:pt x="306" y="18"/>
                      </a:lnTo>
                      <a:lnTo>
                        <a:pt x="317" y="22"/>
                      </a:lnTo>
                      <a:lnTo>
                        <a:pt x="337" y="25"/>
                      </a:lnTo>
                      <a:lnTo>
                        <a:pt x="366" y="23"/>
                      </a:lnTo>
                      <a:lnTo>
                        <a:pt x="381" y="28"/>
                      </a:lnTo>
                      <a:lnTo>
                        <a:pt x="398" y="30"/>
                      </a:lnTo>
                      <a:lnTo>
                        <a:pt x="408" y="27"/>
                      </a:lnTo>
                      <a:lnTo>
                        <a:pt x="409" y="31"/>
                      </a:lnTo>
                      <a:lnTo>
                        <a:pt x="431" y="49"/>
                      </a:lnTo>
                      <a:lnTo>
                        <a:pt x="440" y="54"/>
                      </a:lnTo>
                      <a:lnTo>
                        <a:pt x="451" y="57"/>
                      </a:lnTo>
                      <a:lnTo>
                        <a:pt x="462" y="63"/>
                      </a:lnTo>
                      <a:lnTo>
                        <a:pt x="469" y="69"/>
                      </a:lnTo>
                      <a:lnTo>
                        <a:pt x="515" y="81"/>
                      </a:lnTo>
                      <a:lnTo>
                        <a:pt x="531" y="82"/>
                      </a:lnTo>
                      <a:lnTo>
                        <a:pt x="537" y="81"/>
                      </a:lnTo>
                      <a:lnTo>
                        <a:pt x="547" y="74"/>
                      </a:lnTo>
                      <a:lnTo>
                        <a:pt x="555" y="73"/>
                      </a:lnTo>
                      <a:lnTo>
                        <a:pt x="564" y="75"/>
                      </a:lnTo>
                      <a:lnTo>
                        <a:pt x="579" y="85"/>
                      </a:lnTo>
                      <a:lnTo>
                        <a:pt x="585" y="92"/>
                      </a:lnTo>
                      <a:lnTo>
                        <a:pt x="589" y="97"/>
                      </a:lnTo>
                      <a:lnTo>
                        <a:pt x="595" y="98"/>
                      </a:lnTo>
                      <a:lnTo>
                        <a:pt x="600" y="96"/>
                      </a:lnTo>
                      <a:lnTo>
                        <a:pt x="597" y="92"/>
                      </a:lnTo>
                      <a:lnTo>
                        <a:pt x="608" y="101"/>
                      </a:lnTo>
                      <a:lnTo>
                        <a:pt x="616" y="103"/>
                      </a:lnTo>
                      <a:lnTo>
                        <a:pt x="644" y="101"/>
                      </a:lnTo>
                      <a:lnTo>
                        <a:pt x="657" y="98"/>
                      </a:lnTo>
                      <a:lnTo>
                        <a:pt x="671" y="98"/>
                      </a:lnTo>
                      <a:lnTo>
                        <a:pt x="678" y="100"/>
                      </a:lnTo>
                      <a:lnTo>
                        <a:pt x="686" y="102"/>
                      </a:lnTo>
                      <a:lnTo>
                        <a:pt x="687" y="109"/>
                      </a:lnTo>
                      <a:lnTo>
                        <a:pt x="678" y="114"/>
                      </a:lnTo>
                      <a:lnTo>
                        <a:pt x="680" y="124"/>
                      </a:lnTo>
                      <a:lnTo>
                        <a:pt x="683" y="133"/>
                      </a:lnTo>
                      <a:lnTo>
                        <a:pt x="675" y="144"/>
                      </a:lnTo>
                      <a:lnTo>
                        <a:pt x="637" y="167"/>
                      </a:lnTo>
                      <a:lnTo>
                        <a:pt x="623" y="181"/>
                      </a:lnTo>
                      <a:lnTo>
                        <a:pt x="564" y="203"/>
                      </a:lnTo>
                      <a:lnTo>
                        <a:pt x="552" y="217"/>
                      </a:lnTo>
                      <a:lnTo>
                        <a:pt x="552" y="224"/>
                      </a:lnTo>
                      <a:lnTo>
                        <a:pt x="543" y="232"/>
                      </a:lnTo>
                      <a:lnTo>
                        <a:pt x="531" y="247"/>
                      </a:lnTo>
                      <a:lnTo>
                        <a:pt x="515" y="274"/>
                      </a:lnTo>
                      <a:lnTo>
                        <a:pt x="495" y="300"/>
                      </a:lnTo>
                      <a:lnTo>
                        <a:pt x="492" y="312"/>
                      </a:lnTo>
                      <a:lnTo>
                        <a:pt x="489" y="318"/>
                      </a:lnTo>
                      <a:lnTo>
                        <a:pt x="489" y="321"/>
                      </a:lnTo>
                      <a:lnTo>
                        <a:pt x="492" y="327"/>
                      </a:lnTo>
                      <a:lnTo>
                        <a:pt x="494" y="337"/>
                      </a:lnTo>
                      <a:lnTo>
                        <a:pt x="497" y="343"/>
                      </a:lnTo>
                      <a:lnTo>
                        <a:pt x="501" y="349"/>
                      </a:lnTo>
                      <a:lnTo>
                        <a:pt x="506" y="351"/>
                      </a:lnTo>
                      <a:lnTo>
                        <a:pt x="515" y="354"/>
                      </a:lnTo>
                      <a:lnTo>
                        <a:pt x="519" y="360"/>
                      </a:lnTo>
                      <a:lnTo>
                        <a:pt x="514" y="369"/>
                      </a:lnTo>
                      <a:lnTo>
                        <a:pt x="500" y="378"/>
                      </a:lnTo>
                      <a:lnTo>
                        <a:pt x="492" y="385"/>
                      </a:lnTo>
                      <a:lnTo>
                        <a:pt x="484" y="392"/>
                      </a:lnTo>
                      <a:lnTo>
                        <a:pt x="474" y="409"/>
                      </a:lnTo>
                      <a:lnTo>
                        <a:pt x="472" y="418"/>
                      </a:lnTo>
                      <a:lnTo>
                        <a:pt x="467" y="426"/>
                      </a:lnTo>
                      <a:lnTo>
                        <a:pt x="465" y="435"/>
                      </a:lnTo>
                      <a:lnTo>
                        <a:pt x="467" y="441"/>
                      </a:lnTo>
                      <a:lnTo>
                        <a:pt x="435" y="445"/>
                      </a:lnTo>
                      <a:lnTo>
                        <a:pt x="415" y="463"/>
                      </a:lnTo>
                      <a:lnTo>
                        <a:pt x="408" y="482"/>
                      </a:lnTo>
                      <a:lnTo>
                        <a:pt x="404" y="490"/>
                      </a:lnTo>
                      <a:lnTo>
                        <a:pt x="398" y="496"/>
                      </a:lnTo>
                      <a:lnTo>
                        <a:pt x="391" y="498"/>
                      </a:lnTo>
                      <a:lnTo>
                        <a:pt x="379" y="495"/>
                      </a:lnTo>
                      <a:lnTo>
                        <a:pt x="364" y="501"/>
                      </a:lnTo>
                      <a:lnTo>
                        <a:pt x="350" y="501"/>
                      </a:lnTo>
                      <a:lnTo>
                        <a:pt x="334" y="498"/>
                      </a:lnTo>
                      <a:lnTo>
                        <a:pt x="318" y="500"/>
                      </a:lnTo>
                      <a:lnTo>
                        <a:pt x="306" y="498"/>
                      </a:lnTo>
                      <a:lnTo>
                        <a:pt x="269" y="502"/>
                      </a:lnTo>
                      <a:lnTo>
                        <a:pt x="258" y="515"/>
                      </a:lnTo>
                      <a:lnTo>
                        <a:pt x="246" y="516"/>
                      </a:lnTo>
                      <a:lnTo>
                        <a:pt x="234" y="521"/>
                      </a:lnTo>
                      <a:lnTo>
                        <a:pt x="226" y="529"/>
                      </a:lnTo>
                      <a:lnTo>
                        <a:pt x="223" y="536"/>
                      </a:lnTo>
                      <a:lnTo>
                        <a:pt x="218" y="541"/>
                      </a:lnTo>
                      <a:lnTo>
                        <a:pt x="210" y="545"/>
                      </a:lnTo>
                      <a:lnTo>
                        <a:pt x="193" y="542"/>
                      </a:lnTo>
                      <a:lnTo>
                        <a:pt x="181" y="533"/>
                      </a:lnTo>
                      <a:lnTo>
                        <a:pt x="170" y="517"/>
                      </a:lnTo>
                      <a:lnTo>
                        <a:pt x="169" y="509"/>
                      </a:lnTo>
                      <a:lnTo>
                        <a:pt x="161" y="502"/>
                      </a:lnTo>
                      <a:lnTo>
                        <a:pt x="161" y="491"/>
                      </a:lnTo>
                      <a:lnTo>
                        <a:pt x="160" y="488"/>
                      </a:lnTo>
                      <a:lnTo>
                        <a:pt x="156" y="484"/>
                      </a:lnTo>
                      <a:lnTo>
                        <a:pt x="148" y="477"/>
                      </a:lnTo>
                      <a:lnTo>
                        <a:pt x="133" y="468"/>
                      </a:lnTo>
                      <a:lnTo>
                        <a:pt x="126" y="467"/>
                      </a:lnTo>
                      <a:lnTo>
                        <a:pt x="105" y="468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57" name="Freeform 193"/>
                <p:cNvSpPr>
                  <a:spLocks/>
                </p:cNvSpPr>
                <p:nvPr/>
              </p:nvSpPr>
              <p:spPr bwMode="gray">
                <a:xfrm>
                  <a:off x="4178338" y="2134907"/>
                  <a:ext cx="61529" cy="125024"/>
                </a:xfrm>
                <a:custGeom>
                  <a:avLst/>
                  <a:gdLst>
                    <a:gd name="T0" fmla="*/ 9689 w 177"/>
                    <a:gd name="T1" fmla="*/ 26653 h 356"/>
                    <a:gd name="T2" fmla="*/ 10129 w 177"/>
                    <a:gd name="T3" fmla="*/ 25013 h 356"/>
                    <a:gd name="T4" fmla="*/ 11891 w 177"/>
                    <a:gd name="T5" fmla="*/ 23372 h 356"/>
                    <a:gd name="T6" fmla="*/ 11010 w 177"/>
                    <a:gd name="T7" fmla="*/ 21732 h 356"/>
                    <a:gd name="T8" fmla="*/ 10570 w 177"/>
                    <a:gd name="T9" fmla="*/ 19272 h 356"/>
                    <a:gd name="T10" fmla="*/ 11450 w 177"/>
                    <a:gd name="T11" fmla="*/ 17632 h 356"/>
                    <a:gd name="T12" fmla="*/ 10129 w 177"/>
                    <a:gd name="T13" fmla="*/ 15992 h 356"/>
                    <a:gd name="T14" fmla="*/ 10570 w 177"/>
                    <a:gd name="T15" fmla="*/ 13941 h 356"/>
                    <a:gd name="T16" fmla="*/ 12331 w 177"/>
                    <a:gd name="T17" fmla="*/ 12711 h 356"/>
                    <a:gd name="T18" fmla="*/ 11891 w 177"/>
                    <a:gd name="T19" fmla="*/ 11071 h 356"/>
                    <a:gd name="T20" fmla="*/ 12331 w 177"/>
                    <a:gd name="T21" fmla="*/ 9431 h 356"/>
                    <a:gd name="T22" fmla="*/ 12772 w 177"/>
                    <a:gd name="T23" fmla="*/ 6971 h 356"/>
                    <a:gd name="T24" fmla="*/ 14533 w 177"/>
                    <a:gd name="T25" fmla="*/ 4510 h 356"/>
                    <a:gd name="T26" fmla="*/ 15414 w 177"/>
                    <a:gd name="T27" fmla="*/ 2870 h 356"/>
                    <a:gd name="T28" fmla="*/ 14093 w 177"/>
                    <a:gd name="T29" fmla="*/ 1230 h 356"/>
                    <a:gd name="T30" fmla="*/ 11450 w 177"/>
                    <a:gd name="T31" fmla="*/ 820 h 356"/>
                    <a:gd name="T32" fmla="*/ 8368 w 177"/>
                    <a:gd name="T33" fmla="*/ 1230 h 356"/>
                    <a:gd name="T34" fmla="*/ 6166 w 177"/>
                    <a:gd name="T35" fmla="*/ 820 h 356"/>
                    <a:gd name="T36" fmla="*/ 5285 w 177"/>
                    <a:gd name="T37" fmla="*/ 0 h 356"/>
                    <a:gd name="T38" fmla="*/ 3083 w 177"/>
                    <a:gd name="T39" fmla="*/ 1640 h 356"/>
                    <a:gd name="T40" fmla="*/ 3964 w 177"/>
                    <a:gd name="T41" fmla="*/ 6151 h 356"/>
                    <a:gd name="T42" fmla="*/ 3523 w 177"/>
                    <a:gd name="T43" fmla="*/ 8611 h 356"/>
                    <a:gd name="T44" fmla="*/ 2642 w 177"/>
                    <a:gd name="T45" fmla="*/ 10661 h 356"/>
                    <a:gd name="T46" fmla="*/ 2642 w 177"/>
                    <a:gd name="T47" fmla="*/ 12711 h 356"/>
                    <a:gd name="T48" fmla="*/ 1321 w 177"/>
                    <a:gd name="T49" fmla="*/ 15172 h 356"/>
                    <a:gd name="T50" fmla="*/ 440 w 177"/>
                    <a:gd name="T51" fmla="*/ 18042 h 356"/>
                    <a:gd name="T52" fmla="*/ 0 w 177"/>
                    <a:gd name="T53" fmla="*/ 19272 h 356"/>
                    <a:gd name="T54" fmla="*/ 1762 w 177"/>
                    <a:gd name="T55" fmla="*/ 21322 h 356"/>
                    <a:gd name="T56" fmla="*/ 3523 w 177"/>
                    <a:gd name="T57" fmla="*/ 20502 h 356"/>
                    <a:gd name="T58" fmla="*/ 3083 w 177"/>
                    <a:gd name="T59" fmla="*/ 21322 h 356"/>
                    <a:gd name="T60" fmla="*/ 3083 w 177"/>
                    <a:gd name="T61" fmla="*/ 23782 h 356"/>
                    <a:gd name="T62" fmla="*/ 3083 w 177"/>
                    <a:gd name="T63" fmla="*/ 26243 h 356"/>
                    <a:gd name="T64" fmla="*/ 2642 w 177"/>
                    <a:gd name="T65" fmla="*/ 27883 h 356"/>
                    <a:gd name="T66" fmla="*/ 2642 w 177"/>
                    <a:gd name="T67" fmla="*/ 29113 h 356"/>
                    <a:gd name="T68" fmla="*/ 4844 w 177"/>
                    <a:gd name="T69" fmla="*/ 28703 h 356"/>
                    <a:gd name="T70" fmla="*/ 6606 w 177"/>
                    <a:gd name="T71" fmla="*/ 29113 h 356"/>
                    <a:gd name="T72" fmla="*/ 8368 w 177"/>
                    <a:gd name="T73" fmla="*/ 28703 h 356"/>
                    <a:gd name="T74" fmla="*/ 9689 w 177"/>
                    <a:gd name="T75" fmla="*/ 28293 h 35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177"/>
                    <a:gd name="T115" fmla="*/ 0 h 356"/>
                    <a:gd name="T116" fmla="*/ 177 w 177"/>
                    <a:gd name="T117" fmla="*/ 356 h 356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177" h="356">
                      <a:moveTo>
                        <a:pt x="113" y="345"/>
                      </a:moveTo>
                      <a:lnTo>
                        <a:pt x="109" y="328"/>
                      </a:lnTo>
                      <a:lnTo>
                        <a:pt x="108" y="317"/>
                      </a:lnTo>
                      <a:lnTo>
                        <a:pt x="115" y="307"/>
                      </a:lnTo>
                      <a:lnTo>
                        <a:pt x="130" y="296"/>
                      </a:lnTo>
                      <a:lnTo>
                        <a:pt x="136" y="287"/>
                      </a:lnTo>
                      <a:lnTo>
                        <a:pt x="134" y="275"/>
                      </a:lnTo>
                      <a:lnTo>
                        <a:pt x="124" y="265"/>
                      </a:lnTo>
                      <a:lnTo>
                        <a:pt x="120" y="253"/>
                      </a:lnTo>
                      <a:lnTo>
                        <a:pt x="121" y="238"/>
                      </a:lnTo>
                      <a:lnTo>
                        <a:pt x="129" y="226"/>
                      </a:lnTo>
                      <a:lnTo>
                        <a:pt x="132" y="217"/>
                      </a:lnTo>
                      <a:lnTo>
                        <a:pt x="130" y="212"/>
                      </a:lnTo>
                      <a:lnTo>
                        <a:pt x="118" y="194"/>
                      </a:lnTo>
                      <a:lnTo>
                        <a:pt x="114" y="178"/>
                      </a:lnTo>
                      <a:lnTo>
                        <a:pt x="122" y="172"/>
                      </a:lnTo>
                      <a:lnTo>
                        <a:pt x="134" y="168"/>
                      </a:lnTo>
                      <a:lnTo>
                        <a:pt x="143" y="157"/>
                      </a:lnTo>
                      <a:lnTo>
                        <a:pt x="145" y="147"/>
                      </a:lnTo>
                      <a:lnTo>
                        <a:pt x="137" y="137"/>
                      </a:lnTo>
                      <a:lnTo>
                        <a:pt x="137" y="130"/>
                      </a:lnTo>
                      <a:lnTo>
                        <a:pt x="143" y="115"/>
                      </a:lnTo>
                      <a:lnTo>
                        <a:pt x="146" y="101"/>
                      </a:lnTo>
                      <a:lnTo>
                        <a:pt x="146" y="87"/>
                      </a:lnTo>
                      <a:lnTo>
                        <a:pt x="147" y="77"/>
                      </a:lnTo>
                      <a:lnTo>
                        <a:pt x="169" y="55"/>
                      </a:lnTo>
                      <a:lnTo>
                        <a:pt x="177" y="42"/>
                      </a:lnTo>
                      <a:lnTo>
                        <a:pt x="177" y="33"/>
                      </a:lnTo>
                      <a:lnTo>
                        <a:pt x="169" y="24"/>
                      </a:lnTo>
                      <a:lnTo>
                        <a:pt x="163" y="15"/>
                      </a:lnTo>
                      <a:lnTo>
                        <a:pt x="148" y="11"/>
                      </a:lnTo>
                      <a:lnTo>
                        <a:pt x="131" y="11"/>
                      </a:lnTo>
                      <a:lnTo>
                        <a:pt x="118" y="17"/>
                      </a:lnTo>
                      <a:lnTo>
                        <a:pt x="94" y="15"/>
                      </a:lnTo>
                      <a:lnTo>
                        <a:pt x="81" y="17"/>
                      </a:lnTo>
                      <a:lnTo>
                        <a:pt x="73" y="12"/>
                      </a:lnTo>
                      <a:lnTo>
                        <a:pt x="72" y="0"/>
                      </a:lnTo>
                      <a:lnTo>
                        <a:pt x="59" y="2"/>
                      </a:lnTo>
                      <a:lnTo>
                        <a:pt x="44" y="8"/>
                      </a:lnTo>
                      <a:lnTo>
                        <a:pt x="35" y="18"/>
                      </a:lnTo>
                      <a:lnTo>
                        <a:pt x="44" y="63"/>
                      </a:lnTo>
                      <a:lnTo>
                        <a:pt x="45" y="74"/>
                      </a:lnTo>
                      <a:lnTo>
                        <a:pt x="41" y="81"/>
                      </a:lnTo>
                      <a:lnTo>
                        <a:pt x="38" y="104"/>
                      </a:lnTo>
                      <a:lnTo>
                        <a:pt x="35" y="113"/>
                      </a:lnTo>
                      <a:lnTo>
                        <a:pt x="32" y="129"/>
                      </a:lnTo>
                      <a:lnTo>
                        <a:pt x="30" y="144"/>
                      </a:lnTo>
                      <a:lnTo>
                        <a:pt x="28" y="155"/>
                      </a:lnTo>
                      <a:lnTo>
                        <a:pt x="22" y="173"/>
                      </a:lnTo>
                      <a:lnTo>
                        <a:pt x="16" y="184"/>
                      </a:lnTo>
                      <a:lnTo>
                        <a:pt x="3" y="203"/>
                      </a:lnTo>
                      <a:lnTo>
                        <a:pt x="3" y="220"/>
                      </a:lnTo>
                      <a:lnTo>
                        <a:pt x="0" y="235"/>
                      </a:lnTo>
                      <a:lnTo>
                        <a:pt x="1" y="238"/>
                      </a:lnTo>
                      <a:lnTo>
                        <a:pt x="8" y="243"/>
                      </a:lnTo>
                      <a:lnTo>
                        <a:pt x="18" y="259"/>
                      </a:lnTo>
                      <a:lnTo>
                        <a:pt x="25" y="255"/>
                      </a:lnTo>
                      <a:lnTo>
                        <a:pt x="40" y="253"/>
                      </a:lnTo>
                      <a:lnTo>
                        <a:pt x="39" y="258"/>
                      </a:lnTo>
                      <a:lnTo>
                        <a:pt x="36" y="262"/>
                      </a:lnTo>
                      <a:lnTo>
                        <a:pt x="38" y="277"/>
                      </a:lnTo>
                      <a:lnTo>
                        <a:pt x="35" y="290"/>
                      </a:lnTo>
                      <a:lnTo>
                        <a:pt x="36" y="296"/>
                      </a:lnTo>
                      <a:lnTo>
                        <a:pt x="36" y="319"/>
                      </a:lnTo>
                      <a:lnTo>
                        <a:pt x="35" y="328"/>
                      </a:lnTo>
                      <a:lnTo>
                        <a:pt x="29" y="340"/>
                      </a:lnTo>
                      <a:lnTo>
                        <a:pt x="29" y="351"/>
                      </a:lnTo>
                      <a:lnTo>
                        <a:pt x="32" y="355"/>
                      </a:lnTo>
                      <a:lnTo>
                        <a:pt x="43" y="352"/>
                      </a:lnTo>
                      <a:lnTo>
                        <a:pt x="55" y="352"/>
                      </a:lnTo>
                      <a:lnTo>
                        <a:pt x="67" y="352"/>
                      </a:lnTo>
                      <a:lnTo>
                        <a:pt x="76" y="356"/>
                      </a:lnTo>
                      <a:lnTo>
                        <a:pt x="87" y="356"/>
                      </a:lnTo>
                      <a:lnTo>
                        <a:pt x="97" y="352"/>
                      </a:lnTo>
                      <a:lnTo>
                        <a:pt x="104" y="348"/>
                      </a:lnTo>
                      <a:lnTo>
                        <a:pt x="113" y="345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grpSp>
              <p:nvGrpSpPr>
                <p:cNvPr id="458" name="Group 194"/>
                <p:cNvGrpSpPr>
                  <a:grpSpLocks/>
                </p:cNvGrpSpPr>
                <p:nvPr/>
              </p:nvGrpSpPr>
              <p:grpSpPr bwMode="auto">
                <a:xfrm>
                  <a:off x="4267492" y="1882141"/>
                  <a:ext cx="274999" cy="270433"/>
                  <a:chOff x="2465" y="1836"/>
                  <a:chExt cx="156" cy="154"/>
                </a:xfrm>
                <a:solidFill>
                  <a:srgbClr val="D9D9D9"/>
                </a:solidFill>
              </p:grpSpPr>
              <p:sp>
                <p:nvSpPr>
                  <p:cNvPr id="493" name="Freeform 195"/>
                  <p:cNvSpPr>
                    <a:spLocks/>
                  </p:cNvSpPr>
                  <p:nvPr/>
                </p:nvSpPr>
                <p:spPr bwMode="gray">
                  <a:xfrm>
                    <a:off x="2610" y="1966"/>
                    <a:ext cx="11" cy="24"/>
                  </a:xfrm>
                  <a:custGeom>
                    <a:avLst/>
                    <a:gdLst>
                      <a:gd name="T0" fmla="*/ 2 w 52"/>
                      <a:gd name="T1" fmla="*/ 0 h 121"/>
                      <a:gd name="T2" fmla="*/ 2 w 52"/>
                      <a:gd name="T3" fmla="*/ 0 h 121"/>
                      <a:gd name="T4" fmla="*/ 2 w 52"/>
                      <a:gd name="T5" fmla="*/ 1 h 121"/>
                      <a:gd name="T6" fmla="*/ 2 w 52"/>
                      <a:gd name="T7" fmla="*/ 2 h 121"/>
                      <a:gd name="T8" fmla="*/ 2 w 52"/>
                      <a:gd name="T9" fmla="*/ 3 h 121"/>
                      <a:gd name="T10" fmla="*/ 2 w 52"/>
                      <a:gd name="T11" fmla="*/ 3 h 121"/>
                      <a:gd name="T12" fmla="*/ 2 w 52"/>
                      <a:gd name="T13" fmla="*/ 4 h 121"/>
                      <a:gd name="T14" fmla="*/ 2 w 52"/>
                      <a:gd name="T15" fmla="*/ 4 h 121"/>
                      <a:gd name="T16" fmla="*/ 1 w 52"/>
                      <a:gd name="T17" fmla="*/ 5 h 121"/>
                      <a:gd name="T18" fmla="*/ 1 w 52"/>
                      <a:gd name="T19" fmla="*/ 5 h 121"/>
                      <a:gd name="T20" fmla="*/ 1 w 52"/>
                      <a:gd name="T21" fmla="*/ 5 h 121"/>
                      <a:gd name="T22" fmla="*/ 1 w 52"/>
                      <a:gd name="T23" fmla="*/ 4 h 121"/>
                      <a:gd name="T24" fmla="*/ 1 w 52"/>
                      <a:gd name="T25" fmla="*/ 4 h 121"/>
                      <a:gd name="T26" fmla="*/ 1 w 52"/>
                      <a:gd name="T27" fmla="*/ 4 h 121"/>
                      <a:gd name="T28" fmla="*/ 1 w 52"/>
                      <a:gd name="T29" fmla="*/ 4 h 121"/>
                      <a:gd name="T30" fmla="*/ 0 w 52"/>
                      <a:gd name="T31" fmla="*/ 4 h 121"/>
                      <a:gd name="T32" fmla="*/ 0 w 52"/>
                      <a:gd name="T33" fmla="*/ 3 h 121"/>
                      <a:gd name="T34" fmla="*/ 0 w 52"/>
                      <a:gd name="T35" fmla="*/ 3 h 121"/>
                      <a:gd name="T36" fmla="*/ 0 w 52"/>
                      <a:gd name="T37" fmla="*/ 2 h 121"/>
                      <a:gd name="T38" fmla="*/ 0 w 52"/>
                      <a:gd name="T39" fmla="*/ 2 h 121"/>
                      <a:gd name="T40" fmla="*/ 0 w 52"/>
                      <a:gd name="T41" fmla="*/ 1 h 121"/>
                      <a:gd name="T42" fmla="*/ 0 w 52"/>
                      <a:gd name="T43" fmla="*/ 1 h 121"/>
                      <a:gd name="T44" fmla="*/ 1 w 52"/>
                      <a:gd name="T45" fmla="*/ 1 h 121"/>
                      <a:gd name="T46" fmla="*/ 1 w 52"/>
                      <a:gd name="T47" fmla="*/ 1 h 121"/>
                      <a:gd name="T48" fmla="*/ 2 w 52"/>
                      <a:gd name="T49" fmla="*/ 1 h 121"/>
                      <a:gd name="T50" fmla="*/ 2 w 52"/>
                      <a:gd name="T51" fmla="*/ 1 h 121"/>
                      <a:gd name="T52" fmla="*/ 2 w 52"/>
                      <a:gd name="T53" fmla="*/ 0 h 121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w 52"/>
                      <a:gd name="T82" fmla="*/ 0 h 121"/>
                      <a:gd name="T83" fmla="*/ 52 w 52"/>
                      <a:gd name="T84" fmla="*/ 121 h 121"/>
                    </a:gdLst>
                    <a:ahLst/>
                    <a:cxnLst>
                      <a:cxn ang="T54">
                        <a:pos x="T0" y="T1"/>
                      </a:cxn>
                      <a:cxn ang="T55">
                        <a:pos x="T2" y="T3"/>
                      </a:cxn>
                      <a:cxn ang="T56">
                        <a:pos x="T4" y="T5"/>
                      </a:cxn>
                      <a:cxn ang="T57">
                        <a:pos x="T6" y="T7"/>
                      </a:cxn>
                      <a:cxn ang="T58">
                        <a:pos x="T8" y="T9"/>
                      </a:cxn>
                      <a:cxn ang="T59">
                        <a:pos x="T10" y="T11"/>
                      </a:cxn>
                      <a:cxn ang="T60">
                        <a:pos x="T12" y="T13"/>
                      </a:cxn>
                      <a:cxn ang="T61">
                        <a:pos x="T14" y="T15"/>
                      </a:cxn>
                      <a:cxn ang="T62">
                        <a:pos x="T16" y="T17"/>
                      </a:cxn>
                      <a:cxn ang="T63">
                        <a:pos x="T18" y="T19"/>
                      </a:cxn>
                      <a:cxn ang="T64">
                        <a:pos x="T20" y="T21"/>
                      </a:cxn>
                      <a:cxn ang="T65">
                        <a:pos x="T22" y="T23"/>
                      </a:cxn>
                      <a:cxn ang="T66">
                        <a:pos x="T24" y="T25"/>
                      </a:cxn>
                      <a:cxn ang="T67">
                        <a:pos x="T26" y="T27"/>
                      </a:cxn>
                      <a:cxn ang="T68">
                        <a:pos x="T28" y="T29"/>
                      </a:cxn>
                      <a:cxn ang="T69">
                        <a:pos x="T30" y="T31"/>
                      </a:cxn>
                      <a:cxn ang="T70">
                        <a:pos x="T32" y="T33"/>
                      </a:cxn>
                      <a:cxn ang="T71">
                        <a:pos x="T34" y="T35"/>
                      </a:cxn>
                      <a:cxn ang="T72">
                        <a:pos x="T36" y="T37"/>
                      </a:cxn>
                      <a:cxn ang="T73">
                        <a:pos x="T38" y="T39"/>
                      </a:cxn>
                      <a:cxn ang="T74">
                        <a:pos x="T40" y="T41"/>
                      </a:cxn>
                      <a:cxn ang="T75">
                        <a:pos x="T42" y="T43"/>
                      </a:cxn>
                      <a:cxn ang="T76">
                        <a:pos x="T44" y="T45"/>
                      </a:cxn>
                      <a:cxn ang="T77">
                        <a:pos x="T46" y="T47"/>
                      </a:cxn>
                      <a:cxn ang="T78">
                        <a:pos x="T48" y="T49"/>
                      </a:cxn>
                      <a:cxn ang="T79">
                        <a:pos x="T50" y="T51"/>
                      </a:cxn>
                      <a:cxn ang="T80">
                        <a:pos x="T52" y="T53"/>
                      </a:cxn>
                    </a:cxnLst>
                    <a:rect l="T81" t="T82" r="T83" b="T84"/>
                    <a:pathLst>
                      <a:path w="52" h="121">
                        <a:moveTo>
                          <a:pt x="41" y="0"/>
                        </a:moveTo>
                        <a:lnTo>
                          <a:pt x="46" y="2"/>
                        </a:lnTo>
                        <a:lnTo>
                          <a:pt x="47" y="32"/>
                        </a:lnTo>
                        <a:lnTo>
                          <a:pt x="52" y="59"/>
                        </a:lnTo>
                        <a:lnTo>
                          <a:pt x="51" y="70"/>
                        </a:lnTo>
                        <a:lnTo>
                          <a:pt x="47" y="79"/>
                        </a:lnTo>
                        <a:lnTo>
                          <a:pt x="44" y="89"/>
                        </a:lnTo>
                        <a:lnTo>
                          <a:pt x="41" y="103"/>
                        </a:lnTo>
                        <a:lnTo>
                          <a:pt x="33" y="115"/>
                        </a:lnTo>
                        <a:lnTo>
                          <a:pt x="33" y="121"/>
                        </a:lnTo>
                        <a:lnTo>
                          <a:pt x="28" y="114"/>
                        </a:lnTo>
                        <a:lnTo>
                          <a:pt x="22" y="113"/>
                        </a:lnTo>
                        <a:lnTo>
                          <a:pt x="16" y="109"/>
                        </a:lnTo>
                        <a:lnTo>
                          <a:pt x="14" y="103"/>
                        </a:lnTo>
                        <a:lnTo>
                          <a:pt x="14" y="95"/>
                        </a:lnTo>
                        <a:lnTo>
                          <a:pt x="8" y="93"/>
                        </a:lnTo>
                        <a:lnTo>
                          <a:pt x="5" y="87"/>
                        </a:lnTo>
                        <a:lnTo>
                          <a:pt x="4" y="65"/>
                        </a:lnTo>
                        <a:lnTo>
                          <a:pt x="0" y="60"/>
                        </a:lnTo>
                        <a:lnTo>
                          <a:pt x="0" y="44"/>
                        </a:lnTo>
                        <a:lnTo>
                          <a:pt x="5" y="30"/>
                        </a:lnTo>
                        <a:lnTo>
                          <a:pt x="10" y="32"/>
                        </a:lnTo>
                        <a:lnTo>
                          <a:pt x="16" y="29"/>
                        </a:lnTo>
                        <a:lnTo>
                          <a:pt x="27" y="22"/>
                        </a:lnTo>
                        <a:lnTo>
                          <a:pt x="36" y="18"/>
                        </a:lnTo>
                        <a:lnTo>
                          <a:pt x="38" y="14"/>
                        </a:lnTo>
                        <a:lnTo>
                          <a:pt x="41" y="0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494" name="Freeform 196"/>
                  <p:cNvSpPr>
                    <a:spLocks/>
                  </p:cNvSpPr>
                  <p:nvPr/>
                </p:nvSpPr>
                <p:spPr bwMode="gray">
                  <a:xfrm>
                    <a:off x="2465" y="1836"/>
                    <a:ext cx="139" cy="140"/>
                  </a:xfrm>
                  <a:custGeom>
                    <a:avLst/>
                    <a:gdLst>
                      <a:gd name="T0" fmla="*/ 14 w 694"/>
                      <a:gd name="T1" fmla="*/ 1 h 700"/>
                      <a:gd name="T2" fmla="*/ 13 w 694"/>
                      <a:gd name="T3" fmla="*/ 4 h 700"/>
                      <a:gd name="T4" fmla="*/ 11 w 694"/>
                      <a:gd name="T5" fmla="*/ 6 h 700"/>
                      <a:gd name="T6" fmla="*/ 10 w 694"/>
                      <a:gd name="T7" fmla="*/ 6 h 700"/>
                      <a:gd name="T8" fmla="*/ 8 w 694"/>
                      <a:gd name="T9" fmla="*/ 5 h 700"/>
                      <a:gd name="T10" fmla="*/ 6 w 694"/>
                      <a:gd name="T11" fmla="*/ 6 h 700"/>
                      <a:gd name="T12" fmla="*/ 7 w 694"/>
                      <a:gd name="T13" fmla="*/ 8 h 700"/>
                      <a:gd name="T14" fmla="*/ 6 w 694"/>
                      <a:gd name="T15" fmla="*/ 8 h 700"/>
                      <a:gd name="T16" fmla="*/ 4 w 694"/>
                      <a:gd name="T17" fmla="*/ 8 h 700"/>
                      <a:gd name="T18" fmla="*/ 2 w 694"/>
                      <a:gd name="T19" fmla="*/ 8 h 700"/>
                      <a:gd name="T20" fmla="*/ 0 w 694"/>
                      <a:gd name="T21" fmla="*/ 9 h 700"/>
                      <a:gd name="T22" fmla="*/ 0 w 694"/>
                      <a:gd name="T23" fmla="*/ 10 h 700"/>
                      <a:gd name="T24" fmla="*/ 0 w 694"/>
                      <a:gd name="T25" fmla="*/ 11 h 700"/>
                      <a:gd name="T26" fmla="*/ 2 w 694"/>
                      <a:gd name="T27" fmla="*/ 11 h 700"/>
                      <a:gd name="T28" fmla="*/ 4 w 694"/>
                      <a:gd name="T29" fmla="*/ 12 h 700"/>
                      <a:gd name="T30" fmla="*/ 5 w 694"/>
                      <a:gd name="T31" fmla="*/ 12 h 700"/>
                      <a:gd name="T32" fmla="*/ 6 w 694"/>
                      <a:gd name="T33" fmla="*/ 13 h 700"/>
                      <a:gd name="T34" fmla="*/ 6 w 694"/>
                      <a:gd name="T35" fmla="*/ 14 h 700"/>
                      <a:gd name="T36" fmla="*/ 8 w 694"/>
                      <a:gd name="T37" fmla="*/ 16 h 700"/>
                      <a:gd name="T38" fmla="*/ 8 w 694"/>
                      <a:gd name="T39" fmla="*/ 18 h 700"/>
                      <a:gd name="T40" fmla="*/ 9 w 694"/>
                      <a:gd name="T41" fmla="*/ 19 h 700"/>
                      <a:gd name="T42" fmla="*/ 8 w 694"/>
                      <a:gd name="T43" fmla="*/ 21 h 700"/>
                      <a:gd name="T44" fmla="*/ 8 w 694"/>
                      <a:gd name="T45" fmla="*/ 22 h 700"/>
                      <a:gd name="T46" fmla="*/ 6 w 694"/>
                      <a:gd name="T47" fmla="*/ 25 h 700"/>
                      <a:gd name="T48" fmla="*/ 9 w 694"/>
                      <a:gd name="T49" fmla="*/ 27 h 700"/>
                      <a:gd name="T50" fmla="*/ 12 w 694"/>
                      <a:gd name="T51" fmla="*/ 27 h 700"/>
                      <a:gd name="T52" fmla="*/ 14 w 694"/>
                      <a:gd name="T53" fmla="*/ 28 h 700"/>
                      <a:gd name="T54" fmla="*/ 17 w 694"/>
                      <a:gd name="T55" fmla="*/ 28 h 700"/>
                      <a:gd name="T56" fmla="*/ 18 w 694"/>
                      <a:gd name="T57" fmla="*/ 25 h 700"/>
                      <a:gd name="T58" fmla="*/ 20 w 694"/>
                      <a:gd name="T59" fmla="*/ 25 h 700"/>
                      <a:gd name="T60" fmla="*/ 21 w 694"/>
                      <a:gd name="T61" fmla="*/ 25 h 700"/>
                      <a:gd name="T62" fmla="*/ 22 w 694"/>
                      <a:gd name="T63" fmla="*/ 25 h 700"/>
                      <a:gd name="T64" fmla="*/ 24 w 694"/>
                      <a:gd name="T65" fmla="*/ 26 h 700"/>
                      <a:gd name="T66" fmla="*/ 26 w 694"/>
                      <a:gd name="T67" fmla="*/ 24 h 700"/>
                      <a:gd name="T68" fmla="*/ 27 w 694"/>
                      <a:gd name="T69" fmla="*/ 23 h 700"/>
                      <a:gd name="T70" fmla="*/ 25 w 694"/>
                      <a:gd name="T71" fmla="*/ 22 h 700"/>
                      <a:gd name="T72" fmla="*/ 25 w 694"/>
                      <a:gd name="T73" fmla="*/ 20 h 700"/>
                      <a:gd name="T74" fmla="*/ 26 w 694"/>
                      <a:gd name="T75" fmla="*/ 19 h 700"/>
                      <a:gd name="T76" fmla="*/ 25 w 694"/>
                      <a:gd name="T77" fmla="*/ 17 h 700"/>
                      <a:gd name="T78" fmla="*/ 25 w 694"/>
                      <a:gd name="T79" fmla="*/ 16 h 700"/>
                      <a:gd name="T80" fmla="*/ 23 w 694"/>
                      <a:gd name="T81" fmla="*/ 15 h 700"/>
                      <a:gd name="T82" fmla="*/ 24 w 694"/>
                      <a:gd name="T83" fmla="*/ 14 h 700"/>
                      <a:gd name="T84" fmla="*/ 25 w 694"/>
                      <a:gd name="T85" fmla="*/ 12 h 700"/>
                      <a:gd name="T86" fmla="*/ 27 w 694"/>
                      <a:gd name="T87" fmla="*/ 11 h 700"/>
                      <a:gd name="T88" fmla="*/ 28 w 694"/>
                      <a:gd name="T89" fmla="*/ 7 h 700"/>
                      <a:gd name="T90" fmla="*/ 24 w 694"/>
                      <a:gd name="T91" fmla="*/ 6 h 700"/>
                      <a:gd name="T92" fmla="*/ 22 w 694"/>
                      <a:gd name="T93" fmla="*/ 5 h 700"/>
                      <a:gd name="T94" fmla="*/ 21 w 694"/>
                      <a:gd name="T95" fmla="*/ 3 h 700"/>
                      <a:gd name="T96" fmla="*/ 20 w 694"/>
                      <a:gd name="T97" fmla="*/ 4 h 700"/>
                      <a:gd name="T98" fmla="*/ 18 w 694"/>
                      <a:gd name="T99" fmla="*/ 2 h 700"/>
                      <a:gd name="T100" fmla="*/ 16 w 694"/>
                      <a:gd name="T101" fmla="*/ 1 h 700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w 694"/>
                      <a:gd name="T154" fmla="*/ 0 h 700"/>
                      <a:gd name="T155" fmla="*/ 694 w 694"/>
                      <a:gd name="T156" fmla="*/ 700 h 700"/>
                    </a:gdLst>
                    <a:ahLst/>
                    <a:cxnLst>
                      <a:cxn ang="T102">
                        <a:pos x="T0" y="T1"/>
                      </a:cxn>
                      <a:cxn ang="T103">
                        <a:pos x="T2" y="T3"/>
                      </a:cxn>
                      <a:cxn ang="T104">
                        <a:pos x="T4" y="T5"/>
                      </a:cxn>
                      <a:cxn ang="T105">
                        <a:pos x="T6" y="T7"/>
                      </a:cxn>
                      <a:cxn ang="T106">
                        <a:pos x="T8" y="T9"/>
                      </a:cxn>
                      <a:cxn ang="T107">
                        <a:pos x="T10" y="T11"/>
                      </a:cxn>
                      <a:cxn ang="T108">
                        <a:pos x="T12" y="T13"/>
                      </a:cxn>
                      <a:cxn ang="T109">
                        <a:pos x="T14" y="T15"/>
                      </a:cxn>
                      <a:cxn ang="T110">
                        <a:pos x="T16" y="T17"/>
                      </a:cxn>
                      <a:cxn ang="T111">
                        <a:pos x="T18" y="T19"/>
                      </a:cxn>
                      <a:cxn ang="T112">
                        <a:pos x="T20" y="T21"/>
                      </a:cxn>
                      <a:cxn ang="T113">
                        <a:pos x="T22" y="T23"/>
                      </a:cxn>
                      <a:cxn ang="T114">
                        <a:pos x="T24" y="T25"/>
                      </a:cxn>
                      <a:cxn ang="T115">
                        <a:pos x="T26" y="T27"/>
                      </a:cxn>
                      <a:cxn ang="T116">
                        <a:pos x="T28" y="T29"/>
                      </a:cxn>
                      <a:cxn ang="T117">
                        <a:pos x="T30" y="T31"/>
                      </a:cxn>
                      <a:cxn ang="T118">
                        <a:pos x="T32" y="T33"/>
                      </a:cxn>
                      <a:cxn ang="T119">
                        <a:pos x="T34" y="T35"/>
                      </a:cxn>
                      <a:cxn ang="T120">
                        <a:pos x="T36" y="T37"/>
                      </a:cxn>
                      <a:cxn ang="T121">
                        <a:pos x="T38" y="T39"/>
                      </a:cxn>
                      <a:cxn ang="T122">
                        <a:pos x="T40" y="T41"/>
                      </a:cxn>
                      <a:cxn ang="T123">
                        <a:pos x="T42" y="T43"/>
                      </a:cxn>
                      <a:cxn ang="T124">
                        <a:pos x="T44" y="T45"/>
                      </a:cxn>
                      <a:cxn ang="T125">
                        <a:pos x="T46" y="T47"/>
                      </a:cxn>
                      <a:cxn ang="T126">
                        <a:pos x="T48" y="T49"/>
                      </a:cxn>
                      <a:cxn ang="T127">
                        <a:pos x="T50" y="T51"/>
                      </a:cxn>
                      <a:cxn ang="T128">
                        <a:pos x="T52" y="T53"/>
                      </a:cxn>
                      <a:cxn ang="T129">
                        <a:pos x="T54" y="T55"/>
                      </a:cxn>
                      <a:cxn ang="T130">
                        <a:pos x="T56" y="T57"/>
                      </a:cxn>
                      <a:cxn ang="T131">
                        <a:pos x="T58" y="T59"/>
                      </a:cxn>
                      <a:cxn ang="T132">
                        <a:pos x="T60" y="T61"/>
                      </a:cxn>
                      <a:cxn ang="T133">
                        <a:pos x="T62" y="T63"/>
                      </a:cxn>
                      <a:cxn ang="T134">
                        <a:pos x="T64" y="T65"/>
                      </a:cxn>
                      <a:cxn ang="T135">
                        <a:pos x="T66" y="T67"/>
                      </a:cxn>
                      <a:cxn ang="T136">
                        <a:pos x="T68" y="T69"/>
                      </a:cxn>
                      <a:cxn ang="T137">
                        <a:pos x="T70" y="T71"/>
                      </a:cxn>
                      <a:cxn ang="T138">
                        <a:pos x="T72" y="T73"/>
                      </a:cxn>
                      <a:cxn ang="T139">
                        <a:pos x="T74" y="T75"/>
                      </a:cxn>
                      <a:cxn ang="T140">
                        <a:pos x="T76" y="T77"/>
                      </a:cxn>
                      <a:cxn ang="T141">
                        <a:pos x="T78" y="T79"/>
                      </a:cxn>
                      <a:cxn ang="T142">
                        <a:pos x="T80" y="T81"/>
                      </a:cxn>
                      <a:cxn ang="T143">
                        <a:pos x="T82" y="T83"/>
                      </a:cxn>
                      <a:cxn ang="T144">
                        <a:pos x="T84" y="T85"/>
                      </a:cxn>
                      <a:cxn ang="T145">
                        <a:pos x="T86" y="T87"/>
                      </a:cxn>
                      <a:cxn ang="T146">
                        <a:pos x="T88" y="T89"/>
                      </a:cxn>
                      <a:cxn ang="T147">
                        <a:pos x="T90" y="T91"/>
                      </a:cxn>
                      <a:cxn ang="T148">
                        <a:pos x="T92" y="T93"/>
                      </a:cxn>
                      <a:cxn ang="T149">
                        <a:pos x="T94" y="T95"/>
                      </a:cxn>
                      <a:cxn ang="T150">
                        <a:pos x="T96" y="T97"/>
                      </a:cxn>
                      <a:cxn ang="T151">
                        <a:pos x="T98" y="T99"/>
                      </a:cxn>
                      <a:cxn ang="T152">
                        <a:pos x="T100" y="T101"/>
                      </a:cxn>
                    </a:cxnLst>
                    <a:rect l="T153" t="T154" r="T155" b="T156"/>
                    <a:pathLst>
                      <a:path w="694" h="700">
                        <a:moveTo>
                          <a:pt x="408" y="0"/>
                        </a:moveTo>
                        <a:lnTo>
                          <a:pt x="403" y="4"/>
                        </a:lnTo>
                        <a:lnTo>
                          <a:pt x="381" y="7"/>
                        </a:lnTo>
                        <a:lnTo>
                          <a:pt x="355" y="17"/>
                        </a:lnTo>
                        <a:lnTo>
                          <a:pt x="349" y="36"/>
                        </a:lnTo>
                        <a:lnTo>
                          <a:pt x="345" y="66"/>
                        </a:lnTo>
                        <a:lnTo>
                          <a:pt x="349" y="70"/>
                        </a:lnTo>
                        <a:lnTo>
                          <a:pt x="348" y="76"/>
                        </a:lnTo>
                        <a:lnTo>
                          <a:pt x="336" y="90"/>
                        </a:lnTo>
                        <a:lnTo>
                          <a:pt x="322" y="100"/>
                        </a:lnTo>
                        <a:lnTo>
                          <a:pt x="290" y="109"/>
                        </a:lnTo>
                        <a:lnTo>
                          <a:pt x="275" y="119"/>
                        </a:lnTo>
                        <a:lnTo>
                          <a:pt x="268" y="132"/>
                        </a:lnTo>
                        <a:lnTo>
                          <a:pt x="269" y="138"/>
                        </a:lnTo>
                        <a:lnTo>
                          <a:pt x="284" y="138"/>
                        </a:lnTo>
                        <a:lnTo>
                          <a:pt x="289" y="139"/>
                        </a:lnTo>
                        <a:lnTo>
                          <a:pt x="288" y="143"/>
                        </a:lnTo>
                        <a:lnTo>
                          <a:pt x="267" y="145"/>
                        </a:lnTo>
                        <a:lnTo>
                          <a:pt x="257" y="152"/>
                        </a:lnTo>
                        <a:lnTo>
                          <a:pt x="248" y="154"/>
                        </a:lnTo>
                        <a:lnTo>
                          <a:pt x="237" y="154"/>
                        </a:lnTo>
                        <a:lnTo>
                          <a:pt x="224" y="150"/>
                        </a:lnTo>
                        <a:lnTo>
                          <a:pt x="208" y="148"/>
                        </a:lnTo>
                        <a:lnTo>
                          <a:pt x="203" y="149"/>
                        </a:lnTo>
                        <a:lnTo>
                          <a:pt x="191" y="133"/>
                        </a:lnTo>
                        <a:lnTo>
                          <a:pt x="192" y="124"/>
                        </a:lnTo>
                        <a:lnTo>
                          <a:pt x="188" y="122"/>
                        </a:lnTo>
                        <a:lnTo>
                          <a:pt x="167" y="123"/>
                        </a:lnTo>
                        <a:lnTo>
                          <a:pt x="157" y="120"/>
                        </a:lnTo>
                        <a:lnTo>
                          <a:pt x="159" y="140"/>
                        </a:lnTo>
                        <a:lnTo>
                          <a:pt x="162" y="149"/>
                        </a:lnTo>
                        <a:lnTo>
                          <a:pt x="168" y="154"/>
                        </a:lnTo>
                        <a:lnTo>
                          <a:pt x="175" y="177"/>
                        </a:lnTo>
                        <a:lnTo>
                          <a:pt x="175" y="189"/>
                        </a:lnTo>
                        <a:lnTo>
                          <a:pt x="177" y="202"/>
                        </a:lnTo>
                        <a:lnTo>
                          <a:pt x="183" y="206"/>
                        </a:lnTo>
                        <a:lnTo>
                          <a:pt x="179" y="210"/>
                        </a:lnTo>
                        <a:lnTo>
                          <a:pt x="168" y="211"/>
                        </a:lnTo>
                        <a:lnTo>
                          <a:pt x="165" y="208"/>
                        </a:lnTo>
                        <a:lnTo>
                          <a:pt x="160" y="205"/>
                        </a:lnTo>
                        <a:lnTo>
                          <a:pt x="152" y="208"/>
                        </a:lnTo>
                        <a:lnTo>
                          <a:pt x="145" y="210"/>
                        </a:lnTo>
                        <a:lnTo>
                          <a:pt x="136" y="209"/>
                        </a:lnTo>
                        <a:lnTo>
                          <a:pt x="118" y="215"/>
                        </a:lnTo>
                        <a:lnTo>
                          <a:pt x="93" y="194"/>
                        </a:lnTo>
                        <a:lnTo>
                          <a:pt x="76" y="195"/>
                        </a:lnTo>
                        <a:lnTo>
                          <a:pt x="71" y="193"/>
                        </a:lnTo>
                        <a:lnTo>
                          <a:pt x="66" y="197"/>
                        </a:lnTo>
                        <a:lnTo>
                          <a:pt x="65" y="202"/>
                        </a:lnTo>
                        <a:lnTo>
                          <a:pt x="51" y="206"/>
                        </a:lnTo>
                        <a:lnTo>
                          <a:pt x="42" y="206"/>
                        </a:lnTo>
                        <a:lnTo>
                          <a:pt x="26" y="209"/>
                        </a:lnTo>
                        <a:lnTo>
                          <a:pt x="4" y="219"/>
                        </a:lnTo>
                        <a:lnTo>
                          <a:pt x="0" y="229"/>
                        </a:lnTo>
                        <a:lnTo>
                          <a:pt x="0" y="235"/>
                        </a:lnTo>
                        <a:lnTo>
                          <a:pt x="20" y="232"/>
                        </a:lnTo>
                        <a:lnTo>
                          <a:pt x="19" y="237"/>
                        </a:lnTo>
                        <a:lnTo>
                          <a:pt x="14" y="237"/>
                        </a:lnTo>
                        <a:lnTo>
                          <a:pt x="9" y="243"/>
                        </a:lnTo>
                        <a:lnTo>
                          <a:pt x="11" y="248"/>
                        </a:lnTo>
                        <a:lnTo>
                          <a:pt x="19" y="247"/>
                        </a:lnTo>
                        <a:lnTo>
                          <a:pt x="28" y="247"/>
                        </a:lnTo>
                        <a:lnTo>
                          <a:pt x="26" y="254"/>
                        </a:lnTo>
                        <a:lnTo>
                          <a:pt x="5" y="258"/>
                        </a:lnTo>
                        <a:lnTo>
                          <a:pt x="10" y="263"/>
                        </a:lnTo>
                        <a:lnTo>
                          <a:pt x="23" y="268"/>
                        </a:lnTo>
                        <a:lnTo>
                          <a:pt x="23" y="279"/>
                        </a:lnTo>
                        <a:lnTo>
                          <a:pt x="35" y="280"/>
                        </a:lnTo>
                        <a:lnTo>
                          <a:pt x="35" y="274"/>
                        </a:lnTo>
                        <a:lnTo>
                          <a:pt x="43" y="273"/>
                        </a:lnTo>
                        <a:lnTo>
                          <a:pt x="74" y="284"/>
                        </a:lnTo>
                        <a:lnTo>
                          <a:pt x="84" y="291"/>
                        </a:lnTo>
                        <a:lnTo>
                          <a:pt x="86" y="296"/>
                        </a:lnTo>
                        <a:lnTo>
                          <a:pt x="91" y="299"/>
                        </a:lnTo>
                        <a:lnTo>
                          <a:pt x="103" y="294"/>
                        </a:lnTo>
                        <a:lnTo>
                          <a:pt x="111" y="296"/>
                        </a:lnTo>
                        <a:lnTo>
                          <a:pt x="106" y="300"/>
                        </a:lnTo>
                        <a:lnTo>
                          <a:pt x="118" y="305"/>
                        </a:lnTo>
                        <a:lnTo>
                          <a:pt x="124" y="300"/>
                        </a:lnTo>
                        <a:lnTo>
                          <a:pt x="128" y="302"/>
                        </a:lnTo>
                        <a:lnTo>
                          <a:pt x="125" y="318"/>
                        </a:lnTo>
                        <a:lnTo>
                          <a:pt x="140" y="322"/>
                        </a:lnTo>
                        <a:lnTo>
                          <a:pt x="155" y="318"/>
                        </a:lnTo>
                        <a:lnTo>
                          <a:pt x="165" y="323"/>
                        </a:lnTo>
                        <a:lnTo>
                          <a:pt x="148" y="328"/>
                        </a:lnTo>
                        <a:lnTo>
                          <a:pt x="148" y="334"/>
                        </a:lnTo>
                        <a:lnTo>
                          <a:pt x="155" y="342"/>
                        </a:lnTo>
                        <a:lnTo>
                          <a:pt x="150" y="349"/>
                        </a:lnTo>
                        <a:lnTo>
                          <a:pt x="144" y="344"/>
                        </a:lnTo>
                        <a:lnTo>
                          <a:pt x="144" y="351"/>
                        </a:lnTo>
                        <a:lnTo>
                          <a:pt x="155" y="364"/>
                        </a:lnTo>
                        <a:lnTo>
                          <a:pt x="161" y="374"/>
                        </a:lnTo>
                        <a:lnTo>
                          <a:pt x="164" y="381"/>
                        </a:lnTo>
                        <a:lnTo>
                          <a:pt x="176" y="389"/>
                        </a:lnTo>
                        <a:lnTo>
                          <a:pt x="188" y="397"/>
                        </a:lnTo>
                        <a:lnTo>
                          <a:pt x="203" y="401"/>
                        </a:lnTo>
                        <a:lnTo>
                          <a:pt x="200" y="408"/>
                        </a:lnTo>
                        <a:lnTo>
                          <a:pt x="204" y="417"/>
                        </a:lnTo>
                        <a:lnTo>
                          <a:pt x="204" y="429"/>
                        </a:lnTo>
                        <a:lnTo>
                          <a:pt x="199" y="440"/>
                        </a:lnTo>
                        <a:lnTo>
                          <a:pt x="203" y="450"/>
                        </a:lnTo>
                        <a:lnTo>
                          <a:pt x="213" y="457"/>
                        </a:lnTo>
                        <a:lnTo>
                          <a:pt x="220" y="467"/>
                        </a:lnTo>
                        <a:lnTo>
                          <a:pt x="224" y="480"/>
                        </a:lnTo>
                        <a:lnTo>
                          <a:pt x="220" y="475"/>
                        </a:lnTo>
                        <a:lnTo>
                          <a:pt x="207" y="460"/>
                        </a:lnTo>
                        <a:lnTo>
                          <a:pt x="203" y="467"/>
                        </a:lnTo>
                        <a:lnTo>
                          <a:pt x="203" y="484"/>
                        </a:lnTo>
                        <a:lnTo>
                          <a:pt x="198" y="517"/>
                        </a:lnTo>
                        <a:lnTo>
                          <a:pt x="197" y="527"/>
                        </a:lnTo>
                        <a:lnTo>
                          <a:pt x="203" y="518"/>
                        </a:lnTo>
                        <a:lnTo>
                          <a:pt x="207" y="526"/>
                        </a:lnTo>
                        <a:lnTo>
                          <a:pt x="204" y="530"/>
                        </a:lnTo>
                        <a:lnTo>
                          <a:pt x="197" y="534"/>
                        </a:lnTo>
                        <a:lnTo>
                          <a:pt x="197" y="547"/>
                        </a:lnTo>
                        <a:lnTo>
                          <a:pt x="186" y="607"/>
                        </a:lnTo>
                        <a:lnTo>
                          <a:pt x="181" y="618"/>
                        </a:lnTo>
                        <a:lnTo>
                          <a:pt x="171" y="624"/>
                        </a:lnTo>
                        <a:lnTo>
                          <a:pt x="161" y="624"/>
                        </a:lnTo>
                        <a:lnTo>
                          <a:pt x="162" y="628"/>
                        </a:lnTo>
                        <a:lnTo>
                          <a:pt x="184" y="646"/>
                        </a:lnTo>
                        <a:lnTo>
                          <a:pt x="193" y="650"/>
                        </a:lnTo>
                        <a:lnTo>
                          <a:pt x="204" y="652"/>
                        </a:lnTo>
                        <a:lnTo>
                          <a:pt x="215" y="660"/>
                        </a:lnTo>
                        <a:lnTo>
                          <a:pt x="222" y="666"/>
                        </a:lnTo>
                        <a:lnTo>
                          <a:pt x="268" y="678"/>
                        </a:lnTo>
                        <a:lnTo>
                          <a:pt x="284" y="679"/>
                        </a:lnTo>
                        <a:lnTo>
                          <a:pt x="290" y="678"/>
                        </a:lnTo>
                        <a:lnTo>
                          <a:pt x="300" y="671"/>
                        </a:lnTo>
                        <a:lnTo>
                          <a:pt x="308" y="670"/>
                        </a:lnTo>
                        <a:lnTo>
                          <a:pt x="317" y="672"/>
                        </a:lnTo>
                        <a:lnTo>
                          <a:pt x="332" y="682"/>
                        </a:lnTo>
                        <a:lnTo>
                          <a:pt x="345" y="683"/>
                        </a:lnTo>
                        <a:lnTo>
                          <a:pt x="350" y="689"/>
                        </a:lnTo>
                        <a:lnTo>
                          <a:pt x="361" y="698"/>
                        </a:lnTo>
                        <a:lnTo>
                          <a:pt x="369" y="700"/>
                        </a:lnTo>
                        <a:lnTo>
                          <a:pt x="397" y="698"/>
                        </a:lnTo>
                        <a:lnTo>
                          <a:pt x="410" y="695"/>
                        </a:lnTo>
                        <a:lnTo>
                          <a:pt x="424" y="695"/>
                        </a:lnTo>
                        <a:lnTo>
                          <a:pt x="431" y="697"/>
                        </a:lnTo>
                        <a:lnTo>
                          <a:pt x="429" y="667"/>
                        </a:lnTo>
                        <a:lnTo>
                          <a:pt x="425" y="663"/>
                        </a:lnTo>
                        <a:lnTo>
                          <a:pt x="428" y="649"/>
                        </a:lnTo>
                        <a:lnTo>
                          <a:pt x="434" y="638"/>
                        </a:lnTo>
                        <a:lnTo>
                          <a:pt x="452" y="629"/>
                        </a:lnTo>
                        <a:lnTo>
                          <a:pt x="463" y="622"/>
                        </a:lnTo>
                        <a:lnTo>
                          <a:pt x="469" y="617"/>
                        </a:lnTo>
                        <a:lnTo>
                          <a:pt x="478" y="612"/>
                        </a:lnTo>
                        <a:lnTo>
                          <a:pt x="483" y="612"/>
                        </a:lnTo>
                        <a:lnTo>
                          <a:pt x="487" y="615"/>
                        </a:lnTo>
                        <a:lnTo>
                          <a:pt x="503" y="618"/>
                        </a:lnTo>
                        <a:lnTo>
                          <a:pt x="505" y="619"/>
                        </a:lnTo>
                        <a:lnTo>
                          <a:pt x="507" y="623"/>
                        </a:lnTo>
                        <a:lnTo>
                          <a:pt x="512" y="624"/>
                        </a:lnTo>
                        <a:lnTo>
                          <a:pt x="525" y="625"/>
                        </a:lnTo>
                        <a:lnTo>
                          <a:pt x="526" y="622"/>
                        </a:lnTo>
                        <a:lnTo>
                          <a:pt x="536" y="623"/>
                        </a:lnTo>
                        <a:lnTo>
                          <a:pt x="538" y="625"/>
                        </a:lnTo>
                        <a:lnTo>
                          <a:pt x="546" y="625"/>
                        </a:lnTo>
                        <a:lnTo>
                          <a:pt x="552" y="628"/>
                        </a:lnTo>
                        <a:lnTo>
                          <a:pt x="553" y="633"/>
                        </a:lnTo>
                        <a:lnTo>
                          <a:pt x="557" y="634"/>
                        </a:lnTo>
                        <a:lnTo>
                          <a:pt x="569" y="635"/>
                        </a:lnTo>
                        <a:lnTo>
                          <a:pt x="578" y="644"/>
                        </a:lnTo>
                        <a:lnTo>
                          <a:pt x="593" y="645"/>
                        </a:lnTo>
                        <a:lnTo>
                          <a:pt x="617" y="634"/>
                        </a:lnTo>
                        <a:lnTo>
                          <a:pt x="619" y="631"/>
                        </a:lnTo>
                        <a:lnTo>
                          <a:pt x="620" y="625"/>
                        </a:lnTo>
                        <a:lnTo>
                          <a:pt x="629" y="619"/>
                        </a:lnTo>
                        <a:lnTo>
                          <a:pt x="640" y="608"/>
                        </a:lnTo>
                        <a:lnTo>
                          <a:pt x="646" y="604"/>
                        </a:lnTo>
                        <a:lnTo>
                          <a:pt x="648" y="600"/>
                        </a:lnTo>
                        <a:lnTo>
                          <a:pt x="667" y="590"/>
                        </a:lnTo>
                        <a:lnTo>
                          <a:pt x="668" y="588"/>
                        </a:lnTo>
                        <a:lnTo>
                          <a:pt x="667" y="585"/>
                        </a:lnTo>
                        <a:lnTo>
                          <a:pt x="670" y="579"/>
                        </a:lnTo>
                        <a:lnTo>
                          <a:pt x="670" y="570"/>
                        </a:lnTo>
                        <a:lnTo>
                          <a:pt x="666" y="561"/>
                        </a:lnTo>
                        <a:lnTo>
                          <a:pt x="641" y="559"/>
                        </a:lnTo>
                        <a:lnTo>
                          <a:pt x="635" y="550"/>
                        </a:lnTo>
                        <a:lnTo>
                          <a:pt x="633" y="539"/>
                        </a:lnTo>
                        <a:lnTo>
                          <a:pt x="632" y="528"/>
                        </a:lnTo>
                        <a:lnTo>
                          <a:pt x="634" y="520"/>
                        </a:lnTo>
                        <a:lnTo>
                          <a:pt x="633" y="511"/>
                        </a:lnTo>
                        <a:lnTo>
                          <a:pt x="624" y="509"/>
                        </a:lnTo>
                        <a:lnTo>
                          <a:pt x="623" y="504"/>
                        </a:lnTo>
                        <a:lnTo>
                          <a:pt x="622" y="499"/>
                        </a:lnTo>
                        <a:lnTo>
                          <a:pt x="624" y="490"/>
                        </a:lnTo>
                        <a:lnTo>
                          <a:pt x="629" y="484"/>
                        </a:lnTo>
                        <a:lnTo>
                          <a:pt x="640" y="477"/>
                        </a:lnTo>
                        <a:lnTo>
                          <a:pt x="638" y="467"/>
                        </a:lnTo>
                        <a:lnTo>
                          <a:pt x="627" y="441"/>
                        </a:lnTo>
                        <a:lnTo>
                          <a:pt x="625" y="436"/>
                        </a:lnTo>
                        <a:lnTo>
                          <a:pt x="627" y="431"/>
                        </a:lnTo>
                        <a:lnTo>
                          <a:pt x="636" y="430"/>
                        </a:lnTo>
                        <a:lnTo>
                          <a:pt x="634" y="419"/>
                        </a:lnTo>
                        <a:lnTo>
                          <a:pt x="627" y="418"/>
                        </a:lnTo>
                        <a:lnTo>
                          <a:pt x="624" y="407"/>
                        </a:lnTo>
                        <a:lnTo>
                          <a:pt x="624" y="389"/>
                        </a:lnTo>
                        <a:lnTo>
                          <a:pt x="620" y="388"/>
                        </a:lnTo>
                        <a:lnTo>
                          <a:pt x="603" y="388"/>
                        </a:lnTo>
                        <a:lnTo>
                          <a:pt x="592" y="404"/>
                        </a:lnTo>
                        <a:lnTo>
                          <a:pt x="586" y="409"/>
                        </a:lnTo>
                        <a:lnTo>
                          <a:pt x="582" y="407"/>
                        </a:lnTo>
                        <a:lnTo>
                          <a:pt x="584" y="385"/>
                        </a:lnTo>
                        <a:lnTo>
                          <a:pt x="587" y="372"/>
                        </a:lnTo>
                        <a:lnTo>
                          <a:pt x="591" y="369"/>
                        </a:lnTo>
                        <a:lnTo>
                          <a:pt x="595" y="362"/>
                        </a:lnTo>
                        <a:lnTo>
                          <a:pt x="602" y="358"/>
                        </a:lnTo>
                        <a:lnTo>
                          <a:pt x="603" y="355"/>
                        </a:lnTo>
                        <a:lnTo>
                          <a:pt x="606" y="345"/>
                        </a:lnTo>
                        <a:lnTo>
                          <a:pt x="612" y="337"/>
                        </a:lnTo>
                        <a:lnTo>
                          <a:pt x="635" y="311"/>
                        </a:lnTo>
                        <a:lnTo>
                          <a:pt x="632" y="306"/>
                        </a:lnTo>
                        <a:lnTo>
                          <a:pt x="635" y="299"/>
                        </a:lnTo>
                        <a:lnTo>
                          <a:pt x="652" y="300"/>
                        </a:lnTo>
                        <a:lnTo>
                          <a:pt x="660" y="297"/>
                        </a:lnTo>
                        <a:lnTo>
                          <a:pt x="667" y="291"/>
                        </a:lnTo>
                        <a:lnTo>
                          <a:pt x="665" y="289"/>
                        </a:lnTo>
                        <a:lnTo>
                          <a:pt x="663" y="279"/>
                        </a:lnTo>
                        <a:lnTo>
                          <a:pt x="665" y="251"/>
                        </a:lnTo>
                        <a:lnTo>
                          <a:pt x="672" y="226"/>
                        </a:lnTo>
                        <a:lnTo>
                          <a:pt x="675" y="214"/>
                        </a:lnTo>
                        <a:lnTo>
                          <a:pt x="692" y="191"/>
                        </a:lnTo>
                        <a:lnTo>
                          <a:pt x="694" y="179"/>
                        </a:lnTo>
                        <a:lnTo>
                          <a:pt x="681" y="173"/>
                        </a:lnTo>
                        <a:lnTo>
                          <a:pt x="640" y="161"/>
                        </a:lnTo>
                        <a:lnTo>
                          <a:pt x="622" y="160"/>
                        </a:lnTo>
                        <a:lnTo>
                          <a:pt x="616" y="149"/>
                        </a:lnTo>
                        <a:lnTo>
                          <a:pt x="608" y="143"/>
                        </a:lnTo>
                        <a:lnTo>
                          <a:pt x="596" y="132"/>
                        </a:lnTo>
                        <a:lnTo>
                          <a:pt x="584" y="133"/>
                        </a:lnTo>
                        <a:lnTo>
                          <a:pt x="566" y="128"/>
                        </a:lnTo>
                        <a:lnTo>
                          <a:pt x="558" y="129"/>
                        </a:lnTo>
                        <a:lnTo>
                          <a:pt x="548" y="127"/>
                        </a:lnTo>
                        <a:lnTo>
                          <a:pt x="539" y="119"/>
                        </a:lnTo>
                        <a:lnTo>
                          <a:pt x="528" y="114"/>
                        </a:lnTo>
                        <a:lnTo>
                          <a:pt x="531" y="108"/>
                        </a:lnTo>
                        <a:lnTo>
                          <a:pt x="526" y="106"/>
                        </a:lnTo>
                        <a:lnTo>
                          <a:pt x="526" y="82"/>
                        </a:lnTo>
                        <a:lnTo>
                          <a:pt x="520" y="82"/>
                        </a:lnTo>
                        <a:lnTo>
                          <a:pt x="514" y="90"/>
                        </a:lnTo>
                        <a:lnTo>
                          <a:pt x="509" y="97"/>
                        </a:lnTo>
                        <a:lnTo>
                          <a:pt x="499" y="97"/>
                        </a:lnTo>
                        <a:lnTo>
                          <a:pt x="489" y="93"/>
                        </a:lnTo>
                        <a:lnTo>
                          <a:pt x="487" y="78"/>
                        </a:lnTo>
                        <a:lnTo>
                          <a:pt x="484" y="69"/>
                        </a:lnTo>
                        <a:lnTo>
                          <a:pt x="478" y="64"/>
                        </a:lnTo>
                        <a:lnTo>
                          <a:pt x="466" y="60"/>
                        </a:lnTo>
                        <a:lnTo>
                          <a:pt x="452" y="52"/>
                        </a:lnTo>
                        <a:lnTo>
                          <a:pt x="442" y="48"/>
                        </a:lnTo>
                        <a:lnTo>
                          <a:pt x="433" y="30"/>
                        </a:lnTo>
                        <a:lnTo>
                          <a:pt x="421" y="31"/>
                        </a:lnTo>
                        <a:lnTo>
                          <a:pt x="410" y="26"/>
                        </a:lnTo>
                        <a:lnTo>
                          <a:pt x="408" y="16"/>
                        </a:lnTo>
                        <a:lnTo>
                          <a:pt x="408" y="0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</p:grpSp>
            <p:grpSp>
              <p:nvGrpSpPr>
                <p:cNvPr id="459" name="Group 197"/>
                <p:cNvGrpSpPr>
                  <a:grpSpLocks/>
                </p:cNvGrpSpPr>
                <p:nvPr/>
              </p:nvGrpSpPr>
              <p:grpSpPr bwMode="auto">
                <a:xfrm>
                  <a:off x="4203452" y="1628016"/>
                  <a:ext cx="189611" cy="286740"/>
                  <a:chOff x="2428" y="1692"/>
                  <a:chExt cx="108" cy="163"/>
                </a:xfrm>
                <a:solidFill>
                  <a:srgbClr val="D9D9D9"/>
                </a:solidFill>
              </p:grpSpPr>
              <p:sp>
                <p:nvSpPr>
                  <p:cNvPr id="491" name="Freeform 198"/>
                  <p:cNvSpPr>
                    <a:spLocks/>
                  </p:cNvSpPr>
                  <p:nvPr/>
                </p:nvSpPr>
                <p:spPr bwMode="gray">
                  <a:xfrm>
                    <a:off x="2450" y="1692"/>
                    <a:ext cx="86" cy="163"/>
                  </a:xfrm>
                  <a:custGeom>
                    <a:avLst/>
                    <a:gdLst>
                      <a:gd name="T0" fmla="*/ 9 w 430"/>
                      <a:gd name="T1" fmla="*/ 30 h 814"/>
                      <a:gd name="T2" fmla="*/ 10 w 430"/>
                      <a:gd name="T3" fmla="*/ 30 h 814"/>
                      <a:gd name="T4" fmla="*/ 13 w 430"/>
                      <a:gd name="T5" fmla="*/ 30 h 814"/>
                      <a:gd name="T6" fmla="*/ 16 w 430"/>
                      <a:gd name="T7" fmla="*/ 28 h 814"/>
                      <a:gd name="T8" fmla="*/ 15 w 430"/>
                      <a:gd name="T9" fmla="*/ 27 h 814"/>
                      <a:gd name="T10" fmla="*/ 16 w 430"/>
                      <a:gd name="T11" fmla="*/ 26 h 814"/>
                      <a:gd name="T12" fmla="*/ 17 w 430"/>
                      <a:gd name="T13" fmla="*/ 25 h 814"/>
                      <a:gd name="T14" fmla="*/ 16 w 430"/>
                      <a:gd name="T15" fmla="*/ 22 h 814"/>
                      <a:gd name="T16" fmla="*/ 13 w 430"/>
                      <a:gd name="T17" fmla="*/ 23 h 814"/>
                      <a:gd name="T18" fmla="*/ 14 w 430"/>
                      <a:gd name="T19" fmla="*/ 20 h 814"/>
                      <a:gd name="T20" fmla="*/ 14 w 430"/>
                      <a:gd name="T21" fmla="*/ 20 h 814"/>
                      <a:gd name="T22" fmla="*/ 13 w 430"/>
                      <a:gd name="T23" fmla="*/ 17 h 814"/>
                      <a:gd name="T24" fmla="*/ 11 w 430"/>
                      <a:gd name="T25" fmla="*/ 15 h 814"/>
                      <a:gd name="T26" fmla="*/ 9 w 430"/>
                      <a:gd name="T27" fmla="*/ 12 h 814"/>
                      <a:gd name="T28" fmla="*/ 6 w 430"/>
                      <a:gd name="T29" fmla="*/ 11 h 814"/>
                      <a:gd name="T30" fmla="*/ 7 w 430"/>
                      <a:gd name="T31" fmla="*/ 9 h 814"/>
                      <a:gd name="T32" fmla="*/ 8 w 430"/>
                      <a:gd name="T33" fmla="*/ 8 h 814"/>
                      <a:gd name="T34" fmla="*/ 9 w 430"/>
                      <a:gd name="T35" fmla="*/ 4 h 814"/>
                      <a:gd name="T36" fmla="*/ 6 w 430"/>
                      <a:gd name="T37" fmla="*/ 4 h 814"/>
                      <a:gd name="T38" fmla="*/ 4 w 430"/>
                      <a:gd name="T39" fmla="*/ 4 h 814"/>
                      <a:gd name="T40" fmla="*/ 4 w 430"/>
                      <a:gd name="T41" fmla="*/ 3 h 814"/>
                      <a:gd name="T42" fmla="*/ 6 w 430"/>
                      <a:gd name="T43" fmla="*/ 0 h 814"/>
                      <a:gd name="T44" fmla="*/ 3 w 430"/>
                      <a:gd name="T45" fmla="*/ 0 h 814"/>
                      <a:gd name="T46" fmla="*/ 1 w 430"/>
                      <a:gd name="T47" fmla="*/ 2 h 814"/>
                      <a:gd name="T48" fmla="*/ 1 w 430"/>
                      <a:gd name="T49" fmla="*/ 5 h 814"/>
                      <a:gd name="T50" fmla="*/ 1 w 430"/>
                      <a:gd name="T51" fmla="*/ 5 h 814"/>
                      <a:gd name="T52" fmla="*/ 1 w 430"/>
                      <a:gd name="T53" fmla="*/ 6 h 814"/>
                      <a:gd name="T54" fmla="*/ 0 w 430"/>
                      <a:gd name="T55" fmla="*/ 8 h 814"/>
                      <a:gd name="T56" fmla="*/ 1 w 430"/>
                      <a:gd name="T57" fmla="*/ 9 h 814"/>
                      <a:gd name="T58" fmla="*/ 1 w 430"/>
                      <a:gd name="T59" fmla="*/ 10 h 814"/>
                      <a:gd name="T60" fmla="*/ 1 w 430"/>
                      <a:gd name="T61" fmla="*/ 11 h 814"/>
                      <a:gd name="T62" fmla="*/ 1 w 430"/>
                      <a:gd name="T63" fmla="*/ 13 h 814"/>
                      <a:gd name="T64" fmla="*/ 2 w 430"/>
                      <a:gd name="T65" fmla="*/ 10 h 814"/>
                      <a:gd name="T66" fmla="*/ 2 w 430"/>
                      <a:gd name="T67" fmla="*/ 11 h 814"/>
                      <a:gd name="T68" fmla="*/ 3 w 430"/>
                      <a:gd name="T69" fmla="*/ 11 h 814"/>
                      <a:gd name="T70" fmla="*/ 3 w 430"/>
                      <a:gd name="T71" fmla="*/ 12 h 814"/>
                      <a:gd name="T72" fmla="*/ 2 w 430"/>
                      <a:gd name="T73" fmla="*/ 15 h 814"/>
                      <a:gd name="T74" fmla="*/ 3 w 430"/>
                      <a:gd name="T75" fmla="*/ 15 h 814"/>
                      <a:gd name="T76" fmla="*/ 4 w 430"/>
                      <a:gd name="T77" fmla="*/ 15 h 814"/>
                      <a:gd name="T78" fmla="*/ 6 w 430"/>
                      <a:gd name="T79" fmla="*/ 15 h 814"/>
                      <a:gd name="T80" fmla="*/ 6 w 430"/>
                      <a:gd name="T81" fmla="*/ 17 h 814"/>
                      <a:gd name="T82" fmla="*/ 7 w 430"/>
                      <a:gd name="T83" fmla="*/ 18 h 814"/>
                      <a:gd name="T84" fmla="*/ 7 w 430"/>
                      <a:gd name="T85" fmla="*/ 19 h 814"/>
                      <a:gd name="T86" fmla="*/ 7 w 430"/>
                      <a:gd name="T87" fmla="*/ 21 h 814"/>
                      <a:gd name="T88" fmla="*/ 4 w 430"/>
                      <a:gd name="T89" fmla="*/ 22 h 814"/>
                      <a:gd name="T90" fmla="*/ 4 w 430"/>
                      <a:gd name="T91" fmla="*/ 25 h 814"/>
                      <a:gd name="T92" fmla="*/ 2 w 430"/>
                      <a:gd name="T93" fmla="*/ 27 h 814"/>
                      <a:gd name="T94" fmla="*/ 4 w 430"/>
                      <a:gd name="T95" fmla="*/ 27 h 814"/>
                      <a:gd name="T96" fmla="*/ 6 w 430"/>
                      <a:gd name="T97" fmla="*/ 28 h 814"/>
                      <a:gd name="T98" fmla="*/ 8 w 430"/>
                      <a:gd name="T99" fmla="*/ 27 h 814"/>
                      <a:gd name="T100" fmla="*/ 6 w 430"/>
                      <a:gd name="T101" fmla="*/ 28 h 814"/>
                      <a:gd name="T102" fmla="*/ 2 w 430"/>
                      <a:gd name="T103" fmla="*/ 32 h 814"/>
                      <a:gd name="T104" fmla="*/ 2 w 430"/>
                      <a:gd name="T105" fmla="*/ 32 h 814"/>
                      <a:gd name="T106" fmla="*/ 3 w 430"/>
                      <a:gd name="T107" fmla="*/ 31 h 814"/>
                      <a:gd name="T108" fmla="*/ 6 w 430"/>
                      <a:gd name="T109" fmla="*/ 30 h 814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w 430"/>
                      <a:gd name="T166" fmla="*/ 0 h 814"/>
                      <a:gd name="T167" fmla="*/ 430 w 430"/>
                      <a:gd name="T168" fmla="*/ 814 h 814"/>
                    </a:gdLst>
                    <a:ahLst/>
                    <a:cxnLst>
                      <a:cxn ang="T110">
                        <a:pos x="T0" y="T1"/>
                      </a:cxn>
                      <a:cxn ang="T111">
                        <a:pos x="T2" y="T3"/>
                      </a:cxn>
                      <a:cxn ang="T112">
                        <a:pos x="T4" y="T5"/>
                      </a:cxn>
                      <a:cxn ang="T113">
                        <a:pos x="T6" y="T7"/>
                      </a:cxn>
                      <a:cxn ang="T114">
                        <a:pos x="T8" y="T9"/>
                      </a:cxn>
                      <a:cxn ang="T115">
                        <a:pos x="T10" y="T11"/>
                      </a:cxn>
                      <a:cxn ang="T116">
                        <a:pos x="T12" y="T13"/>
                      </a:cxn>
                      <a:cxn ang="T117">
                        <a:pos x="T14" y="T15"/>
                      </a:cxn>
                      <a:cxn ang="T118">
                        <a:pos x="T16" y="T17"/>
                      </a:cxn>
                      <a:cxn ang="T119">
                        <a:pos x="T18" y="T19"/>
                      </a:cxn>
                      <a:cxn ang="T120">
                        <a:pos x="T20" y="T21"/>
                      </a:cxn>
                      <a:cxn ang="T121">
                        <a:pos x="T22" y="T23"/>
                      </a:cxn>
                      <a:cxn ang="T122">
                        <a:pos x="T24" y="T25"/>
                      </a:cxn>
                      <a:cxn ang="T123">
                        <a:pos x="T26" y="T27"/>
                      </a:cxn>
                      <a:cxn ang="T124">
                        <a:pos x="T28" y="T29"/>
                      </a:cxn>
                      <a:cxn ang="T125">
                        <a:pos x="T30" y="T31"/>
                      </a:cxn>
                      <a:cxn ang="T126">
                        <a:pos x="T32" y="T33"/>
                      </a:cxn>
                      <a:cxn ang="T127">
                        <a:pos x="T34" y="T35"/>
                      </a:cxn>
                      <a:cxn ang="T128">
                        <a:pos x="T36" y="T37"/>
                      </a:cxn>
                      <a:cxn ang="T129">
                        <a:pos x="T38" y="T39"/>
                      </a:cxn>
                      <a:cxn ang="T130">
                        <a:pos x="T40" y="T41"/>
                      </a:cxn>
                      <a:cxn ang="T131">
                        <a:pos x="T42" y="T43"/>
                      </a:cxn>
                      <a:cxn ang="T132">
                        <a:pos x="T44" y="T45"/>
                      </a:cxn>
                      <a:cxn ang="T133">
                        <a:pos x="T46" y="T47"/>
                      </a:cxn>
                      <a:cxn ang="T134">
                        <a:pos x="T48" y="T49"/>
                      </a:cxn>
                      <a:cxn ang="T135">
                        <a:pos x="T50" y="T51"/>
                      </a:cxn>
                      <a:cxn ang="T136">
                        <a:pos x="T52" y="T53"/>
                      </a:cxn>
                      <a:cxn ang="T137">
                        <a:pos x="T54" y="T55"/>
                      </a:cxn>
                      <a:cxn ang="T138">
                        <a:pos x="T56" y="T57"/>
                      </a:cxn>
                      <a:cxn ang="T139">
                        <a:pos x="T58" y="T59"/>
                      </a:cxn>
                      <a:cxn ang="T140">
                        <a:pos x="T60" y="T61"/>
                      </a:cxn>
                      <a:cxn ang="T141">
                        <a:pos x="T62" y="T63"/>
                      </a:cxn>
                      <a:cxn ang="T142">
                        <a:pos x="T64" y="T65"/>
                      </a:cxn>
                      <a:cxn ang="T143">
                        <a:pos x="T66" y="T67"/>
                      </a:cxn>
                      <a:cxn ang="T144">
                        <a:pos x="T68" y="T69"/>
                      </a:cxn>
                      <a:cxn ang="T145">
                        <a:pos x="T70" y="T71"/>
                      </a:cxn>
                      <a:cxn ang="T146">
                        <a:pos x="T72" y="T73"/>
                      </a:cxn>
                      <a:cxn ang="T147">
                        <a:pos x="T74" y="T75"/>
                      </a:cxn>
                      <a:cxn ang="T148">
                        <a:pos x="T76" y="T77"/>
                      </a:cxn>
                      <a:cxn ang="T149">
                        <a:pos x="T78" y="T79"/>
                      </a:cxn>
                      <a:cxn ang="T150">
                        <a:pos x="T80" y="T81"/>
                      </a:cxn>
                      <a:cxn ang="T151">
                        <a:pos x="T82" y="T83"/>
                      </a:cxn>
                      <a:cxn ang="T152">
                        <a:pos x="T84" y="T85"/>
                      </a:cxn>
                      <a:cxn ang="T153">
                        <a:pos x="T86" y="T87"/>
                      </a:cxn>
                      <a:cxn ang="T154">
                        <a:pos x="T88" y="T89"/>
                      </a:cxn>
                      <a:cxn ang="T155">
                        <a:pos x="T90" y="T91"/>
                      </a:cxn>
                      <a:cxn ang="T156">
                        <a:pos x="T92" y="T93"/>
                      </a:cxn>
                      <a:cxn ang="T157">
                        <a:pos x="T94" y="T95"/>
                      </a:cxn>
                      <a:cxn ang="T158">
                        <a:pos x="T96" y="T97"/>
                      </a:cxn>
                      <a:cxn ang="T159">
                        <a:pos x="T98" y="T99"/>
                      </a:cxn>
                      <a:cxn ang="T160">
                        <a:pos x="T100" y="T101"/>
                      </a:cxn>
                      <a:cxn ang="T161">
                        <a:pos x="T102" y="T103"/>
                      </a:cxn>
                      <a:cxn ang="T162">
                        <a:pos x="T104" y="T105"/>
                      </a:cxn>
                      <a:cxn ang="T163">
                        <a:pos x="T106" y="T107"/>
                      </a:cxn>
                      <a:cxn ang="T164">
                        <a:pos x="T108" y="T109"/>
                      </a:cxn>
                    </a:cxnLst>
                    <a:rect l="T165" t="T166" r="T167" b="T168"/>
                    <a:pathLst>
                      <a:path w="430" h="814">
                        <a:moveTo>
                          <a:pt x="199" y="767"/>
                        </a:moveTo>
                        <a:lnTo>
                          <a:pt x="200" y="768"/>
                        </a:lnTo>
                        <a:lnTo>
                          <a:pt x="203" y="762"/>
                        </a:lnTo>
                        <a:lnTo>
                          <a:pt x="212" y="760"/>
                        </a:lnTo>
                        <a:lnTo>
                          <a:pt x="222" y="764"/>
                        </a:lnTo>
                        <a:lnTo>
                          <a:pt x="227" y="761"/>
                        </a:lnTo>
                        <a:lnTo>
                          <a:pt x="225" y="754"/>
                        </a:lnTo>
                        <a:lnTo>
                          <a:pt x="251" y="754"/>
                        </a:lnTo>
                        <a:lnTo>
                          <a:pt x="253" y="750"/>
                        </a:lnTo>
                        <a:lnTo>
                          <a:pt x="259" y="748"/>
                        </a:lnTo>
                        <a:lnTo>
                          <a:pt x="260" y="743"/>
                        </a:lnTo>
                        <a:lnTo>
                          <a:pt x="260" y="737"/>
                        </a:lnTo>
                        <a:lnTo>
                          <a:pt x="267" y="741"/>
                        </a:lnTo>
                        <a:lnTo>
                          <a:pt x="274" y="744"/>
                        </a:lnTo>
                        <a:lnTo>
                          <a:pt x="283" y="741"/>
                        </a:lnTo>
                        <a:lnTo>
                          <a:pt x="285" y="745"/>
                        </a:lnTo>
                        <a:lnTo>
                          <a:pt x="290" y="750"/>
                        </a:lnTo>
                        <a:lnTo>
                          <a:pt x="328" y="744"/>
                        </a:lnTo>
                        <a:lnTo>
                          <a:pt x="339" y="746"/>
                        </a:lnTo>
                        <a:lnTo>
                          <a:pt x="388" y="733"/>
                        </a:lnTo>
                        <a:lnTo>
                          <a:pt x="389" y="729"/>
                        </a:lnTo>
                        <a:lnTo>
                          <a:pt x="410" y="713"/>
                        </a:lnTo>
                        <a:lnTo>
                          <a:pt x="413" y="702"/>
                        </a:lnTo>
                        <a:lnTo>
                          <a:pt x="410" y="698"/>
                        </a:lnTo>
                        <a:lnTo>
                          <a:pt x="386" y="698"/>
                        </a:lnTo>
                        <a:lnTo>
                          <a:pt x="373" y="697"/>
                        </a:lnTo>
                        <a:lnTo>
                          <a:pt x="373" y="689"/>
                        </a:lnTo>
                        <a:lnTo>
                          <a:pt x="369" y="682"/>
                        </a:lnTo>
                        <a:lnTo>
                          <a:pt x="378" y="679"/>
                        </a:lnTo>
                        <a:lnTo>
                          <a:pt x="381" y="674"/>
                        </a:lnTo>
                        <a:lnTo>
                          <a:pt x="386" y="668"/>
                        </a:lnTo>
                        <a:lnTo>
                          <a:pt x="383" y="665"/>
                        </a:lnTo>
                        <a:lnTo>
                          <a:pt x="377" y="663"/>
                        </a:lnTo>
                        <a:lnTo>
                          <a:pt x="383" y="658"/>
                        </a:lnTo>
                        <a:lnTo>
                          <a:pt x="391" y="655"/>
                        </a:lnTo>
                        <a:lnTo>
                          <a:pt x="394" y="659"/>
                        </a:lnTo>
                        <a:lnTo>
                          <a:pt x="403" y="657"/>
                        </a:lnTo>
                        <a:lnTo>
                          <a:pt x="404" y="651"/>
                        </a:lnTo>
                        <a:lnTo>
                          <a:pt x="403" y="642"/>
                        </a:lnTo>
                        <a:lnTo>
                          <a:pt x="408" y="642"/>
                        </a:lnTo>
                        <a:lnTo>
                          <a:pt x="415" y="638"/>
                        </a:lnTo>
                        <a:lnTo>
                          <a:pt x="423" y="628"/>
                        </a:lnTo>
                        <a:lnTo>
                          <a:pt x="429" y="608"/>
                        </a:lnTo>
                        <a:lnTo>
                          <a:pt x="430" y="593"/>
                        </a:lnTo>
                        <a:lnTo>
                          <a:pt x="426" y="577"/>
                        </a:lnTo>
                        <a:lnTo>
                          <a:pt x="418" y="563"/>
                        </a:lnTo>
                        <a:lnTo>
                          <a:pt x="408" y="557"/>
                        </a:lnTo>
                        <a:lnTo>
                          <a:pt x="399" y="554"/>
                        </a:lnTo>
                        <a:lnTo>
                          <a:pt x="387" y="554"/>
                        </a:lnTo>
                        <a:lnTo>
                          <a:pt x="365" y="557"/>
                        </a:lnTo>
                        <a:lnTo>
                          <a:pt x="355" y="572"/>
                        </a:lnTo>
                        <a:lnTo>
                          <a:pt x="350" y="567"/>
                        </a:lnTo>
                        <a:lnTo>
                          <a:pt x="340" y="566"/>
                        </a:lnTo>
                        <a:lnTo>
                          <a:pt x="337" y="565"/>
                        </a:lnTo>
                        <a:lnTo>
                          <a:pt x="340" y="555"/>
                        </a:lnTo>
                        <a:lnTo>
                          <a:pt x="353" y="540"/>
                        </a:lnTo>
                        <a:lnTo>
                          <a:pt x="355" y="534"/>
                        </a:lnTo>
                        <a:lnTo>
                          <a:pt x="355" y="525"/>
                        </a:lnTo>
                        <a:lnTo>
                          <a:pt x="345" y="512"/>
                        </a:lnTo>
                        <a:lnTo>
                          <a:pt x="339" y="507"/>
                        </a:lnTo>
                        <a:lnTo>
                          <a:pt x="335" y="501"/>
                        </a:lnTo>
                        <a:lnTo>
                          <a:pt x="330" y="498"/>
                        </a:lnTo>
                        <a:lnTo>
                          <a:pt x="317" y="485"/>
                        </a:lnTo>
                        <a:lnTo>
                          <a:pt x="321" y="482"/>
                        </a:lnTo>
                        <a:lnTo>
                          <a:pt x="332" y="492"/>
                        </a:lnTo>
                        <a:lnTo>
                          <a:pt x="344" y="495"/>
                        </a:lnTo>
                        <a:lnTo>
                          <a:pt x="345" y="493"/>
                        </a:lnTo>
                        <a:lnTo>
                          <a:pt x="343" y="477"/>
                        </a:lnTo>
                        <a:lnTo>
                          <a:pt x="335" y="471"/>
                        </a:lnTo>
                        <a:lnTo>
                          <a:pt x="326" y="459"/>
                        </a:lnTo>
                        <a:lnTo>
                          <a:pt x="323" y="444"/>
                        </a:lnTo>
                        <a:lnTo>
                          <a:pt x="316" y="433"/>
                        </a:lnTo>
                        <a:lnTo>
                          <a:pt x="311" y="423"/>
                        </a:lnTo>
                        <a:lnTo>
                          <a:pt x="301" y="410"/>
                        </a:lnTo>
                        <a:lnTo>
                          <a:pt x="290" y="405"/>
                        </a:lnTo>
                        <a:lnTo>
                          <a:pt x="276" y="402"/>
                        </a:lnTo>
                        <a:lnTo>
                          <a:pt x="273" y="399"/>
                        </a:lnTo>
                        <a:lnTo>
                          <a:pt x="268" y="385"/>
                        </a:lnTo>
                        <a:lnTo>
                          <a:pt x="260" y="374"/>
                        </a:lnTo>
                        <a:lnTo>
                          <a:pt x="254" y="361"/>
                        </a:lnTo>
                        <a:lnTo>
                          <a:pt x="252" y="350"/>
                        </a:lnTo>
                        <a:lnTo>
                          <a:pt x="248" y="312"/>
                        </a:lnTo>
                        <a:lnTo>
                          <a:pt x="240" y="305"/>
                        </a:lnTo>
                        <a:lnTo>
                          <a:pt x="228" y="293"/>
                        </a:lnTo>
                        <a:lnTo>
                          <a:pt x="221" y="282"/>
                        </a:lnTo>
                        <a:lnTo>
                          <a:pt x="193" y="266"/>
                        </a:lnTo>
                        <a:lnTo>
                          <a:pt x="188" y="265"/>
                        </a:lnTo>
                        <a:lnTo>
                          <a:pt x="171" y="271"/>
                        </a:lnTo>
                        <a:lnTo>
                          <a:pt x="156" y="267"/>
                        </a:lnTo>
                        <a:lnTo>
                          <a:pt x="155" y="265"/>
                        </a:lnTo>
                        <a:lnTo>
                          <a:pt x="157" y="258"/>
                        </a:lnTo>
                        <a:lnTo>
                          <a:pt x="163" y="251"/>
                        </a:lnTo>
                        <a:lnTo>
                          <a:pt x="172" y="249"/>
                        </a:lnTo>
                        <a:lnTo>
                          <a:pt x="182" y="249"/>
                        </a:lnTo>
                        <a:lnTo>
                          <a:pt x="192" y="244"/>
                        </a:lnTo>
                        <a:lnTo>
                          <a:pt x="181" y="229"/>
                        </a:lnTo>
                        <a:lnTo>
                          <a:pt x="176" y="228"/>
                        </a:lnTo>
                        <a:lnTo>
                          <a:pt x="174" y="222"/>
                        </a:lnTo>
                        <a:lnTo>
                          <a:pt x="183" y="223"/>
                        </a:lnTo>
                        <a:lnTo>
                          <a:pt x="189" y="218"/>
                        </a:lnTo>
                        <a:lnTo>
                          <a:pt x="195" y="210"/>
                        </a:lnTo>
                        <a:lnTo>
                          <a:pt x="198" y="202"/>
                        </a:lnTo>
                        <a:lnTo>
                          <a:pt x="211" y="183"/>
                        </a:lnTo>
                        <a:lnTo>
                          <a:pt x="212" y="173"/>
                        </a:lnTo>
                        <a:lnTo>
                          <a:pt x="216" y="160"/>
                        </a:lnTo>
                        <a:lnTo>
                          <a:pt x="220" y="145"/>
                        </a:lnTo>
                        <a:lnTo>
                          <a:pt x="233" y="129"/>
                        </a:lnTo>
                        <a:lnTo>
                          <a:pt x="233" y="109"/>
                        </a:lnTo>
                        <a:lnTo>
                          <a:pt x="230" y="100"/>
                        </a:lnTo>
                        <a:lnTo>
                          <a:pt x="214" y="99"/>
                        </a:lnTo>
                        <a:lnTo>
                          <a:pt x="200" y="102"/>
                        </a:lnTo>
                        <a:lnTo>
                          <a:pt x="178" y="98"/>
                        </a:lnTo>
                        <a:lnTo>
                          <a:pt x="166" y="100"/>
                        </a:lnTo>
                        <a:lnTo>
                          <a:pt x="154" y="97"/>
                        </a:lnTo>
                        <a:lnTo>
                          <a:pt x="118" y="109"/>
                        </a:lnTo>
                        <a:lnTo>
                          <a:pt x="111" y="116"/>
                        </a:lnTo>
                        <a:lnTo>
                          <a:pt x="106" y="113"/>
                        </a:lnTo>
                        <a:lnTo>
                          <a:pt x="108" y="105"/>
                        </a:lnTo>
                        <a:lnTo>
                          <a:pt x="108" y="102"/>
                        </a:lnTo>
                        <a:lnTo>
                          <a:pt x="99" y="104"/>
                        </a:lnTo>
                        <a:lnTo>
                          <a:pt x="99" y="99"/>
                        </a:lnTo>
                        <a:lnTo>
                          <a:pt x="114" y="95"/>
                        </a:lnTo>
                        <a:lnTo>
                          <a:pt x="124" y="86"/>
                        </a:lnTo>
                        <a:lnTo>
                          <a:pt x="107" y="84"/>
                        </a:lnTo>
                        <a:lnTo>
                          <a:pt x="108" y="77"/>
                        </a:lnTo>
                        <a:lnTo>
                          <a:pt x="109" y="78"/>
                        </a:lnTo>
                        <a:lnTo>
                          <a:pt x="119" y="66"/>
                        </a:lnTo>
                        <a:lnTo>
                          <a:pt x="139" y="54"/>
                        </a:lnTo>
                        <a:lnTo>
                          <a:pt x="147" y="39"/>
                        </a:lnTo>
                        <a:lnTo>
                          <a:pt x="161" y="30"/>
                        </a:lnTo>
                        <a:lnTo>
                          <a:pt x="163" y="4"/>
                        </a:lnTo>
                        <a:lnTo>
                          <a:pt x="151" y="0"/>
                        </a:lnTo>
                        <a:lnTo>
                          <a:pt x="138" y="4"/>
                        </a:lnTo>
                        <a:lnTo>
                          <a:pt x="124" y="8"/>
                        </a:lnTo>
                        <a:lnTo>
                          <a:pt x="112" y="8"/>
                        </a:lnTo>
                        <a:lnTo>
                          <a:pt x="96" y="12"/>
                        </a:lnTo>
                        <a:lnTo>
                          <a:pt x="95" y="11"/>
                        </a:lnTo>
                        <a:lnTo>
                          <a:pt x="75" y="6"/>
                        </a:lnTo>
                        <a:lnTo>
                          <a:pt x="64" y="9"/>
                        </a:lnTo>
                        <a:lnTo>
                          <a:pt x="54" y="27"/>
                        </a:lnTo>
                        <a:lnTo>
                          <a:pt x="54" y="41"/>
                        </a:lnTo>
                        <a:lnTo>
                          <a:pt x="42" y="43"/>
                        </a:lnTo>
                        <a:lnTo>
                          <a:pt x="43" y="57"/>
                        </a:lnTo>
                        <a:lnTo>
                          <a:pt x="37" y="60"/>
                        </a:lnTo>
                        <a:lnTo>
                          <a:pt x="39" y="65"/>
                        </a:lnTo>
                        <a:lnTo>
                          <a:pt x="47" y="73"/>
                        </a:lnTo>
                        <a:lnTo>
                          <a:pt x="20" y="88"/>
                        </a:lnTo>
                        <a:lnTo>
                          <a:pt x="20" y="109"/>
                        </a:lnTo>
                        <a:lnTo>
                          <a:pt x="27" y="113"/>
                        </a:lnTo>
                        <a:lnTo>
                          <a:pt x="25" y="115"/>
                        </a:lnTo>
                        <a:lnTo>
                          <a:pt x="18" y="114"/>
                        </a:lnTo>
                        <a:lnTo>
                          <a:pt x="16" y="115"/>
                        </a:lnTo>
                        <a:lnTo>
                          <a:pt x="16" y="130"/>
                        </a:lnTo>
                        <a:lnTo>
                          <a:pt x="22" y="131"/>
                        </a:lnTo>
                        <a:lnTo>
                          <a:pt x="34" y="129"/>
                        </a:lnTo>
                        <a:lnTo>
                          <a:pt x="33" y="133"/>
                        </a:lnTo>
                        <a:lnTo>
                          <a:pt x="27" y="136"/>
                        </a:lnTo>
                        <a:lnTo>
                          <a:pt x="33" y="138"/>
                        </a:lnTo>
                        <a:lnTo>
                          <a:pt x="28" y="147"/>
                        </a:lnTo>
                        <a:lnTo>
                          <a:pt x="27" y="151"/>
                        </a:lnTo>
                        <a:lnTo>
                          <a:pt x="28" y="157"/>
                        </a:lnTo>
                        <a:lnTo>
                          <a:pt x="26" y="158"/>
                        </a:lnTo>
                        <a:lnTo>
                          <a:pt x="22" y="163"/>
                        </a:lnTo>
                        <a:lnTo>
                          <a:pt x="22" y="167"/>
                        </a:lnTo>
                        <a:lnTo>
                          <a:pt x="18" y="170"/>
                        </a:lnTo>
                        <a:lnTo>
                          <a:pt x="16" y="178"/>
                        </a:lnTo>
                        <a:lnTo>
                          <a:pt x="16" y="192"/>
                        </a:lnTo>
                        <a:lnTo>
                          <a:pt x="5" y="195"/>
                        </a:lnTo>
                        <a:lnTo>
                          <a:pt x="0" y="197"/>
                        </a:lnTo>
                        <a:lnTo>
                          <a:pt x="0" y="201"/>
                        </a:lnTo>
                        <a:lnTo>
                          <a:pt x="10" y="202"/>
                        </a:lnTo>
                        <a:lnTo>
                          <a:pt x="11" y="211"/>
                        </a:lnTo>
                        <a:lnTo>
                          <a:pt x="23" y="222"/>
                        </a:lnTo>
                        <a:lnTo>
                          <a:pt x="33" y="215"/>
                        </a:lnTo>
                        <a:lnTo>
                          <a:pt x="43" y="206"/>
                        </a:lnTo>
                        <a:lnTo>
                          <a:pt x="44" y="205"/>
                        </a:lnTo>
                        <a:lnTo>
                          <a:pt x="45" y="206"/>
                        </a:lnTo>
                        <a:lnTo>
                          <a:pt x="45" y="212"/>
                        </a:lnTo>
                        <a:lnTo>
                          <a:pt x="33" y="243"/>
                        </a:lnTo>
                        <a:lnTo>
                          <a:pt x="31" y="254"/>
                        </a:lnTo>
                        <a:lnTo>
                          <a:pt x="31" y="259"/>
                        </a:lnTo>
                        <a:lnTo>
                          <a:pt x="28" y="264"/>
                        </a:lnTo>
                        <a:lnTo>
                          <a:pt x="26" y="275"/>
                        </a:lnTo>
                        <a:lnTo>
                          <a:pt x="26" y="283"/>
                        </a:lnTo>
                        <a:lnTo>
                          <a:pt x="32" y="282"/>
                        </a:lnTo>
                        <a:lnTo>
                          <a:pt x="34" y="286"/>
                        </a:lnTo>
                        <a:lnTo>
                          <a:pt x="33" y="292"/>
                        </a:lnTo>
                        <a:lnTo>
                          <a:pt x="25" y="307"/>
                        </a:lnTo>
                        <a:lnTo>
                          <a:pt x="20" y="331"/>
                        </a:lnTo>
                        <a:lnTo>
                          <a:pt x="20" y="334"/>
                        </a:lnTo>
                        <a:lnTo>
                          <a:pt x="26" y="334"/>
                        </a:lnTo>
                        <a:lnTo>
                          <a:pt x="28" y="330"/>
                        </a:lnTo>
                        <a:lnTo>
                          <a:pt x="32" y="318"/>
                        </a:lnTo>
                        <a:lnTo>
                          <a:pt x="43" y="291"/>
                        </a:lnTo>
                        <a:lnTo>
                          <a:pt x="42" y="277"/>
                        </a:lnTo>
                        <a:lnTo>
                          <a:pt x="39" y="270"/>
                        </a:lnTo>
                        <a:lnTo>
                          <a:pt x="38" y="266"/>
                        </a:lnTo>
                        <a:lnTo>
                          <a:pt x="54" y="248"/>
                        </a:lnTo>
                        <a:lnTo>
                          <a:pt x="54" y="254"/>
                        </a:lnTo>
                        <a:lnTo>
                          <a:pt x="47" y="271"/>
                        </a:lnTo>
                        <a:lnTo>
                          <a:pt x="47" y="282"/>
                        </a:lnTo>
                        <a:lnTo>
                          <a:pt x="49" y="278"/>
                        </a:lnTo>
                        <a:lnTo>
                          <a:pt x="52" y="277"/>
                        </a:lnTo>
                        <a:lnTo>
                          <a:pt x="53" y="273"/>
                        </a:lnTo>
                        <a:lnTo>
                          <a:pt x="55" y="271"/>
                        </a:lnTo>
                        <a:lnTo>
                          <a:pt x="61" y="276"/>
                        </a:lnTo>
                        <a:lnTo>
                          <a:pt x="64" y="275"/>
                        </a:lnTo>
                        <a:lnTo>
                          <a:pt x="64" y="261"/>
                        </a:lnTo>
                        <a:lnTo>
                          <a:pt x="72" y="266"/>
                        </a:lnTo>
                        <a:lnTo>
                          <a:pt x="79" y="272"/>
                        </a:lnTo>
                        <a:lnTo>
                          <a:pt x="74" y="273"/>
                        </a:lnTo>
                        <a:lnTo>
                          <a:pt x="71" y="278"/>
                        </a:lnTo>
                        <a:lnTo>
                          <a:pt x="69" y="283"/>
                        </a:lnTo>
                        <a:lnTo>
                          <a:pt x="68" y="298"/>
                        </a:lnTo>
                        <a:lnTo>
                          <a:pt x="71" y="303"/>
                        </a:lnTo>
                        <a:lnTo>
                          <a:pt x="77" y="308"/>
                        </a:lnTo>
                        <a:lnTo>
                          <a:pt x="79" y="319"/>
                        </a:lnTo>
                        <a:lnTo>
                          <a:pt x="74" y="328"/>
                        </a:lnTo>
                        <a:lnTo>
                          <a:pt x="69" y="341"/>
                        </a:lnTo>
                        <a:lnTo>
                          <a:pt x="61" y="355"/>
                        </a:lnTo>
                        <a:lnTo>
                          <a:pt x="59" y="363"/>
                        </a:lnTo>
                        <a:lnTo>
                          <a:pt x="60" y="372"/>
                        </a:lnTo>
                        <a:lnTo>
                          <a:pt x="54" y="367"/>
                        </a:lnTo>
                        <a:lnTo>
                          <a:pt x="52" y="372"/>
                        </a:lnTo>
                        <a:lnTo>
                          <a:pt x="59" y="395"/>
                        </a:lnTo>
                        <a:lnTo>
                          <a:pt x="64" y="399"/>
                        </a:lnTo>
                        <a:lnTo>
                          <a:pt x="66" y="398"/>
                        </a:lnTo>
                        <a:lnTo>
                          <a:pt x="65" y="384"/>
                        </a:lnTo>
                        <a:lnTo>
                          <a:pt x="66" y="380"/>
                        </a:lnTo>
                        <a:lnTo>
                          <a:pt x="70" y="379"/>
                        </a:lnTo>
                        <a:lnTo>
                          <a:pt x="87" y="391"/>
                        </a:lnTo>
                        <a:lnTo>
                          <a:pt x="92" y="394"/>
                        </a:lnTo>
                        <a:lnTo>
                          <a:pt x="95" y="388"/>
                        </a:lnTo>
                        <a:lnTo>
                          <a:pt x="95" y="380"/>
                        </a:lnTo>
                        <a:lnTo>
                          <a:pt x="119" y="383"/>
                        </a:lnTo>
                        <a:lnTo>
                          <a:pt x="135" y="374"/>
                        </a:lnTo>
                        <a:lnTo>
                          <a:pt x="136" y="372"/>
                        </a:lnTo>
                        <a:lnTo>
                          <a:pt x="144" y="368"/>
                        </a:lnTo>
                        <a:lnTo>
                          <a:pt x="165" y="371"/>
                        </a:lnTo>
                        <a:lnTo>
                          <a:pt x="162" y="373"/>
                        </a:lnTo>
                        <a:lnTo>
                          <a:pt x="158" y="373"/>
                        </a:lnTo>
                        <a:lnTo>
                          <a:pt x="150" y="380"/>
                        </a:lnTo>
                        <a:lnTo>
                          <a:pt x="138" y="406"/>
                        </a:lnTo>
                        <a:lnTo>
                          <a:pt x="135" y="413"/>
                        </a:lnTo>
                        <a:lnTo>
                          <a:pt x="138" y="421"/>
                        </a:lnTo>
                        <a:lnTo>
                          <a:pt x="145" y="431"/>
                        </a:lnTo>
                        <a:lnTo>
                          <a:pt x="149" y="438"/>
                        </a:lnTo>
                        <a:lnTo>
                          <a:pt x="150" y="439"/>
                        </a:lnTo>
                        <a:lnTo>
                          <a:pt x="151" y="437"/>
                        </a:lnTo>
                        <a:lnTo>
                          <a:pt x="158" y="449"/>
                        </a:lnTo>
                        <a:lnTo>
                          <a:pt x="172" y="444"/>
                        </a:lnTo>
                        <a:lnTo>
                          <a:pt x="181" y="437"/>
                        </a:lnTo>
                        <a:lnTo>
                          <a:pt x="184" y="438"/>
                        </a:lnTo>
                        <a:lnTo>
                          <a:pt x="181" y="444"/>
                        </a:lnTo>
                        <a:lnTo>
                          <a:pt x="179" y="461"/>
                        </a:lnTo>
                        <a:lnTo>
                          <a:pt x="174" y="468"/>
                        </a:lnTo>
                        <a:lnTo>
                          <a:pt x="169" y="479"/>
                        </a:lnTo>
                        <a:lnTo>
                          <a:pt x="179" y="481"/>
                        </a:lnTo>
                        <a:lnTo>
                          <a:pt x="174" y="490"/>
                        </a:lnTo>
                        <a:lnTo>
                          <a:pt x="168" y="506"/>
                        </a:lnTo>
                        <a:lnTo>
                          <a:pt x="172" y="509"/>
                        </a:lnTo>
                        <a:lnTo>
                          <a:pt x="177" y="513"/>
                        </a:lnTo>
                        <a:lnTo>
                          <a:pt x="173" y="514"/>
                        </a:lnTo>
                        <a:lnTo>
                          <a:pt x="168" y="523"/>
                        </a:lnTo>
                        <a:lnTo>
                          <a:pt x="128" y="522"/>
                        </a:lnTo>
                        <a:lnTo>
                          <a:pt x="115" y="529"/>
                        </a:lnTo>
                        <a:lnTo>
                          <a:pt x="102" y="540"/>
                        </a:lnTo>
                        <a:lnTo>
                          <a:pt x="79" y="565"/>
                        </a:lnTo>
                        <a:lnTo>
                          <a:pt x="84" y="568"/>
                        </a:lnTo>
                        <a:lnTo>
                          <a:pt x="98" y="558"/>
                        </a:lnTo>
                        <a:lnTo>
                          <a:pt x="109" y="556"/>
                        </a:lnTo>
                        <a:lnTo>
                          <a:pt x="111" y="565"/>
                        </a:lnTo>
                        <a:lnTo>
                          <a:pt x="112" y="585"/>
                        </a:lnTo>
                        <a:lnTo>
                          <a:pt x="113" y="589"/>
                        </a:lnTo>
                        <a:lnTo>
                          <a:pt x="119" y="593"/>
                        </a:lnTo>
                        <a:lnTo>
                          <a:pt x="108" y="615"/>
                        </a:lnTo>
                        <a:lnTo>
                          <a:pt x="79" y="636"/>
                        </a:lnTo>
                        <a:lnTo>
                          <a:pt x="48" y="652"/>
                        </a:lnTo>
                        <a:lnTo>
                          <a:pt x="50" y="654"/>
                        </a:lnTo>
                        <a:lnTo>
                          <a:pt x="52" y="660"/>
                        </a:lnTo>
                        <a:lnTo>
                          <a:pt x="56" y="671"/>
                        </a:lnTo>
                        <a:lnTo>
                          <a:pt x="59" y="674"/>
                        </a:lnTo>
                        <a:lnTo>
                          <a:pt x="65" y="675"/>
                        </a:lnTo>
                        <a:lnTo>
                          <a:pt x="72" y="671"/>
                        </a:lnTo>
                        <a:lnTo>
                          <a:pt x="82" y="663"/>
                        </a:lnTo>
                        <a:lnTo>
                          <a:pt x="91" y="659"/>
                        </a:lnTo>
                        <a:lnTo>
                          <a:pt x="95" y="660"/>
                        </a:lnTo>
                        <a:lnTo>
                          <a:pt x="97" y="674"/>
                        </a:lnTo>
                        <a:lnTo>
                          <a:pt x="101" y="678"/>
                        </a:lnTo>
                        <a:lnTo>
                          <a:pt x="113" y="678"/>
                        </a:lnTo>
                        <a:lnTo>
                          <a:pt x="120" y="671"/>
                        </a:lnTo>
                        <a:lnTo>
                          <a:pt x="123" y="670"/>
                        </a:lnTo>
                        <a:lnTo>
                          <a:pt x="127" y="673"/>
                        </a:lnTo>
                        <a:lnTo>
                          <a:pt x="141" y="692"/>
                        </a:lnTo>
                        <a:lnTo>
                          <a:pt x="147" y="694"/>
                        </a:lnTo>
                        <a:lnTo>
                          <a:pt x="156" y="694"/>
                        </a:lnTo>
                        <a:lnTo>
                          <a:pt x="162" y="689"/>
                        </a:lnTo>
                        <a:lnTo>
                          <a:pt x="166" y="682"/>
                        </a:lnTo>
                        <a:lnTo>
                          <a:pt x="179" y="675"/>
                        </a:lnTo>
                        <a:lnTo>
                          <a:pt x="194" y="663"/>
                        </a:lnTo>
                        <a:lnTo>
                          <a:pt x="195" y="670"/>
                        </a:lnTo>
                        <a:lnTo>
                          <a:pt x="190" y="678"/>
                        </a:lnTo>
                        <a:lnTo>
                          <a:pt x="174" y="697"/>
                        </a:lnTo>
                        <a:lnTo>
                          <a:pt x="172" y="705"/>
                        </a:lnTo>
                        <a:lnTo>
                          <a:pt x="168" y="708"/>
                        </a:lnTo>
                        <a:lnTo>
                          <a:pt x="156" y="711"/>
                        </a:lnTo>
                        <a:lnTo>
                          <a:pt x="124" y="711"/>
                        </a:lnTo>
                        <a:lnTo>
                          <a:pt x="109" y="713"/>
                        </a:lnTo>
                        <a:lnTo>
                          <a:pt x="104" y="724"/>
                        </a:lnTo>
                        <a:lnTo>
                          <a:pt x="95" y="730"/>
                        </a:lnTo>
                        <a:lnTo>
                          <a:pt x="88" y="745"/>
                        </a:lnTo>
                        <a:lnTo>
                          <a:pt x="47" y="791"/>
                        </a:lnTo>
                        <a:lnTo>
                          <a:pt x="31" y="800"/>
                        </a:lnTo>
                        <a:lnTo>
                          <a:pt x="28" y="809"/>
                        </a:lnTo>
                        <a:lnTo>
                          <a:pt x="28" y="813"/>
                        </a:lnTo>
                        <a:lnTo>
                          <a:pt x="31" y="807"/>
                        </a:lnTo>
                        <a:lnTo>
                          <a:pt x="34" y="804"/>
                        </a:lnTo>
                        <a:lnTo>
                          <a:pt x="45" y="810"/>
                        </a:lnTo>
                        <a:lnTo>
                          <a:pt x="50" y="809"/>
                        </a:lnTo>
                        <a:lnTo>
                          <a:pt x="54" y="814"/>
                        </a:lnTo>
                        <a:lnTo>
                          <a:pt x="58" y="809"/>
                        </a:lnTo>
                        <a:lnTo>
                          <a:pt x="60" y="800"/>
                        </a:lnTo>
                        <a:lnTo>
                          <a:pt x="71" y="796"/>
                        </a:lnTo>
                        <a:lnTo>
                          <a:pt x="77" y="784"/>
                        </a:lnTo>
                        <a:lnTo>
                          <a:pt x="107" y="783"/>
                        </a:lnTo>
                        <a:lnTo>
                          <a:pt x="127" y="791"/>
                        </a:lnTo>
                        <a:lnTo>
                          <a:pt x="134" y="791"/>
                        </a:lnTo>
                        <a:lnTo>
                          <a:pt x="141" y="782"/>
                        </a:lnTo>
                        <a:lnTo>
                          <a:pt x="145" y="760"/>
                        </a:lnTo>
                        <a:lnTo>
                          <a:pt x="149" y="759"/>
                        </a:lnTo>
                        <a:lnTo>
                          <a:pt x="156" y="759"/>
                        </a:lnTo>
                        <a:lnTo>
                          <a:pt x="166" y="754"/>
                        </a:lnTo>
                        <a:lnTo>
                          <a:pt x="182" y="750"/>
                        </a:lnTo>
                        <a:lnTo>
                          <a:pt x="199" y="767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492" name="Freeform 199"/>
                  <p:cNvSpPr>
                    <a:spLocks/>
                  </p:cNvSpPr>
                  <p:nvPr/>
                </p:nvSpPr>
                <p:spPr bwMode="gray">
                  <a:xfrm>
                    <a:off x="2428" y="1759"/>
                    <a:ext cx="28" cy="25"/>
                  </a:xfrm>
                  <a:custGeom>
                    <a:avLst/>
                    <a:gdLst>
                      <a:gd name="T0" fmla="*/ 1 w 140"/>
                      <a:gd name="T1" fmla="*/ 1 h 126"/>
                      <a:gd name="T2" fmla="*/ 1 w 140"/>
                      <a:gd name="T3" fmla="*/ 2 h 126"/>
                      <a:gd name="T4" fmla="*/ 1 w 140"/>
                      <a:gd name="T5" fmla="*/ 2 h 126"/>
                      <a:gd name="T6" fmla="*/ 0 w 140"/>
                      <a:gd name="T7" fmla="*/ 2 h 126"/>
                      <a:gd name="T8" fmla="*/ 0 w 140"/>
                      <a:gd name="T9" fmla="*/ 3 h 126"/>
                      <a:gd name="T10" fmla="*/ 0 w 140"/>
                      <a:gd name="T11" fmla="*/ 3 h 126"/>
                      <a:gd name="T12" fmla="*/ 1 w 140"/>
                      <a:gd name="T13" fmla="*/ 4 h 126"/>
                      <a:gd name="T14" fmla="*/ 1 w 140"/>
                      <a:gd name="T15" fmla="*/ 4 h 126"/>
                      <a:gd name="T16" fmla="*/ 1 w 140"/>
                      <a:gd name="T17" fmla="*/ 5 h 126"/>
                      <a:gd name="T18" fmla="*/ 2 w 140"/>
                      <a:gd name="T19" fmla="*/ 4 h 126"/>
                      <a:gd name="T20" fmla="*/ 2 w 140"/>
                      <a:gd name="T21" fmla="*/ 4 h 126"/>
                      <a:gd name="T22" fmla="*/ 3 w 140"/>
                      <a:gd name="T23" fmla="*/ 3 h 126"/>
                      <a:gd name="T24" fmla="*/ 4 w 140"/>
                      <a:gd name="T25" fmla="*/ 4 h 126"/>
                      <a:gd name="T26" fmla="*/ 4 w 140"/>
                      <a:gd name="T27" fmla="*/ 4 h 126"/>
                      <a:gd name="T28" fmla="*/ 4 w 140"/>
                      <a:gd name="T29" fmla="*/ 5 h 126"/>
                      <a:gd name="T30" fmla="*/ 4 w 140"/>
                      <a:gd name="T31" fmla="*/ 5 h 126"/>
                      <a:gd name="T32" fmla="*/ 4 w 140"/>
                      <a:gd name="T33" fmla="*/ 5 h 126"/>
                      <a:gd name="T34" fmla="*/ 5 w 140"/>
                      <a:gd name="T35" fmla="*/ 5 h 126"/>
                      <a:gd name="T36" fmla="*/ 5 w 140"/>
                      <a:gd name="T37" fmla="*/ 4 h 126"/>
                      <a:gd name="T38" fmla="*/ 5 w 140"/>
                      <a:gd name="T39" fmla="*/ 4 h 126"/>
                      <a:gd name="T40" fmla="*/ 6 w 140"/>
                      <a:gd name="T41" fmla="*/ 4 h 126"/>
                      <a:gd name="T42" fmla="*/ 5 w 140"/>
                      <a:gd name="T43" fmla="*/ 3 h 126"/>
                      <a:gd name="T44" fmla="*/ 5 w 140"/>
                      <a:gd name="T45" fmla="*/ 3 h 126"/>
                      <a:gd name="T46" fmla="*/ 6 w 140"/>
                      <a:gd name="T47" fmla="*/ 4 h 126"/>
                      <a:gd name="T48" fmla="*/ 6 w 140"/>
                      <a:gd name="T49" fmla="*/ 3 h 126"/>
                      <a:gd name="T50" fmla="*/ 5 w 140"/>
                      <a:gd name="T51" fmla="*/ 3 h 126"/>
                      <a:gd name="T52" fmla="*/ 5 w 140"/>
                      <a:gd name="T53" fmla="*/ 3 h 126"/>
                      <a:gd name="T54" fmla="*/ 5 w 140"/>
                      <a:gd name="T55" fmla="*/ 3 h 126"/>
                      <a:gd name="T56" fmla="*/ 5 w 140"/>
                      <a:gd name="T57" fmla="*/ 2 h 126"/>
                      <a:gd name="T58" fmla="*/ 5 w 140"/>
                      <a:gd name="T59" fmla="*/ 2 h 126"/>
                      <a:gd name="T60" fmla="*/ 4 w 140"/>
                      <a:gd name="T61" fmla="*/ 1 h 126"/>
                      <a:gd name="T62" fmla="*/ 4 w 140"/>
                      <a:gd name="T63" fmla="*/ 1 h 126"/>
                      <a:gd name="T64" fmla="*/ 4 w 140"/>
                      <a:gd name="T65" fmla="*/ 0 h 126"/>
                      <a:gd name="T66" fmla="*/ 3 w 140"/>
                      <a:gd name="T67" fmla="*/ 1 h 126"/>
                      <a:gd name="T68" fmla="*/ 2 w 140"/>
                      <a:gd name="T69" fmla="*/ 1 h 126"/>
                      <a:gd name="T70" fmla="*/ 2 w 140"/>
                      <a:gd name="T71" fmla="*/ 1 h 126"/>
                      <a:gd name="T72" fmla="*/ 2 w 140"/>
                      <a:gd name="T73" fmla="*/ 1 h 126"/>
                      <a:gd name="T74" fmla="*/ 2 w 140"/>
                      <a:gd name="T75" fmla="*/ 0 h 126"/>
                      <a:gd name="T76" fmla="*/ 2 w 140"/>
                      <a:gd name="T77" fmla="*/ 0 h 126"/>
                      <a:gd name="T78" fmla="*/ 2 w 140"/>
                      <a:gd name="T79" fmla="*/ 0 h 126"/>
                      <a:gd name="T80" fmla="*/ 2 w 140"/>
                      <a:gd name="T81" fmla="*/ 0 h 126"/>
                      <a:gd name="T82" fmla="*/ 2 w 140"/>
                      <a:gd name="T83" fmla="*/ 0 h 126"/>
                      <a:gd name="T84" fmla="*/ 1 w 140"/>
                      <a:gd name="T85" fmla="*/ 0 h 126"/>
                      <a:gd name="T86" fmla="*/ 1 w 140"/>
                      <a:gd name="T87" fmla="*/ 1 h 126"/>
                      <a:gd name="T88" fmla="*/ 1 w 140"/>
                      <a:gd name="T89" fmla="*/ 1 h 126"/>
                      <a:gd name="T90" fmla="*/ 1 w 140"/>
                      <a:gd name="T91" fmla="*/ 1 h 126"/>
                      <a:gd name="T92" fmla="*/ 1 w 140"/>
                      <a:gd name="T93" fmla="*/ 1 h 126"/>
                      <a:gd name="T94" fmla="*/ 1 w 140"/>
                      <a:gd name="T95" fmla="*/ 1 h 12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140"/>
                      <a:gd name="T145" fmla="*/ 0 h 126"/>
                      <a:gd name="T146" fmla="*/ 140 w 140"/>
                      <a:gd name="T147" fmla="*/ 126 h 126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140" h="126">
                        <a:moveTo>
                          <a:pt x="28" y="36"/>
                        </a:moveTo>
                        <a:lnTo>
                          <a:pt x="27" y="48"/>
                        </a:lnTo>
                        <a:lnTo>
                          <a:pt x="21" y="58"/>
                        </a:lnTo>
                        <a:lnTo>
                          <a:pt x="11" y="59"/>
                        </a:lnTo>
                        <a:lnTo>
                          <a:pt x="11" y="72"/>
                        </a:lnTo>
                        <a:lnTo>
                          <a:pt x="0" y="80"/>
                        </a:lnTo>
                        <a:lnTo>
                          <a:pt x="16" y="91"/>
                        </a:lnTo>
                        <a:lnTo>
                          <a:pt x="23" y="110"/>
                        </a:lnTo>
                        <a:lnTo>
                          <a:pt x="34" y="115"/>
                        </a:lnTo>
                        <a:lnTo>
                          <a:pt x="47" y="104"/>
                        </a:lnTo>
                        <a:lnTo>
                          <a:pt x="53" y="93"/>
                        </a:lnTo>
                        <a:lnTo>
                          <a:pt x="82" y="85"/>
                        </a:lnTo>
                        <a:lnTo>
                          <a:pt x="97" y="99"/>
                        </a:lnTo>
                        <a:lnTo>
                          <a:pt x="98" y="106"/>
                        </a:lnTo>
                        <a:lnTo>
                          <a:pt x="98" y="121"/>
                        </a:lnTo>
                        <a:lnTo>
                          <a:pt x="101" y="126"/>
                        </a:lnTo>
                        <a:lnTo>
                          <a:pt x="103" y="126"/>
                        </a:lnTo>
                        <a:lnTo>
                          <a:pt x="117" y="117"/>
                        </a:lnTo>
                        <a:lnTo>
                          <a:pt x="119" y="107"/>
                        </a:lnTo>
                        <a:lnTo>
                          <a:pt x="132" y="105"/>
                        </a:lnTo>
                        <a:lnTo>
                          <a:pt x="138" y="97"/>
                        </a:lnTo>
                        <a:lnTo>
                          <a:pt x="132" y="85"/>
                        </a:lnTo>
                        <a:lnTo>
                          <a:pt x="130" y="78"/>
                        </a:lnTo>
                        <a:lnTo>
                          <a:pt x="138" y="90"/>
                        </a:lnTo>
                        <a:lnTo>
                          <a:pt x="140" y="79"/>
                        </a:lnTo>
                        <a:lnTo>
                          <a:pt x="135" y="68"/>
                        </a:lnTo>
                        <a:lnTo>
                          <a:pt x="130" y="66"/>
                        </a:lnTo>
                        <a:lnTo>
                          <a:pt x="116" y="68"/>
                        </a:lnTo>
                        <a:lnTo>
                          <a:pt x="122" y="57"/>
                        </a:lnTo>
                        <a:lnTo>
                          <a:pt x="120" y="39"/>
                        </a:lnTo>
                        <a:lnTo>
                          <a:pt x="112" y="27"/>
                        </a:lnTo>
                        <a:lnTo>
                          <a:pt x="106" y="16"/>
                        </a:lnTo>
                        <a:lnTo>
                          <a:pt x="89" y="10"/>
                        </a:lnTo>
                        <a:lnTo>
                          <a:pt x="64" y="18"/>
                        </a:lnTo>
                        <a:lnTo>
                          <a:pt x="58" y="24"/>
                        </a:lnTo>
                        <a:lnTo>
                          <a:pt x="50" y="27"/>
                        </a:lnTo>
                        <a:lnTo>
                          <a:pt x="48" y="24"/>
                        </a:lnTo>
                        <a:lnTo>
                          <a:pt x="59" y="10"/>
                        </a:lnTo>
                        <a:lnTo>
                          <a:pt x="57" y="7"/>
                        </a:lnTo>
                        <a:lnTo>
                          <a:pt x="48" y="2"/>
                        </a:lnTo>
                        <a:lnTo>
                          <a:pt x="39" y="0"/>
                        </a:lnTo>
                        <a:lnTo>
                          <a:pt x="38" y="5"/>
                        </a:lnTo>
                        <a:lnTo>
                          <a:pt x="36" y="8"/>
                        </a:lnTo>
                        <a:lnTo>
                          <a:pt x="33" y="14"/>
                        </a:lnTo>
                        <a:lnTo>
                          <a:pt x="34" y="20"/>
                        </a:lnTo>
                        <a:lnTo>
                          <a:pt x="34" y="27"/>
                        </a:lnTo>
                        <a:lnTo>
                          <a:pt x="33" y="34"/>
                        </a:lnTo>
                        <a:lnTo>
                          <a:pt x="28" y="36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</p:grpSp>
            <p:sp>
              <p:nvSpPr>
                <p:cNvPr id="460" name="Freeform 200"/>
                <p:cNvSpPr>
                  <a:spLocks/>
                </p:cNvSpPr>
                <p:nvPr/>
              </p:nvSpPr>
              <p:spPr bwMode="gray">
                <a:xfrm>
                  <a:off x="4159502" y="1748962"/>
                  <a:ext cx="81621" cy="122306"/>
                </a:xfrm>
                <a:custGeom>
                  <a:avLst/>
                  <a:gdLst>
                    <a:gd name="T0" fmla="*/ 20217 w 233"/>
                    <a:gd name="T1" fmla="*/ 7813 h 345"/>
                    <a:gd name="T2" fmla="*/ 16173 w 233"/>
                    <a:gd name="T3" fmla="*/ 6990 h 345"/>
                    <a:gd name="T4" fmla="*/ 13478 w 233"/>
                    <a:gd name="T5" fmla="*/ 8224 h 345"/>
                    <a:gd name="T6" fmla="*/ 12130 w 233"/>
                    <a:gd name="T7" fmla="*/ 5346 h 345"/>
                    <a:gd name="T8" fmla="*/ 13927 w 233"/>
                    <a:gd name="T9" fmla="*/ 3290 h 345"/>
                    <a:gd name="T10" fmla="*/ 13927 w 233"/>
                    <a:gd name="T11" fmla="*/ 0 h 345"/>
                    <a:gd name="T12" fmla="*/ 12130 w 233"/>
                    <a:gd name="T13" fmla="*/ 411 h 345"/>
                    <a:gd name="T14" fmla="*/ 10333 w 233"/>
                    <a:gd name="T15" fmla="*/ 1645 h 345"/>
                    <a:gd name="T16" fmla="*/ 9884 w 233"/>
                    <a:gd name="T17" fmla="*/ 2878 h 345"/>
                    <a:gd name="T18" fmla="*/ 8087 w 233"/>
                    <a:gd name="T19" fmla="*/ 4523 h 345"/>
                    <a:gd name="T20" fmla="*/ 9434 w 233"/>
                    <a:gd name="T21" fmla="*/ 4934 h 345"/>
                    <a:gd name="T22" fmla="*/ 10782 w 233"/>
                    <a:gd name="T23" fmla="*/ 5346 h 345"/>
                    <a:gd name="T24" fmla="*/ 8985 w 233"/>
                    <a:gd name="T25" fmla="*/ 6990 h 345"/>
                    <a:gd name="T26" fmla="*/ 5840 w 233"/>
                    <a:gd name="T27" fmla="*/ 7813 h 345"/>
                    <a:gd name="T28" fmla="*/ 2696 w 233"/>
                    <a:gd name="T29" fmla="*/ 7813 h 345"/>
                    <a:gd name="T30" fmla="*/ 2246 w 233"/>
                    <a:gd name="T31" fmla="*/ 9869 h 345"/>
                    <a:gd name="T32" fmla="*/ 4043 w 233"/>
                    <a:gd name="T33" fmla="*/ 10691 h 345"/>
                    <a:gd name="T34" fmla="*/ 2246 w 233"/>
                    <a:gd name="T35" fmla="*/ 12747 h 345"/>
                    <a:gd name="T36" fmla="*/ 2246 w 233"/>
                    <a:gd name="T37" fmla="*/ 14392 h 345"/>
                    <a:gd name="T38" fmla="*/ 3594 w 233"/>
                    <a:gd name="T39" fmla="*/ 14803 h 345"/>
                    <a:gd name="T40" fmla="*/ 7188 w 233"/>
                    <a:gd name="T41" fmla="*/ 15625 h 345"/>
                    <a:gd name="T42" fmla="*/ 4942 w 233"/>
                    <a:gd name="T43" fmla="*/ 17270 h 345"/>
                    <a:gd name="T44" fmla="*/ 2696 w 233"/>
                    <a:gd name="T45" fmla="*/ 20560 h 345"/>
                    <a:gd name="T46" fmla="*/ 7188 w 233"/>
                    <a:gd name="T47" fmla="*/ 19737 h 345"/>
                    <a:gd name="T48" fmla="*/ 4942 w 233"/>
                    <a:gd name="T49" fmla="*/ 20560 h 345"/>
                    <a:gd name="T50" fmla="*/ 2696 w 233"/>
                    <a:gd name="T51" fmla="*/ 22616 h 345"/>
                    <a:gd name="T52" fmla="*/ 1348 w 233"/>
                    <a:gd name="T53" fmla="*/ 23027 h 345"/>
                    <a:gd name="T54" fmla="*/ 0 w 233"/>
                    <a:gd name="T55" fmla="*/ 23849 h 345"/>
                    <a:gd name="T56" fmla="*/ 1348 w 233"/>
                    <a:gd name="T57" fmla="*/ 24672 h 345"/>
                    <a:gd name="T58" fmla="*/ 899 w 233"/>
                    <a:gd name="T59" fmla="*/ 25905 h 345"/>
                    <a:gd name="T60" fmla="*/ 3594 w 233"/>
                    <a:gd name="T61" fmla="*/ 25494 h 345"/>
                    <a:gd name="T62" fmla="*/ 1348 w 233"/>
                    <a:gd name="T63" fmla="*/ 27550 h 345"/>
                    <a:gd name="T64" fmla="*/ 4493 w 233"/>
                    <a:gd name="T65" fmla="*/ 27139 h 345"/>
                    <a:gd name="T66" fmla="*/ 3145 w 233"/>
                    <a:gd name="T67" fmla="*/ 27961 h 345"/>
                    <a:gd name="T68" fmla="*/ 4043 w 233"/>
                    <a:gd name="T69" fmla="*/ 27961 h 345"/>
                    <a:gd name="T70" fmla="*/ 5391 w 233"/>
                    <a:gd name="T71" fmla="*/ 28373 h 345"/>
                    <a:gd name="T72" fmla="*/ 9434 w 233"/>
                    <a:gd name="T73" fmla="*/ 27139 h 345"/>
                    <a:gd name="T74" fmla="*/ 9884 w 233"/>
                    <a:gd name="T75" fmla="*/ 25494 h 345"/>
                    <a:gd name="T76" fmla="*/ 10782 w 233"/>
                    <a:gd name="T77" fmla="*/ 25905 h 345"/>
                    <a:gd name="T78" fmla="*/ 13029 w 233"/>
                    <a:gd name="T79" fmla="*/ 25083 h 345"/>
                    <a:gd name="T80" fmla="*/ 13927 w 233"/>
                    <a:gd name="T81" fmla="*/ 23849 h 345"/>
                    <a:gd name="T82" fmla="*/ 18420 w 233"/>
                    <a:gd name="T83" fmla="*/ 23027 h 345"/>
                    <a:gd name="T84" fmla="*/ 19768 w 233"/>
                    <a:gd name="T85" fmla="*/ 23027 h 345"/>
                    <a:gd name="T86" fmla="*/ 20217 w 233"/>
                    <a:gd name="T87" fmla="*/ 19326 h 345"/>
                    <a:gd name="T88" fmla="*/ 21115 w 233"/>
                    <a:gd name="T89" fmla="*/ 16037 h 345"/>
                    <a:gd name="T90" fmla="*/ 21115 w 233"/>
                    <a:gd name="T91" fmla="*/ 13158 h 345"/>
                    <a:gd name="T92" fmla="*/ 20666 w 233"/>
                    <a:gd name="T93" fmla="*/ 9458 h 345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w 233"/>
                    <a:gd name="T142" fmla="*/ 0 h 345"/>
                    <a:gd name="T143" fmla="*/ 233 w 233"/>
                    <a:gd name="T144" fmla="*/ 345 h 345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T141" t="T142" r="T143" b="T144"/>
                  <a:pathLst>
                    <a:path w="233" h="345">
                      <a:moveTo>
                        <a:pt x="226" y="117"/>
                      </a:moveTo>
                      <a:lnTo>
                        <a:pt x="223" y="112"/>
                      </a:lnTo>
                      <a:lnTo>
                        <a:pt x="223" y="97"/>
                      </a:lnTo>
                      <a:lnTo>
                        <a:pt x="222" y="90"/>
                      </a:lnTo>
                      <a:lnTo>
                        <a:pt x="207" y="76"/>
                      </a:lnTo>
                      <a:lnTo>
                        <a:pt x="178" y="84"/>
                      </a:lnTo>
                      <a:lnTo>
                        <a:pt x="172" y="95"/>
                      </a:lnTo>
                      <a:lnTo>
                        <a:pt x="159" y="106"/>
                      </a:lnTo>
                      <a:lnTo>
                        <a:pt x="148" y="100"/>
                      </a:lnTo>
                      <a:lnTo>
                        <a:pt x="141" y="82"/>
                      </a:lnTo>
                      <a:lnTo>
                        <a:pt x="125" y="71"/>
                      </a:lnTo>
                      <a:lnTo>
                        <a:pt x="136" y="63"/>
                      </a:lnTo>
                      <a:lnTo>
                        <a:pt x="136" y="50"/>
                      </a:lnTo>
                      <a:lnTo>
                        <a:pt x="146" y="49"/>
                      </a:lnTo>
                      <a:lnTo>
                        <a:pt x="152" y="39"/>
                      </a:lnTo>
                      <a:lnTo>
                        <a:pt x="153" y="27"/>
                      </a:lnTo>
                      <a:lnTo>
                        <a:pt x="155" y="22"/>
                      </a:lnTo>
                      <a:lnTo>
                        <a:pt x="152" y="2"/>
                      </a:lnTo>
                      <a:lnTo>
                        <a:pt x="151" y="0"/>
                      </a:lnTo>
                      <a:lnTo>
                        <a:pt x="145" y="1"/>
                      </a:lnTo>
                      <a:lnTo>
                        <a:pt x="135" y="6"/>
                      </a:lnTo>
                      <a:lnTo>
                        <a:pt x="131" y="4"/>
                      </a:lnTo>
                      <a:lnTo>
                        <a:pt x="121" y="11"/>
                      </a:lnTo>
                      <a:lnTo>
                        <a:pt x="113" y="18"/>
                      </a:lnTo>
                      <a:lnTo>
                        <a:pt x="108" y="20"/>
                      </a:lnTo>
                      <a:lnTo>
                        <a:pt x="105" y="30"/>
                      </a:lnTo>
                      <a:lnTo>
                        <a:pt x="108" y="34"/>
                      </a:lnTo>
                      <a:lnTo>
                        <a:pt x="107" y="37"/>
                      </a:lnTo>
                      <a:lnTo>
                        <a:pt x="99" y="45"/>
                      </a:lnTo>
                      <a:lnTo>
                        <a:pt x="88" y="53"/>
                      </a:lnTo>
                      <a:lnTo>
                        <a:pt x="91" y="59"/>
                      </a:lnTo>
                      <a:lnTo>
                        <a:pt x="99" y="59"/>
                      </a:lnTo>
                      <a:lnTo>
                        <a:pt x="104" y="60"/>
                      </a:lnTo>
                      <a:lnTo>
                        <a:pt x="110" y="59"/>
                      </a:lnTo>
                      <a:lnTo>
                        <a:pt x="119" y="59"/>
                      </a:lnTo>
                      <a:lnTo>
                        <a:pt x="120" y="63"/>
                      </a:lnTo>
                      <a:lnTo>
                        <a:pt x="117" y="71"/>
                      </a:lnTo>
                      <a:lnTo>
                        <a:pt x="98" y="84"/>
                      </a:lnTo>
                      <a:lnTo>
                        <a:pt x="99" y="87"/>
                      </a:lnTo>
                      <a:lnTo>
                        <a:pt x="98" y="95"/>
                      </a:lnTo>
                      <a:lnTo>
                        <a:pt x="83" y="93"/>
                      </a:lnTo>
                      <a:lnTo>
                        <a:pt x="65" y="97"/>
                      </a:lnTo>
                      <a:lnTo>
                        <a:pt x="61" y="90"/>
                      </a:lnTo>
                      <a:lnTo>
                        <a:pt x="37" y="87"/>
                      </a:lnTo>
                      <a:lnTo>
                        <a:pt x="31" y="96"/>
                      </a:lnTo>
                      <a:lnTo>
                        <a:pt x="26" y="104"/>
                      </a:lnTo>
                      <a:lnTo>
                        <a:pt x="29" y="120"/>
                      </a:lnTo>
                      <a:lnTo>
                        <a:pt x="23" y="118"/>
                      </a:lnTo>
                      <a:lnTo>
                        <a:pt x="15" y="119"/>
                      </a:lnTo>
                      <a:lnTo>
                        <a:pt x="21" y="128"/>
                      </a:lnTo>
                      <a:lnTo>
                        <a:pt x="43" y="130"/>
                      </a:lnTo>
                      <a:lnTo>
                        <a:pt x="44" y="136"/>
                      </a:lnTo>
                      <a:lnTo>
                        <a:pt x="28" y="146"/>
                      </a:lnTo>
                      <a:lnTo>
                        <a:pt x="24" y="154"/>
                      </a:lnTo>
                      <a:lnTo>
                        <a:pt x="17" y="158"/>
                      </a:lnTo>
                      <a:lnTo>
                        <a:pt x="17" y="166"/>
                      </a:lnTo>
                      <a:lnTo>
                        <a:pt x="23" y="173"/>
                      </a:lnTo>
                      <a:lnTo>
                        <a:pt x="28" y="174"/>
                      </a:lnTo>
                      <a:lnTo>
                        <a:pt x="28" y="179"/>
                      </a:lnTo>
                      <a:lnTo>
                        <a:pt x="40" y="179"/>
                      </a:lnTo>
                      <a:lnTo>
                        <a:pt x="43" y="186"/>
                      </a:lnTo>
                      <a:lnTo>
                        <a:pt x="75" y="187"/>
                      </a:lnTo>
                      <a:lnTo>
                        <a:pt x="78" y="192"/>
                      </a:lnTo>
                      <a:lnTo>
                        <a:pt x="74" y="197"/>
                      </a:lnTo>
                      <a:lnTo>
                        <a:pt x="61" y="201"/>
                      </a:lnTo>
                      <a:lnTo>
                        <a:pt x="54" y="209"/>
                      </a:lnTo>
                      <a:lnTo>
                        <a:pt x="53" y="224"/>
                      </a:lnTo>
                      <a:lnTo>
                        <a:pt x="48" y="233"/>
                      </a:lnTo>
                      <a:lnTo>
                        <a:pt x="32" y="248"/>
                      </a:lnTo>
                      <a:lnTo>
                        <a:pt x="65" y="243"/>
                      </a:lnTo>
                      <a:lnTo>
                        <a:pt x="81" y="227"/>
                      </a:lnTo>
                      <a:lnTo>
                        <a:pt x="81" y="238"/>
                      </a:lnTo>
                      <a:lnTo>
                        <a:pt x="89" y="240"/>
                      </a:lnTo>
                      <a:lnTo>
                        <a:pt x="91" y="241"/>
                      </a:lnTo>
                      <a:lnTo>
                        <a:pt x="56" y="249"/>
                      </a:lnTo>
                      <a:lnTo>
                        <a:pt x="42" y="251"/>
                      </a:lnTo>
                      <a:lnTo>
                        <a:pt x="31" y="268"/>
                      </a:lnTo>
                      <a:lnTo>
                        <a:pt x="29" y="274"/>
                      </a:lnTo>
                      <a:lnTo>
                        <a:pt x="27" y="278"/>
                      </a:lnTo>
                      <a:lnTo>
                        <a:pt x="21" y="276"/>
                      </a:lnTo>
                      <a:lnTo>
                        <a:pt x="15" y="279"/>
                      </a:lnTo>
                      <a:lnTo>
                        <a:pt x="8" y="278"/>
                      </a:lnTo>
                      <a:lnTo>
                        <a:pt x="2" y="283"/>
                      </a:lnTo>
                      <a:lnTo>
                        <a:pt x="0" y="291"/>
                      </a:lnTo>
                      <a:lnTo>
                        <a:pt x="24" y="289"/>
                      </a:lnTo>
                      <a:lnTo>
                        <a:pt x="26" y="294"/>
                      </a:lnTo>
                      <a:lnTo>
                        <a:pt x="13" y="299"/>
                      </a:lnTo>
                      <a:lnTo>
                        <a:pt x="5" y="308"/>
                      </a:lnTo>
                      <a:lnTo>
                        <a:pt x="3" y="314"/>
                      </a:lnTo>
                      <a:lnTo>
                        <a:pt x="11" y="314"/>
                      </a:lnTo>
                      <a:lnTo>
                        <a:pt x="13" y="319"/>
                      </a:lnTo>
                      <a:lnTo>
                        <a:pt x="16" y="319"/>
                      </a:lnTo>
                      <a:lnTo>
                        <a:pt x="38" y="312"/>
                      </a:lnTo>
                      <a:lnTo>
                        <a:pt x="38" y="318"/>
                      </a:lnTo>
                      <a:lnTo>
                        <a:pt x="29" y="323"/>
                      </a:lnTo>
                      <a:lnTo>
                        <a:pt x="16" y="334"/>
                      </a:lnTo>
                      <a:lnTo>
                        <a:pt x="19" y="334"/>
                      </a:lnTo>
                      <a:lnTo>
                        <a:pt x="45" y="326"/>
                      </a:lnTo>
                      <a:lnTo>
                        <a:pt x="48" y="328"/>
                      </a:lnTo>
                      <a:lnTo>
                        <a:pt x="45" y="334"/>
                      </a:lnTo>
                      <a:lnTo>
                        <a:pt x="39" y="334"/>
                      </a:lnTo>
                      <a:lnTo>
                        <a:pt x="33" y="338"/>
                      </a:lnTo>
                      <a:lnTo>
                        <a:pt x="34" y="340"/>
                      </a:lnTo>
                      <a:lnTo>
                        <a:pt x="34" y="345"/>
                      </a:lnTo>
                      <a:lnTo>
                        <a:pt x="44" y="340"/>
                      </a:lnTo>
                      <a:lnTo>
                        <a:pt x="51" y="339"/>
                      </a:lnTo>
                      <a:lnTo>
                        <a:pt x="55" y="341"/>
                      </a:lnTo>
                      <a:lnTo>
                        <a:pt x="60" y="343"/>
                      </a:lnTo>
                      <a:lnTo>
                        <a:pt x="67" y="338"/>
                      </a:lnTo>
                      <a:lnTo>
                        <a:pt x="74" y="338"/>
                      </a:lnTo>
                      <a:lnTo>
                        <a:pt x="102" y="329"/>
                      </a:lnTo>
                      <a:lnTo>
                        <a:pt x="109" y="323"/>
                      </a:lnTo>
                      <a:lnTo>
                        <a:pt x="110" y="316"/>
                      </a:lnTo>
                      <a:lnTo>
                        <a:pt x="109" y="308"/>
                      </a:lnTo>
                      <a:lnTo>
                        <a:pt x="113" y="310"/>
                      </a:lnTo>
                      <a:lnTo>
                        <a:pt x="115" y="316"/>
                      </a:lnTo>
                      <a:lnTo>
                        <a:pt x="119" y="317"/>
                      </a:lnTo>
                      <a:lnTo>
                        <a:pt x="131" y="311"/>
                      </a:lnTo>
                      <a:lnTo>
                        <a:pt x="135" y="305"/>
                      </a:lnTo>
                      <a:lnTo>
                        <a:pt x="145" y="306"/>
                      </a:lnTo>
                      <a:lnTo>
                        <a:pt x="148" y="301"/>
                      </a:lnTo>
                      <a:lnTo>
                        <a:pt x="151" y="295"/>
                      </a:lnTo>
                      <a:lnTo>
                        <a:pt x="153" y="291"/>
                      </a:lnTo>
                      <a:lnTo>
                        <a:pt x="177" y="286"/>
                      </a:lnTo>
                      <a:lnTo>
                        <a:pt x="189" y="281"/>
                      </a:lnTo>
                      <a:lnTo>
                        <a:pt x="201" y="281"/>
                      </a:lnTo>
                      <a:lnTo>
                        <a:pt x="209" y="285"/>
                      </a:lnTo>
                      <a:lnTo>
                        <a:pt x="216" y="285"/>
                      </a:lnTo>
                      <a:lnTo>
                        <a:pt x="218" y="278"/>
                      </a:lnTo>
                      <a:lnTo>
                        <a:pt x="215" y="269"/>
                      </a:lnTo>
                      <a:lnTo>
                        <a:pt x="222" y="251"/>
                      </a:lnTo>
                      <a:lnTo>
                        <a:pt x="225" y="236"/>
                      </a:lnTo>
                      <a:lnTo>
                        <a:pt x="231" y="225"/>
                      </a:lnTo>
                      <a:lnTo>
                        <a:pt x="233" y="216"/>
                      </a:lnTo>
                      <a:lnTo>
                        <a:pt x="231" y="197"/>
                      </a:lnTo>
                      <a:lnTo>
                        <a:pt x="227" y="178"/>
                      </a:lnTo>
                      <a:lnTo>
                        <a:pt x="231" y="176"/>
                      </a:lnTo>
                      <a:lnTo>
                        <a:pt x="233" y="160"/>
                      </a:lnTo>
                      <a:lnTo>
                        <a:pt x="220" y="128"/>
                      </a:lnTo>
                      <a:lnTo>
                        <a:pt x="220" y="119"/>
                      </a:lnTo>
                      <a:lnTo>
                        <a:pt x="226" y="117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61" name="Freeform 201"/>
                <p:cNvSpPr>
                  <a:spLocks/>
                </p:cNvSpPr>
                <p:nvPr/>
              </p:nvSpPr>
              <p:spPr bwMode="gray">
                <a:xfrm>
                  <a:off x="4784840" y="1841372"/>
                  <a:ext cx="350341" cy="232382"/>
                </a:xfrm>
                <a:custGeom>
                  <a:avLst/>
                  <a:gdLst>
                    <a:gd name="T0" fmla="*/ 13363 w 995"/>
                    <a:gd name="T1" fmla="*/ 31759 h 658"/>
                    <a:gd name="T2" fmla="*/ 3563 w 995"/>
                    <a:gd name="T3" fmla="*/ 31346 h 658"/>
                    <a:gd name="T4" fmla="*/ 1782 w 995"/>
                    <a:gd name="T5" fmla="*/ 23510 h 658"/>
                    <a:gd name="T6" fmla="*/ 7572 w 995"/>
                    <a:gd name="T7" fmla="*/ 15261 h 658"/>
                    <a:gd name="T8" fmla="*/ 7572 w 995"/>
                    <a:gd name="T9" fmla="*/ 7837 h 658"/>
                    <a:gd name="T10" fmla="*/ 10690 w 995"/>
                    <a:gd name="T11" fmla="*/ 4124 h 658"/>
                    <a:gd name="T12" fmla="*/ 19599 w 995"/>
                    <a:gd name="T13" fmla="*/ 3712 h 658"/>
                    <a:gd name="T14" fmla="*/ 24499 w 995"/>
                    <a:gd name="T15" fmla="*/ 5362 h 658"/>
                    <a:gd name="T16" fmla="*/ 29399 w 995"/>
                    <a:gd name="T17" fmla="*/ 6187 h 658"/>
                    <a:gd name="T18" fmla="*/ 34299 w 995"/>
                    <a:gd name="T19" fmla="*/ 5774 h 658"/>
                    <a:gd name="T20" fmla="*/ 40089 w 995"/>
                    <a:gd name="T21" fmla="*/ 7012 h 658"/>
                    <a:gd name="T22" fmla="*/ 42317 w 995"/>
                    <a:gd name="T23" fmla="*/ 4124 h 658"/>
                    <a:gd name="T24" fmla="*/ 47662 w 995"/>
                    <a:gd name="T25" fmla="*/ 1650 h 658"/>
                    <a:gd name="T26" fmla="*/ 52562 w 995"/>
                    <a:gd name="T27" fmla="*/ 412 h 658"/>
                    <a:gd name="T28" fmla="*/ 58798 w 995"/>
                    <a:gd name="T29" fmla="*/ 2062 h 658"/>
                    <a:gd name="T30" fmla="*/ 59243 w 995"/>
                    <a:gd name="T31" fmla="*/ 5774 h 658"/>
                    <a:gd name="T32" fmla="*/ 64143 w 995"/>
                    <a:gd name="T33" fmla="*/ 8661 h 658"/>
                    <a:gd name="T34" fmla="*/ 67706 w 995"/>
                    <a:gd name="T35" fmla="*/ 13611 h 658"/>
                    <a:gd name="T36" fmla="*/ 74833 w 995"/>
                    <a:gd name="T37" fmla="*/ 13611 h 658"/>
                    <a:gd name="T38" fmla="*/ 79733 w 995"/>
                    <a:gd name="T39" fmla="*/ 16498 h 658"/>
                    <a:gd name="T40" fmla="*/ 85524 w 995"/>
                    <a:gd name="T41" fmla="*/ 18560 h 658"/>
                    <a:gd name="T42" fmla="*/ 87751 w 995"/>
                    <a:gd name="T43" fmla="*/ 23510 h 658"/>
                    <a:gd name="T44" fmla="*/ 86415 w 995"/>
                    <a:gd name="T45" fmla="*/ 26397 h 658"/>
                    <a:gd name="T46" fmla="*/ 85969 w 995"/>
                    <a:gd name="T47" fmla="*/ 32171 h 658"/>
                    <a:gd name="T48" fmla="*/ 79288 w 995"/>
                    <a:gd name="T49" fmla="*/ 34646 h 658"/>
                    <a:gd name="T50" fmla="*/ 72606 w 995"/>
                    <a:gd name="T51" fmla="*/ 38358 h 658"/>
                    <a:gd name="T52" fmla="*/ 67261 w 995"/>
                    <a:gd name="T53" fmla="*/ 40007 h 658"/>
                    <a:gd name="T54" fmla="*/ 64588 w 995"/>
                    <a:gd name="T55" fmla="*/ 42895 h 658"/>
                    <a:gd name="T56" fmla="*/ 63252 w 995"/>
                    <a:gd name="T57" fmla="*/ 44957 h 658"/>
                    <a:gd name="T58" fmla="*/ 61025 w 995"/>
                    <a:gd name="T59" fmla="*/ 44132 h 658"/>
                    <a:gd name="T60" fmla="*/ 59243 w 995"/>
                    <a:gd name="T61" fmla="*/ 42070 h 658"/>
                    <a:gd name="T62" fmla="*/ 58798 w 995"/>
                    <a:gd name="T63" fmla="*/ 43720 h 658"/>
                    <a:gd name="T64" fmla="*/ 61025 w 995"/>
                    <a:gd name="T65" fmla="*/ 44544 h 658"/>
                    <a:gd name="T66" fmla="*/ 63252 w 995"/>
                    <a:gd name="T67" fmla="*/ 46194 h 658"/>
                    <a:gd name="T68" fmla="*/ 66816 w 995"/>
                    <a:gd name="T69" fmla="*/ 48669 h 658"/>
                    <a:gd name="T70" fmla="*/ 71270 w 995"/>
                    <a:gd name="T71" fmla="*/ 48256 h 658"/>
                    <a:gd name="T72" fmla="*/ 64588 w 995"/>
                    <a:gd name="T73" fmla="*/ 51144 h 658"/>
                    <a:gd name="T74" fmla="*/ 60579 w 995"/>
                    <a:gd name="T75" fmla="*/ 53618 h 658"/>
                    <a:gd name="T76" fmla="*/ 56125 w 995"/>
                    <a:gd name="T77" fmla="*/ 52793 h 658"/>
                    <a:gd name="T78" fmla="*/ 53898 w 995"/>
                    <a:gd name="T79" fmla="*/ 48669 h 658"/>
                    <a:gd name="T80" fmla="*/ 54789 w 995"/>
                    <a:gd name="T81" fmla="*/ 45369 h 658"/>
                    <a:gd name="T82" fmla="*/ 55234 w 995"/>
                    <a:gd name="T83" fmla="*/ 43307 h 658"/>
                    <a:gd name="T84" fmla="*/ 49444 w 995"/>
                    <a:gd name="T85" fmla="*/ 42895 h 658"/>
                    <a:gd name="T86" fmla="*/ 47216 w 995"/>
                    <a:gd name="T87" fmla="*/ 41245 h 658"/>
                    <a:gd name="T88" fmla="*/ 48553 w 995"/>
                    <a:gd name="T89" fmla="*/ 38770 h 658"/>
                    <a:gd name="T90" fmla="*/ 43653 w 995"/>
                    <a:gd name="T91" fmla="*/ 40420 h 658"/>
                    <a:gd name="T92" fmla="*/ 40089 w 995"/>
                    <a:gd name="T93" fmla="*/ 42070 h 658"/>
                    <a:gd name="T94" fmla="*/ 38753 w 995"/>
                    <a:gd name="T95" fmla="*/ 45369 h 658"/>
                    <a:gd name="T96" fmla="*/ 37417 w 995"/>
                    <a:gd name="T97" fmla="*/ 47019 h 658"/>
                    <a:gd name="T98" fmla="*/ 32962 w 995"/>
                    <a:gd name="T99" fmla="*/ 49081 h 658"/>
                    <a:gd name="T100" fmla="*/ 31181 w 995"/>
                    <a:gd name="T101" fmla="*/ 46194 h 658"/>
                    <a:gd name="T102" fmla="*/ 33853 w 995"/>
                    <a:gd name="T103" fmla="*/ 41245 h 658"/>
                    <a:gd name="T104" fmla="*/ 38308 w 995"/>
                    <a:gd name="T105" fmla="*/ 40007 h 658"/>
                    <a:gd name="T106" fmla="*/ 36080 w 995"/>
                    <a:gd name="T107" fmla="*/ 35058 h 658"/>
                    <a:gd name="T108" fmla="*/ 34299 w 995"/>
                    <a:gd name="T109" fmla="*/ 30521 h 658"/>
                    <a:gd name="T110" fmla="*/ 27617 w 995"/>
                    <a:gd name="T111" fmla="*/ 28046 h 658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995"/>
                    <a:gd name="T169" fmla="*/ 0 h 658"/>
                    <a:gd name="T170" fmla="*/ 995 w 995"/>
                    <a:gd name="T171" fmla="*/ 658 h 658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995" h="658">
                      <a:moveTo>
                        <a:pt x="248" y="353"/>
                      </a:moveTo>
                      <a:lnTo>
                        <a:pt x="242" y="352"/>
                      </a:lnTo>
                      <a:lnTo>
                        <a:pt x="208" y="373"/>
                      </a:lnTo>
                      <a:lnTo>
                        <a:pt x="189" y="374"/>
                      </a:lnTo>
                      <a:lnTo>
                        <a:pt x="173" y="378"/>
                      </a:lnTo>
                      <a:lnTo>
                        <a:pt x="157" y="389"/>
                      </a:lnTo>
                      <a:lnTo>
                        <a:pt x="148" y="384"/>
                      </a:lnTo>
                      <a:lnTo>
                        <a:pt x="137" y="374"/>
                      </a:lnTo>
                      <a:lnTo>
                        <a:pt x="121" y="376"/>
                      </a:lnTo>
                      <a:lnTo>
                        <a:pt x="106" y="379"/>
                      </a:lnTo>
                      <a:lnTo>
                        <a:pt x="83" y="377"/>
                      </a:lnTo>
                      <a:lnTo>
                        <a:pt x="64" y="374"/>
                      </a:lnTo>
                      <a:lnTo>
                        <a:pt x="47" y="374"/>
                      </a:lnTo>
                      <a:lnTo>
                        <a:pt x="40" y="377"/>
                      </a:lnTo>
                      <a:lnTo>
                        <a:pt x="36" y="367"/>
                      </a:lnTo>
                      <a:lnTo>
                        <a:pt x="27" y="358"/>
                      </a:lnTo>
                      <a:lnTo>
                        <a:pt x="15" y="348"/>
                      </a:lnTo>
                      <a:lnTo>
                        <a:pt x="0" y="341"/>
                      </a:lnTo>
                      <a:lnTo>
                        <a:pt x="6" y="318"/>
                      </a:lnTo>
                      <a:lnTo>
                        <a:pt x="17" y="288"/>
                      </a:lnTo>
                      <a:lnTo>
                        <a:pt x="19" y="282"/>
                      </a:lnTo>
                      <a:lnTo>
                        <a:pt x="24" y="283"/>
                      </a:lnTo>
                      <a:lnTo>
                        <a:pt x="33" y="281"/>
                      </a:lnTo>
                      <a:lnTo>
                        <a:pt x="31" y="269"/>
                      </a:lnTo>
                      <a:lnTo>
                        <a:pt x="33" y="254"/>
                      </a:lnTo>
                      <a:lnTo>
                        <a:pt x="51" y="216"/>
                      </a:lnTo>
                      <a:lnTo>
                        <a:pt x="65" y="197"/>
                      </a:lnTo>
                      <a:lnTo>
                        <a:pt x="85" y="184"/>
                      </a:lnTo>
                      <a:lnTo>
                        <a:pt x="103" y="169"/>
                      </a:lnTo>
                      <a:lnTo>
                        <a:pt x="108" y="156"/>
                      </a:lnTo>
                      <a:lnTo>
                        <a:pt x="102" y="140"/>
                      </a:lnTo>
                      <a:lnTo>
                        <a:pt x="103" y="129"/>
                      </a:lnTo>
                      <a:lnTo>
                        <a:pt x="92" y="118"/>
                      </a:lnTo>
                      <a:lnTo>
                        <a:pt x="91" y="114"/>
                      </a:lnTo>
                      <a:lnTo>
                        <a:pt x="84" y="95"/>
                      </a:lnTo>
                      <a:lnTo>
                        <a:pt x="83" y="83"/>
                      </a:lnTo>
                      <a:lnTo>
                        <a:pt x="76" y="71"/>
                      </a:lnTo>
                      <a:lnTo>
                        <a:pt x="83" y="65"/>
                      </a:lnTo>
                      <a:lnTo>
                        <a:pt x="91" y="64"/>
                      </a:lnTo>
                      <a:lnTo>
                        <a:pt x="100" y="65"/>
                      </a:lnTo>
                      <a:lnTo>
                        <a:pt x="114" y="57"/>
                      </a:lnTo>
                      <a:lnTo>
                        <a:pt x="121" y="51"/>
                      </a:lnTo>
                      <a:lnTo>
                        <a:pt x="123" y="44"/>
                      </a:lnTo>
                      <a:lnTo>
                        <a:pt x="130" y="40"/>
                      </a:lnTo>
                      <a:lnTo>
                        <a:pt x="172" y="34"/>
                      </a:lnTo>
                      <a:lnTo>
                        <a:pt x="180" y="37"/>
                      </a:lnTo>
                      <a:lnTo>
                        <a:pt x="197" y="38"/>
                      </a:lnTo>
                      <a:lnTo>
                        <a:pt x="205" y="35"/>
                      </a:lnTo>
                      <a:lnTo>
                        <a:pt x="219" y="44"/>
                      </a:lnTo>
                      <a:lnTo>
                        <a:pt x="235" y="49"/>
                      </a:lnTo>
                      <a:lnTo>
                        <a:pt x="243" y="50"/>
                      </a:lnTo>
                      <a:lnTo>
                        <a:pt x="252" y="49"/>
                      </a:lnTo>
                      <a:lnTo>
                        <a:pt x="258" y="52"/>
                      </a:lnTo>
                      <a:lnTo>
                        <a:pt x="267" y="55"/>
                      </a:lnTo>
                      <a:lnTo>
                        <a:pt x="274" y="59"/>
                      </a:lnTo>
                      <a:lnTo>
                        <a:pt x="275" y="67"/>
                      </a:lnTo>
                      <a:lnTo>
                        <a:pt x="282" y="72"/>
                      </a:lnTo>
                      <a:lnTo>
                        <a:pt x="297" y="71"/>
                      </a:lnTo>
                      <a:lnTo>
                        <a:pt x="299" y="79"/>
                      </a:lnTo>
                      <a:lnTo>
                        <a:pt x="306" y="86"/>
                      </a:lnTo>
                      <a:lnTo>
                        <a:pt x="312" y="79"/>
                      </a:lnTo>
                      <a:lnTo>
                        <a:pt x="320" y="77"/>
                      </a:lnTo>
                      <a:lnTo>
                        <a:pt x="328" y="77"/>
                      </a:lnTo>
                      <a:lnTo>
                        <a:pt x="334" y="71"/>
                      </a:lnTo>
                      <a:lnTo>
                        <a:pt x="340" y="76"/>
                      </a:lnTo>
                      <a:lnTo>
                        <a:pt x="349" y="78"/>
                      </a:lnTo>
                      <a:lnTo>
                        <a:pt x="356" y="76"/>
                      </a:lnTo>
                      <a:lnTo>
                        <a:pt x="361" y="83"/>
                      </a:lnTo>
                      <a:lnTo>
                        <a:pt x="369" y="88"/>
                      </a:lnTo>
                      <a:lnTo>
                        <a:pt x="386" y="70"/>
                      </a:lnTo>
                      <a:lnTo>
                        <a:pt x="398" y="79"/>
                      </a:lnTo>
                      <a:lnTo>
                        <a:pt x="402" y="87"/>
                      </a:lnTo>
                      <a:lnTo>
                        <a:pt x="408" y="93"/>
                      </a:lnTo>
                      <a:lnTo>
                        <a:pt x="415" y="88"/>
                      </a:lnTo>
                      <a:lnTo>
                        <a:pt x="424" y="88"/>
                      </a:lnTo>
                      <a:lnTo>
                        <a:pt x="440" y="86"/>
                      </a:lnTo>
                      <a:lnTo>
                        <a:pt x="449" y="86"/>
                      </a:lnTo>
                      <a:lnTo>
                        <a:pt x="456" y="89"/>
                      </a:lnTo>
                      <a:lnTo>
                        <a:pt x="461" y="95"/>
                      </a:lnTo>
                      <a:lnTo>
                        <a:pt x="469" y="93"/>
                      </a:lnTo>
                      <a:lnTo>
                        <a:pt x="473" y="86"/>
                      </a:lnTo>
                      <a:lnTo>
                        <a:pt x="471" y="70"/>
                      </a:lnTo>
                      <a:lnTo>
                        <a:pt x="473" y="61"/>
                      </a:lnTo>
                      <a:lnTo>
                        <a:pt x="473" y="52"/>
                      </a:lnTo>
                      <a:lnTo>
                        <a:pt x="476" y="44"/>
                      </a:lnTo>
                      <a:lnTo>
                        <a:pt x="494" y="27"/>
                      </a:lnTo>
                      <a:lnTo>
                        <a:pt x="501" y="23"/>
                      </a:lnTo>
                      <a:lnTo>
                        <a:pt x="510" y="23"/>
                      </a:lnTo>
                      <a:lnTo>
                        <a:pt x="517" y="18"/>
                      </a:lnTo>
                      <a:lnTo>
                        <a:pt x="537" y="18"/>
                      </a:lnTo>
                      <a:lnTo>
                        <a:pt x="543" y="23"/>
                      </a:lnTo>
                      <a:lnTo>
                        <a:pt x="551" y="25"/>
                      </a:lnTo>
                      <a:lnTo>
                        <a:pt x="558" y="22"/>
                      </a:lnTo>
                      <a:lnTo>
                        <a:pt x="563" y="16"/>
                      </a:lnTo>
                      <a:lnTo>
                        <a:pt x="565" y="7"/>
                      </a:lnTo>
                      <a:lnTo>
                        <a:pt x="573" y="2"/>
                      </a:lnTo>
                      <a:lnTo>
                        <a:pt x="589" y="6"/>
                      </a:lnTo>
                      <a:lnTo>
                        <a:pt x="597" y="6"/>
                      </a:lnTo>
                      <a:lnTo>
                        <a:pt x="613" y="1"/>
                      </a:lnTo>
                      <a:lnTo>
                        <a:pt x="629" y="3"/>
                      </a:lnTo>
                      <a:lnTo>
                        <a:pt x="645" y="0"/>
                      </a:lnTo>
                      <a:lnTo>
                        <a:pt x="657" y="9"/>
                      </a:lnTo>
                      <a:lnTo>
                        <a:pt x="662" y="17"/>
                      </a:lnTo>
                      <a:lnTo>
                        <a:pt x="662" y="25"/>
                      </a:lnTo>
                      <a:lnTo>
                        <a:pt x="675" y="37"/>
                      </a:lnTo>
                      <a:lnTo>
                        <a:pt x="680" y="43"/>
                      </a:lnTo>
                      <a:lnTo>
                        <a:pt x="680" y="52"/>
                      </a:lnTo>
                      <a:lnTo>
                        <a:pt x="671" y="56"/>
                      </a:lnTo>
                      <a:lnTo>
                        <a:pt x="664" y="57"/>
                      </a:lnTo>
                      <a:lnTo>
                        <a:pt x="667" y="65"/>
                      </a:lnTo>
                      <a:lnTo>
                        <a:pt x="667" y="72"/>
                      </a:lnTo>
                      <a:lnTo>
                        <a:pt x="671" y="88"/>
                      </a:lnTo>
                      <a:lnTo>
                        <a:pt x="678" y="93"/>
                      </a:lnTo>
                      <a:lnTo>
                        <a:pt x="686" y="97"/>
                      </a:lnTo>
                      <a:lnTo>
                        <a:pt x="702" y="100"/>
                      </a:lnTo>
                      <a:lnTo>
                        <a:pt x="709" y="97"/>
                      </a:lnTo>
                      <a:lnTo>
                        <a:pt x="718" y="97"/>
                      </a:lnTo>
                      <a:lnTo>
                        <a:pt x="720" y="105"/>
                      </a:lnTo>
                      <a:lnTo>
                        <a:pt x="731" y="116"/>
                      </a:lnTo>
                      <a:lnTo>
                        <a:pt x="738" y="145"/>
                      </a:lnTo>
                      <a:lnTo>
                        <a:pt x="736" y="152"/>
                      </a:lnTo>
                      <a:lnTo>
                        <a:pt x="738" y="159"/>
                      </a:lnTo>
                      <a:lnTo>
                        <a:pt x="745" y="165"/>
                      </a:lnTo>
                      <a:lnTo>
                        <a:pt x="752" y="169"/>
                      </a:lnTo>
                      <a:lnTo>
                        <a:pt x="759" y="165"/>
                      </a:lnTo>
                      <a:lnTo>
                        <a:pt x="767" y="164"/>
                      </a:lnTo>
                      <a:lnTo>
                        <a:pt x="775" y="165"/>
                      </a:lnTo>
                      <a:lnTo>
                        <a:pt x="786" y="177"/>
                      </a:lnTo>
                      <a:lnTo>
                        <a:pt x="795" y="174"/>
                      </a:lnTo>
                      <a:lnTo>
                        <a:pt x="801" y="178"/>
                      </a:lnTo>
                      <a:lnTo>
                        <a:pt x="827" y="170"/>
                      </a:lnTo>
                      <a:lnTo>
                        <a:pt x="842" y="163"/>
                      </a:lnTo>
                      <a:lnTo>
                        <a:pt x="849" y="165"/>
                      </a:lnTo>
                      <a:lnTo>
                        <a:pt x="854" y="173"/>
                      </a:lnTo>
                      <a:lnTo>
                        <a:pt x="865" y="195"/>
                      </a:lnTo>
                      <a:lnTo>
                        <a:pt x="876" y="206"/>
                      </a:lnTo>
                      <a:lnTo>
                        <a:pt x="883" y="206"/>
                      </a:lnTo>
                      <a:lnTo>
                        <a:pt x="887" y="199"/>
                      </a:lnTo>
                      <a:lnTo>
                        <a:pt x="896" y="199"/>
                      </a:lnTo>
                      <a:lnTo>
                        <a:pt x="901" y="205"/>
                      </a:lnTo>
                      <a:lnTo>
                        <a:pt x="908" y="206"/>
                      </a:lnTo>
                      <a:lnTo>
                        <a:pt x="915" y="210"/>
                      </a:lnTo>
                      <a:lnTo>
                        <a:pt x="922" y="216"/>
                      </a:lnTo>
                      <a:lnTo>
                        <a:pt x="938" y="215"/>
                      </a:lnTo>
                      <a:lnTo>
                        <a:pt x="951" y="224"/>
                      </a:lnTo>
                      <a:lnTo>
                        <a:pt x="958" y="223"/>
                      </a:lnTo>
                      <a:lnTo>
                        <a:pt x="971" y="234"/>
                      </a:lnTo>
                      <a:lnTo>
                        <a:pt x="979" y="235"/>
                      </a:lnTo>
                      <a:lnTo>
                        <a:pt x="988" y="235"/>
                      </a:lnTo>
                      <a:lnTo>
                        <a:pt x="994" y="240"/>
                      </a:lnTo>
                      <a:lnTo>
                        <a:pt x="987" y="244"/>
                      </a:lnTo>
                      <a:lnTo>
                        <a:pt x="995" y="267"/>
                      </a:lnTo>
                      <a:lnTo>
                        <a:pt x="987" y="282"/>
                      </a:lnTo>
                      <a:lnTo>
                        <a:pt x="971" y="286"/>
                      </a:lnTo>
                      <a:lnTo>
                        <a:pt x="976" y="292"/>
                      </a:lnTo>
                      <a:lnTo>
                        <a:pt x="984" y="294"/>
                      </a:lnTo>
                      <a:lnTo>
                        <a:pt x="988" y="301"/>
                      </a:lnTo>
                      <a:lnTo>
                        <a:pt x="972" y="306"/>
                      </a:lnTo>
                      <a:lnTo>
                        <a:pt x="969" y="313"/>
                      </a:lnTo>
                      <a:lnTo>
                        <a:pt x="968" y="320"/>
                      </a:lnTo>
                      <a:lnTo>
                        <a:pt x="973" y="326"/>
                      </a:lnTo>
                      <a:lnTo>
                        <a:pt x="976" y="335"/>
                      </a:lnTo>
                      <a:lnTo>
                        <a:pt x="974" y="342"/>
                      </a:lnTo>
                      <a:lnTo>
                        <a:pt x="980" y="346"/>
                      </a:lnTo>
                      <a:lnTo>
                        <a:pt x="978" y="362"/>
                      </a:lnTo>
                      <a:lnTo>
                        <a:pt x="971" y="385"/>
                      </a:lnTo>
                      <a:lnTo>
                        <a:pt x="963" y="389"/>
                      </a:lnTo>
                      <a:lnTo>
                        <a:pt x="947" y="385"/>
                      </a:lnTo>
                      <a:lnTo>
                        <a:pt x="940" y="387"/>
                      </a:lnTo>
                      <a:lnTo>
                        <a:pt x="925" y="379"/>
                      </a:lnTo>
                      <a:lnTo>
                        <a:pt x="919" y="384"/>
                      </a:lnTo>
                      <a:lnTo>
                        <a:pt x="910" y="398"/>
                      </a:lnTo>
                      <a:lnTo>
                        <a:pt x="896" y="404"/>
                      </a:lnTo>
                      <a:lnTo>
                        <a:pt x="888" y="419"/>
                      </a:lnTo>
                      <a:lnTo>
                        <a:pt x="890" y="427"/>
                      </a:lnTo>
                      <a:lnTo>
                        <a:pt x="890" y="442"/>
                      </a:lnTo>
                      <a:lnTo>
                        <a:pt x="866" y="446"/>
                      </a:lnTo>
                      <a:lnTo>
                        <a:pt x="853" y="448"/>
                      </a:lnTo>
                      <a:lnTo>
                        <a:pt x="843" y="459"/>
                      </a:lnTo>
                      <a:lnTo>
                        <a:pt x="836" y="458"/>
                      </a:lnTo>
                      <a:lnTo>
                        <a:pt x="817" y="465"/>
                      </a:lnTo>
                      <a:lnTo>
                        <a:pt x="813" y="477"/>
                      </a:lnTo>
                      <a:lnTo>
                        <a:pt x="801" y="470"/>
                      </a:lnTo>
                      <a:lnTo>
                        <a:pt x="779" y="481"/>
                      </a:lnTo>
                      <a:lnTo>
                        <a:pt x="777" y="486"/>
                      </a:lnTo>
                      <a:lnTo>
                        <a:pt x="775" y="481"/>
                      </a:lnTo>
                      <a:lnTo>
                        <a:pt x="764" y="485"/>
                      </a:lnTo>
                      <a:lnTo>
                        <a:pt x="757" y="485"/>
                      </a:lnTo>
                      <a:lnTo>
                        <a:pt x="741" y="500"/>
                      </a:lnTo>
                      <a:lnTo>
                        <a:pt x="737" y="501"/>
                      </a:lnTo>
                      <a:lnTo>
                        <a:pt x="731" y="511"/>
                      </a:lnTo>
                      <a:lnTo>
                        <a:pt x="724" y="522"/>
                      </a:lnTo>
                      <a:lnTo>
                        <a:pt x="716" y="525"/>
                      </a:lnTo>
                      <a:lnTo>
                        <a:pt x="719" y="520"/>
                      </a:lnTo>
                      <a:lnTo>
                        <a:pt x="725" y="517"/>
                      </a:lnTo>
                      <a:lnTo>
                        <a:pt x="730" y="512"/>
                      </a:lnTo>
                      <a:lnTo>
                        <a:pt x="725" y="497"/>
                      </a:lnTo>
                      <a:lnTo>
                        <a:pt x="721" y="497"/>
                      </a:lnTo>
                      <a:lnTo>
                        <a:pt x="716" y="512"/>
                      </a:lnTo>
                      <a:lnTo>
                        <a:pt x="707" y="522"/>
                      </a:lnTo>
                      <a:lnTo>
                        <a:pt x="709" y="536"/>
                      </a:lnTo>
                      <a:lnTo>
                        <a:pt x="709" y="545"/>
                      </a:lnTo>
                      <a:lnTo>
                        <a:pt x="704" y="545"/>
                      </a:lnTo>
                      <a:lnTo>
                        <a:pt x="704" y="541"/>
                      </a:lnTo>
                      <a:lnTo>
                        <a:pt x="698" y="530"/>
                      </a:lnTo>
                      <a:lnTo>
                        <a:pt x="699" y="527"/>
                      </a:lnTo>
                      <a:lnTo>
                        <a:pt x="697" y="523"/>
                      </a:lnTo>
                      <a:lnTo>
                        <a:pt x="691" y="528"/>
                      </a:lnTo>
                      <a:lnTo>
                        <a:pt x="687" y="534"/>
                      </a:lnTo>
                      <a:lnTo>
                        <a:pt x="684" y="533"/>
                      </a:lnTo>
                      <a:lnTo>
                        <a:pt x="687" y="525"/>
                      </a:lnTo>
                      <a:lnTo>
                        <a:pt x="684" y="523"/>
                      </a:lnTo>
                      <a:lnTo>
                        <a:pt x="671" y="523"/>
                      </a:lnTo>
                      <a:lnTo>
                        <a:pt x="670" y="520"/>
                      </a:lnTo>
                      <a:lnTo>
                        <a:pt x="670" y="512"/>
                      </a:lnTo>
                      <a:lnTo>
                        <a:pt x="666" y="507"/>
                      </a:lnTo>
                      <a:lnTo>
                        <a:pt x="664" y="520"/>
                      </a:lnTo>
                      <a:lnTo>
                        <a:pt x="661" y="522"/>
                      </a:lnTo>
                      <a:lnTo>
                        <a:pt x="644" y="517"/>
                      </a:lnTo>
                      <a:lnTo>
                        <a:pt x="649" y="520"/>
                      </a:lnTo>
                      <a:lnTo>
                        <a:pt x="653" y="525"/>
                      </a:lnTo>
                      <a:lnTo>
                        <a:pt x="657" y="525"/>
                      </a:lnTo>
                      <a:lnTo>
                        <a:pt x="660" y="527"/>
                      </a:lnTo>
                      <a:lnTo>
                        <a:pt x="662" y="533"/>
                      </a:lnTo>
                      <a:lnTo>
                        <a:pt x="664" y="538"/>
                      </a:lnTo>
                      <a:lnTo>
                        <a:pt x="667" y="543"/>
                      </a:lnTo>
                      <a:lnTo>
                        <a:pt x="670" y="540"/>
                      </a:lnTo>
                      <a:lnTo>
                        <a:pt x="670" y="533"/>
                      </a:lnTo>
                      <a:lnTo>
                        <a:pt x="680" y="535"/>
                      </a:lnTo>
                      <a:lnTo>
                        <a:pt x="684" y="539"/>
                      </a:lnTo>
                      <a:lnTo>
                        <a:pt x="689" y="539"/>
                      </a:lnTo>
                      <a:lnTo>
                        <a:pt x="686" y="551"/>
                      </a:lnTo>
                      <a:lnTo>
                        <a:pt x="688" y="552"/>
                      </a:lnTo>
                      <a:lnTo>
                        <a:pt x="694" y="550"/>
                      </a:lnTo>
                      <a:lnTo>
                        <a:pt x="697" y="551"/>
                      </a:lnTo>
                      <a:lnTo>
                        <a:pt x="694" y="560"/>
                      </a:lnTo>
                      <a:lnTo>
                        <a:pt x="708" y="559"/>
                      </a:lnTo>
                      <a:lnTo>
                        <a:pt x="714" y="567"/>
                      </a:lnTo>
                      <a:lnTo>
                        <a:pt x="714" y="578"/>
                      </a:lnTo>
                      <a:lnTo>
                        <a:pt x="716" y="588"/>
                      </a:lnTo>
                      <a:lnTo>
                        <a:pt x="720" y="583"/>
                      </a:lnTo>
                      <a:lnTo>
                        <a:pt x="737" y="588"/>
                      </a:lnTo>
                      <a:lnTo>
                        <a:pt x="738" y="582"/>
                      </a:lnTo>
                      <a:lnTo>
                        <a:pt x="750" y="590"/>
                      </a:lnTo>
                      <a:lnTo>
                        <a:pt x="762" y="577"/>
                      </a:lnTo>
                      <a:lnTo>
                        <a:pt x="766" y="577"/>
                      </a:lnTo>
                      <a:lnTo>
                        <a:pt x="768" y="582"/>
                      </a:lnTo>
                      <a:lnTo>
                        <a:pt x="775" y="578"/>
                      </a:lnTo>
                      <a:lnTo>
                        <a:pt x="789" y="575"/>
                      </a:lnTo>
                      <a:lnTo>
                        <a:pt x="800" y="576"/>
                      </a:lnTo>
                      <a:lnTo>
                        <a:pt x="799" y="584"/>
                      </a:lnTo>
                      <a:lnTo>
                        <a:pt x="795" y="588"/>
                      </a:lnTo>
                      <a:lnTo>
                        <a:pt x="794" y="597"/>
                      </a:lnTo>
                      <a:lnTo>
                        <a:pt x="794" y="608"/>
                      </a:lnTo>
                      <a:lnTo>
                        <a:pt x="775" y="608"/>
                      </a:lnTo>
                      <a:lnTo>
                        <a:pt x="772" y="611"/>
                      </a:lnTo>
                      <a:lnTo>
                        <a:pt x="740" y="602"/>
                      </a:lnTo>
                      <a:lnTo>
                        <a:pt x="723" y="619"/>
                      </a:lnTo>
                      <a:lnTo>
                        <a:pt x="714" y="629"/>
                      </a:lnTo>
                      <a:lnTo>
                        <a:pt x="702" y="626"/>
                      </a:lnTo>
                      <a:lnTo>
                        <a:pt x="687" y="630"/>
                      </a:lnTo>
                      <a:lnTo>
                        <a:pt x="692" y="633"/>
                      </a:lnTo>
                      <a:lnTo>
                        <a:pt x="686" y="635"/>
                      </a:lnTo>
                      <a:lnTo>
                        <a:pt x="681" y="641"/>
                      </a:lnTo>
                      <a:lnTo>
                        <a:pt x="680" y="646"/>
                      </a:lnTo>
                      <a:lnTo>
                        <a:pt x="677" y="649"/>
                      </a:lnTo>
                      <a:lnTo>
                        <a:pt x="670" y="651"/>
                      </a:lnTo>
                      <a:lnTo>
                        <a:pt x="659" y="658"/>
                      </a:lnTo>
                      <a:lnTo>
                        <a:pt x="643" y="657"/>
                      </a:lnTo>
                      <a:lnTo>
                        <a:pt x="639" y="656"/>
                      </a:lnTo>
                      <a:lnTo>
                        <a:pt x="628" y="646"/>
                      </a:lnTo>
                      <a:lnTo>
                        <a:pt x="632" y="638"/>
                      </a:lnTo>
                      <a:lnTo>
                        <a:pt x="632" y="629"/>
                      </a:lnTo>
                      <a:lnTo>
                        <a:pt x="634" y="620"/>
                      </a:lnTo>
                      <a:lnTo>
                        <a:pt x="633" y="610"/>
                      </a:lnTo>
                      <a:lnTo>
                        <a:pt x="628" y="599"/>
                      </a:lnTo>
                      <a:lnTo>
                        <a:pt x="621" y="598"/>
                      </a:lnTo>
                      <a:lnTo>
                        <a:pt x="614" y="598"/>
                      </a:lnTo>
                      <a:lnTo>
                        <a:pt x="607" y="590"/>
                      </a:lnTo>
                      <a:lnTo>
                        <a:pt x="595" y="583"/>
                      </a:lnTo>
                      <a:lnTo>
                        <a:pt x="579" y="583"/>
                      </a:lnTo>
                      <a:lnTo>
                        <a:pt x="579" y="581"/>
                      </a:lnTo>
                      <a:lnTo>
                        <a:pt x="581" y="575"/>
                      </a:lnTo>
                      <a:lnTo>
                        <a:pt x="591" y="570"/>
                      </a:lnTo>
                      <a:lnTo>
                        <a:pt x="605" y="556"/>
                      </a:lnTo>
                      <a:lnTo>
                        <a:pt x="613" y="550"/>
                      </a:lnTo>
                      <a:lnTo>
                        <a:pt x="641" y="541"/>
                      </a:lnTo>
                      <a:lnTo>
                        <a:pt x="645" y="539"/>
                      </a:lnTo>
                      <a:lnTo>
                        <a:pt x="641" y="536"/>
                      </a:lnTo>
                      <a:lnTo>
                        <a:pt x="640" y="529"/>
                      </a:lnTo>
                      <a:lnTo>
                        <a:pt x="634" y="523"/>
                      </a:lnTo>
                      <a:lnTo>
                        <a:pt x="628" y="529"/>
                      </a:lnTo>
                      <a:lnTo>
                        <a:pt x="618" y="524"/>
                      </a:lnTo>
                      <a:lnTo>
                        <a:pt x="618" y="519"/>
                      </a:lnTo>
                      <a:lnTo>
                        <a:pt x="610" y="522"/>
                      </a:lnTo>
                      <a:lnTo>
                        <a:pt x="608" y="525"/>
                      </a:lnTo>
                      <a:lnTo>
                        <a:pt x="601" y="525"/>
                      </a:lnTo>
                      <a:lnTo>
                        <a:pt x="579" y="530"/>
                      </a:lnTo>
                      <a:lnTo>
                        <a:pt x="563" y="524"/>
                      </a:lnTo>
                      <a:lnTo>
                        <a:pt x="557" y="518"/>
                      </a:lnTo>
                      <a:lnTo>
                        <a:pt x="551" y="516"/>
                      </a:lnTo>
                      <a:lnTo>
                        <a:pt x="539" y="517"/>
                      </a:lnTo>
                      <a:lnTo>
                        <a:pt x="538" y="513"/>
                      </a:lnTo>
                      <a:lnTo>
                        <a:pt x="551" y="503"/>
                      </a:lnTo>
                      <a:lnTo>
                        <a:pt x="549" y="501"/>
                      </a:lnTo>
                      <a:lnTo>
                        <a:pt x="533" y="498"/>
                      </a:lnTo>
                      <a:lnTo>
                        <a:pt x="528" y="496"/>
                      </a:lnTo>
                      <a:lnTo>
                        <a:pt x="536" y="492"/>
                      </a:lnTo>
                      <a:lnTo>
                        <a:pt x="560" y="496"/>
                      </a:lnTo>
                      <a:lnTo>
                        <a:pt x="563" y="495"/>
                      </a:lnTo>
                      <a:lnTo>
                        <a:pt x="560" y="491"/>
                      </a:lnTo>
                      <a:lnTo>
                        <a:pt x="554" y="490"/>
                      </a:lnTo>
                      <a:lnTo>
                        <a:pt x="548" y="481"/>
                      </a:lnTo>
                      <a:lnTo>
                        <a:pt x="543" y="471"/>
                      </a:lnTo>
                      <a:lnTo>
                        <a:pt x="541" y="479"/>
                      </a:lnTo>
                      <a:lnTo>
                        <a:pt x="533" y="482"/>
                      </a:lnTo>
                      <a:lnTo>
                        <a:pt x="524" y="485"/>
                      </a:lnTo>
                      <a:lnTo>
                        <a:pt x="526" y="475"/>
                      </a:lnTo>
                      <a:lnTo>
                        <a:pt x="520" y="480"/>
                      </a:lnTo>
                      <a:lnTo>
                        <a:pt x="508" y="486"/>
                      </a:lnTo>
                      <a:lnTo>
                        <a:pt x="492" y="489"/>
                      </a:lnTo>
                      <a:lnTo>
                        <a:pt x="485" y="492"/>
                      </a:lnTo>
                      <a:lnTo>
                        <a:pt x="478" y="495"/>
                      </a:lnTo>
                      <a:lnTo>
                        <a:pt x="477" y="502"/>
                      </a:lnTo>
                      <a:lnTo>
                        <a:pt x="466" y="520"/>
                      </a:lnTo>
                      <a:lnTo>
                        <a:pt x="461" y="519"/>
                      </a:lnTo>
                      <a:lnTo>
                        <a:pt x="457" y="511"/>
                      </a:lnTo>
                      <a:lnTo>
                        <a:pt x="450" y="509"/>
                      </a:lnTo>
                      <a:lnTo>
                        <a:pt x="446" y="504"/>
                      </a:lnTo>
                      <a:lnTo>
                        <a:pt x="449" y="512"/>
                      </a:lnTo>
                      <a:lnTo>
                        <a:pt x="457" y="519"/>
                      </a:lnTo>
                      <a:lnTo>
                        <a:pt x="458" y="530"/>
                      </a:lnTo>
                      <a:lnTo>
                        <a:pt x="453" y="541"/>
                      </a:lnTo>
                      <a:lnTo>
                        <a:pt x="449" y="546"/>
                      </a:lnTo>
                      <a:lnTo>
                        <a:pt x="434" y="547"/>
                      </a:lnTo>
                      <a:lnTo>
                        <a:pt x="431" y="552"/>
                      </a:lnTo>
                      <a:lnTo>
                        <a:pt x="426" y="555"/>
                      </a:lnTo>
                      <a:lnTo>
                        <a:pt x="425" y="562"/>
                      </a:lnTo>
                      <a:lnTo>
                        <a:pt x="420" y="560"/>
                      </a:lnTo>
                      <a:lnTo>
                        <a:pt x="419" y="550"/>
                      </a:lnTo>
                      <a:lnTo>
                        <a:pt x="418" y="546"/>
                      </a:lnTo>
                      <a:lnTo>
                        <a:pt x="418" y="566"/>
                      </a:lnTo>
                      <a:lnTo>
                        <a:pt x="419" y="581"/>
                      </a:lnTo>
                      <a:lnTo>
                        <a:pt x="417" y="582"/>
                      </a:lnTo>
                      <a:lnTo>
                        <a:pt x="411" y="578"/>
                      </a:lnTo>
                      <a:lnTo>
                        <a:pt x="402" y="578"/>
                      </a:lnTo>
                      <a:lnTo>
                        <a:pt x="393" y="582"/>
                      </a:lnTo>
                      <a:lnTo>
                        <a:pt x="379" y="584"/>
                      </a:lnTo>
                      <a:lnTo>
                        <a:pt x="368" y="592"/>
                      </a:lnTo>
                      <a:lnTo>
                        <a:pt x="356" y="593"/>
                      </a:lnTo>
                      <a:lnTo>
                        <a:pt x="344" y="576"/>
                      </a:lnTo>
                      <a:lnTo>
                        <a:pt x="336" y="577"/>
                      </a:lnTo>
                      <a:lnTo>
                        <a:pt x="336" y="573"/>
                      </a:lnTo>
                      <a:lnTo>
                        <a:pt x="345" y="573"/>
                      </a:lnTo>
                      <a:lnTo>
                        <a:pt x="350" y="567"/>
                      </a:lnTo>
                      <a:lnTo>
                        <a:pt x="352" y="560"/>
                      </a:lnTo>
                      <a:lnTo>
                        <a:pt x="354" y="552"/>
                      </a:lnTo>
                      <a:lnTo>
                        <a:pt x="363" y="547"/>
                      </a:lnTo>
                      <a:lnTo>
                        <a:pt x="364" y="539"/>
                      </a:lnTo>
                      <a:lnTo>
                        <a:pt x="369" y="534"/>
                      </a:lnTo>
                      <a:lnTo>
                        <a:pt x="376" y="530"/>
                      </a:lnTo>
                      <a:lnTo>
                        <a:pt x="379" y="506"/>
                      </a:lnTo>
                      <a:lnTo>
                        <a:pt x="382" y="498"/>
                      </a:lnTo>
                      <a:lnTo>
                        <a:pt x="391" y="495"/>
                      </a:lnTo>
                      <a:lnTo>
                        <a:pt x="395" y="501"/>
                      </a:lnTo>
                      <a:lnTo>
                        <a:pt x="402" y="497"/>
                      </a:lnTo>
                      <a:lnTo>
                        <a:pt x="425" y="503"/>
                      </a:lnTo>
                      <a:lnTo>
                        <a:pt x="431" y="498"/>
                      </a:lnTo>
                      <a:lnTo>
                        <a:pt x="435" y="491"/>
                      </a:lnTo>
                      <a:lnTo>
                        <a:pt x="431" y="484"/>
                      </a:lnTo>
                      <a:lnTo>
                        <a:pt x="434" y="476"/>
                      </a:lnTo>
                      <a:lnTo>
                        <a:pt x="433" y="468"/>
                      </a:lnTo>
                      <a:lnTo>
                        <a:pt x="428" y="460"/>
                      </a:lnTo>
                      <a:lnTo>
                        <a:pt x="413" y="453"/>
                      </a:lnTo>
                      <a:lnTo>
                        <a:pt x="407" y="439"/>
                      </a:lnTo>
                      <a:lnTo>
                        <a:pt x="408" y="431"/>
                      </a:lnTo>
                      <a:lnTo>
                        <a:pt x="406" y="423"/>
                      </a:lnTo>
                      <a:lnTo>
                        <a:pt x="398" y="422"/>
                      </a:lnTo>
                      <a:lnTo>
                        <a:pt x="395" y="415"/>
                      </a:lnTo>
                      <a:lnTo>
                        <a:pt x="387" y="409"/>
                      </a:lnTo>
                      <a:lnTo>
                        <a:pt x="391" y="393"/>
                      </a:lnTo>
                      <a:lnTo>
                        <a:pt x="391" y="385"/>
                      </a:lnTo>
                      <a:lnTo>
                        <a:pt x="391" y="377"/>
                      </a:lnTo>
                      <a:lnTo>
                        <a:pt x="387" y="369"/>
                      </a:lnTo>
                      <a:lnTo>
                        <a:pt x="379" y="372"/>
                      </a:lnTo>
                      <a:lnTo>
                        <a:pt x="368" y="360"/>
                      </a:lnTo>
                      <a:lnTo>
                        <a:pt x="359" y="358"/>
                      </a:lnTo>
                      <a:lnTo>
                        <a:pt x="343" y="361"/>
                      </a:lnTo>
                      <a:lnTo>
                        <a:pt x="336" y="358"/>
                      </a:lnTo>
                      <a:lnTo>
                        <a:pt x="317" y="342"/>
                      </a:lnTo>
                      <a:lnTo>
                        <a:pt x="310" y="339"/>
                      </a:lnTo>
                      <a:lnTo>
                        <a:pt x="294" y="334"/>
                      </a:lnTo>
                      <a:lnTo>
                        <a:pt x="278" y="339"/>
                      </a:lnTo>
                      <a:lnTo>
                        <a:pt x="269" y="340"/>
                      </a:lnTo>
                      <a:lnTo>
                        <a:pt x="261" y="339"/>
                      </a:lnTo>
                      <a:lnTo>
                        <a:pt x="254" y="342"/>
                      </a:lnTo>
                      <a:lnTo>
                        <a:pt x="248" y="353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62" name="Freeform 202"/>
                <p:cNvSpPr>
                  <a:spLocks/>
                </p:cNvSpPr>
                <p:nvPr/>
              </p:nvSpPr>
              <p:spPr bwMode="gray">
                <a:xfrm>
                  <a:off x="4870228" y="1959601"/>
                  <a:ext cx="67808" cy="84256"/>
                </a:xfrm>
                <a:custGeom>
                  <a:avLst/>
                  <a:gdLst>
                    <a:gd name="T0" fmla="*/ 8146 w 187"/>
                    <a:gd name="T1" fmla="*/ 19820 h 239"/>
                    <a:gd name="T2" fmla="*/ 8146 w 187"/>
                    <a:gd name="T3" fmla="*/ 18581 h 239"/>
                    <a:gd name="T4" fmla="*/ 7694 w 187"/>
                    <a:gd name="T5" fmla="*/ 17755 h 239"/>
                    <a:gd name="T6" fmla="*/ 7694 w 187"/>
                    <a:gd name="T7" fmla="*/ 16517 h 239"/>
                    <a:gd name="T8" fmla="*/ 7694 w 187"/>
                    <a:gd name="T9" fmla="*/ 15278 h 239"/>
                    <a:gd name="T10" fmla="*/ 7694 w 187"/>
                    <a:gd name="T11" fmla="*/ 13626 h 239"/>
                    <a:gd name="T12" fmla="*/ 7241 w 187"/>
                    <a:gd name="T13" fmla="*/ 11149 h 239"/>
                    <a:gd name="T14" fmla="*/ 6336 w 187"/>
                    <a:gd name="T15" fmla="*/ 9497 h 239"/>
                    <a:gd name="T16" fmla="*/ 5431 w 187"/>
                    <a:gd name="T17" fmla="*/ 7845 h 239"/>
                    <a:gd name="T18" fmla="*/ 4073 w 187"/>
                    <a:gd name="T19" fmla="*/ 6194 h 239"/>
                    <a:gd name="T20" fmla="*/ 4073 w 187"/>
                    <a:gd name="T21" fmla="*/ 4542 h 239"/>
                    <a:gd name="T22" fmla="*/ 3168 w 187"/>
                    <a:gd name="T23" fmla="*/ 3716 h 239"/>
                    <a:gd name="T24" fmla="*/ 1810 w 187"/>
                    <a:gd name="T25" fmla="*/ 2477 h 239"/>
                    <a:gd name="T26" fmla="*/ 905 w 187"/>
                    <a:gd name="T27" fmla="*/ 1652 h 239"/>
                    <a:gd name="T28" fmla="*/ 0 w 187"/>
                    <a:gd name="T29" fmla="*/ 1652 h 239"/>
                    <a:gd name="T30" fmla="*/ 453 w 187"/>
                    <a:gd name="T31" fmla="*/ 826 h 239"/>
                    <a:gd name="T32" fmla="*/ 1358 w 187"/>
                    <a:gd name="T33" fmla="*/ 413 h 239"/>
                    <a:gd name="T34" fmla="*/ 1810 w 187"/>
                    <a:gd name="T35" fmla="*/ 413 h 239"/>
                    <a:gd name="T36" fmla="*/ 2715 w 187"/>
                    <a:gd name="T37" fmla="*/ 413 h 239"/>
                    <a:gd name="T38" fmla="*/ 4073 w 187"/>
                    <a:gd name="T39" fmla="*/ 0 h 239"/>
                    <a:gd name="T40" fmla="*/ 5884 w 187"/>
                    <a:gd name="T41" fmla="*/ 413 h 239"/>
                    <a:gd name="T42" fmla="*/ 6336 w 187"/>
                    <a:gd name="T43" fmla="*/ 826 h 239"/>
                    <a:gd name="T44" fmla="*/ 8146 w 187"/>
                    <a:gd name="T45" fmla="*/ 2065 h 239"/>
                    <a:gd name="T46" fmla="*/ 8599 w 187"/>
                    <a:gd name="T47" fmla="*/ 2065 h 239"/>
                    <a:gd name="T48" fmla="*/ 10409 w 187"/>
                    <a:gd name="T49" fmla="*/ 2065 h 239"/>
                    <a:gd name="T50" fmla="*/ 10862 w 187"/>
                    <a:gd name="T51" fmla="*/ 2065 h 239"/>
                    <a:gd name="T52" fmla="*/ 12220 w 187"/>
                    <a:gd name="T53" fmla="*/ 3303 h 239"/>
                    <a:gd name="T54" fmla="*/ 12672 w 187"/>
                    <a:gd name="T55" fmla="*/ 2890 h 239"/>
                    <a:gd name="T56" fmla="*/ 13125 w 187"/>
                    <a:gd name="T57" fmla="*/ 3716 h 239"/>
                    <a:gd name="T58" fmla="*/ 13125 w 187"/>
                    <a:gd name="T59" fmla="*/ 4129 h 239"/>
                    <a:gd name="T60" fmla="*/ 13125 w 187"/>
                    <a:gd name="T61" fmla="*/ 4955 h 239"/>
                    <a:gd name="T62" fmla="*/ 12672 w 187"/>
                    <a:gd name="T63" fmla="*/ 6194 h 239"/>
                    <a:gd name="T64" fmla="*/ 13577 w 187"/>
                    <a:gd name="T65" fmla="*/ 6607 h 239"/>
                    <a:gd name="T66" fmla="*/ 13577 w 187"/>
                    <a:gd name="T67" fmla="*/ 7020 h 239"/>
                    <a:gd name="T68" fmla="*/ 14483 w 187"/>
                    <a:gd name="T69" fmla="*/ 7432 h 239"/>
                    <a:gd name="T70" fmla="*/ 14935 w 187"/>
                    <a:gd name="T71" fmla="*/ 7845 h 239"/>
                    <a:gd name="T72" fmla="*/ 14483 w 187"/>
                    <a:gd name="T73" fmla="*/ 8671 h 239"/>
                    <a:gd name="T74" fmla="*/ 15388 w 187"/>
                    <a:gd name="T75" fmla="*/ 9910 h 239"/>
                    <a:gd name="T76" fmla="*/ 16746 w 187"/>
                    <a:gd name="T77" fmla="*/ 10323 h 239"/>
                    <a:gd name="T78" fmla="*/ 17198 w 187"/>
                    <a:gd name="T79" fmla="*/ 11149 h 239"/>
                    <a:gd name="T80" fmla="*/ 17198 w 187"/>
                    <a:gd name="T81" fmla="*/ 11562 h 239"/>
                    <a:gd name="T82" fmla="*/ 16746 w 187"/>
                    <a:gd name="T83" fmla="*/ 12387 h 239"/>
                    <a:gd name="T84" fmla="*/ 17198 w 187"/>
                    <a:gd name="T85" fmla="*/ 13213 h 239"/>
                    <a:gd name="T86" fmla="*/ 16746 w 187"/>
                    <a:gd name="T87" fmla="*/ 13626 h 239"/>
                    <a:gd name="T88" fmla="*/ 16293 w 187"/>
                    <a:gd name="T89" fmla="*/ 14039 h 239"/>
                    <a:gd name="T90" fmla="*/ 14030 w 187"/>
                    <a:gd name="T91" fmla="*/ 13626 h 239"/>
                    <a:gd name="T92" fmla="*/ 13577 w 187"/>
                    <a:gd name="T93" fmla="*/ 14039 h 239"/>
                    <a:gd name="T94" fmla="*/ 13125 w 187"/>
                    <a:gd name="T95" fmla="*/ 13213 h 239"/>
                    <a:gd name="T96" fmla="*/ 12220 w 187"/>
                    <a:gd name="T97" fmla="*/ 13626 h 239"/>
                    <a:gd name="T98" fmla="*/ 12220 w 187"/>
                    <a:gd name="T99" fmla="*/ 14452 h 239"/>
                    <a:gd name="T100" fmla="*/ 11767 w 187"/>
                    <a:gd name="T101" fmla="*/ 16104 h 239"/>
                    <a:gd name="T102" fmla="*/ 11315 w 187"/>
                    <a:gd name="T103" fmla="*/ 16517 h 239"/>
                    <a:gd name="T104" fmla="*/ 10862 w 187"/>
                    <a:gd name="T105" fmla="*/ 16930 h 239"/>
                    <a:gd name="T106" fmla="*/ 10409 w 187"/>
                    <a:gd name="T107" fmla="*/ 17755 h 239"/>
                    <a:gd name="T108" fmla="*/ 9957 w 187"/>
                    <a:gd name="T109" fmla="*/ 18168 h 239"/>
                    <a:gd name="T110" fmla="*/ 9504 w 187"/>
                    <a:gd name="T111" fmla="*/ 18581 h 239"/>
                    <a:gd name="T112" fmla="*/ 9504 w 187"/>
                    <a:gd name="T113" fmla="*/ 19407 h 239"/>
                    <a:gd name="T114" fmla="*/ 9052 w 187"/>
                    <a:gd name="T115" fmla="*/ 19820 h 239"/>
                    <a:gd name="T116" fmla="*/ 8146 w 187"/>
                    <a:gd name="T117" fmla="*/ 19820 h 239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187"/>
                    <a:gd name="T178" fmla="*/ 0 h 239"/>
                    <a:gd name="T179" fmla="*/ 187 w 187"/>
                    <a:gd name="T180" fmla="*/ 239 h 239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187" h="239">
                      <a:moveTo>
                        <a:pt x="88" y="239"/>
                      </a:moveTo>
                      <a:lnTo>
                        <a:pt x="88" y="225"/>
                      </a:lnTo>
                      <a:lnTo>
                        <a:pt x="86" y="212"/>
                      </a:lnTo>
                      <a:lnTo>
                        <a:pt x="84" y="200"/>
                      </a:lnTo>
                      <a:lnTo>
                        <a:pt x="86" y="184"/>
                      </a:lnTo>
                      <a:lnTo>
                        <a:pt x="86" y="164"/>
                      </a:lnTo>
                      <a:lnTo>
                        <a:pt x="81" y="135"/>
                      </a:lnTo>
                      <a:lnTo>
                        <a:pt x="70" y="115"/>
                      </a:lnTo>
                      <a:lnTo>
                        <a:pt x="57" y="94"/>
                      </a:lnTo>
                      <a:lnTo>
                        <a:pt x="45" y="73"/>
                      </a:lnTo>
                      <a:lnTo>
                        <a:pt x="42" y="56"/>
                      </a:lnTo>
                      <a:lnTo>
                        <a:pt x="34" y="43"/>
                      </a:lnTo>
                      <a:lnTo>
                        <a:pt x="20" y="29"/>
                      </a:lnTo>
                      <a:lnTo>
                        <a:pt x="8" y="19"/>
                      </a:lnTo>
                      <a:lnTo>
                        <a:pt x="0" y="19"/>
                      </a:lnTo>
                      <a:lnTo>
                        <a:pt x="6" y="8"/>
                      </a:lnTo>
                      <a:lnTo>
                        <a:pt x="13" y="3"/>
                      </a:lnTo>
                      <a:lnTo>
                        <a:pt x="21" y="6"/>
                      </a:lnTo>
                      <a:lnTo>
                        <a:pt x="30" y="5"/>
                      </a:lnTo>
                      <a:lnTo>
                        <a:pt x="46" y="0"/>
                      </a:lnTo>
                      <a:lnTo>
                        <a:pt x="62" y="5"/>
                      </a:lnTo>
                      <a:lnTo>
                        <a:pt x="69" y="8"/>
                      </a:lnTo>
                      <a:lnTo>
                        <a:pt x="88" y="24"/>
                      </a:lnTo>
                      <a:lnTo>
                        <a:pt x="95" y="27"/>
                      </a:lnTo>
                      <a:lnTo>
                        <a:pt x="111" y="24"/>
                      </a:lnTo>
                      <a:lnTo>
                        <a:pt x="120" y="26"/>
                      </a:lnTo>
                      <a:lnTo>
                        <a:pt x="131" y="38"/>
                      </a:lnTo>
                      <a:lnTo>
                        <a:pt x="139" y="35"/>
                      </a:lnTo>
                      <a:lnTo>
                        <a:pt x="143" y="43"/>
                      </a:lnTo>
                      <a:lnTo>
                        <a:pt x="143" y="51"/>
                      </a:lnTo>
                      <a:lnTo>
                        <a:pt x="143" y="59"/>
                      </a:lnTo>
                      <a:lnTo>
                        <a:pt x="139" y="75"/>
                      </a:lnTo>
                      <a:lnTo>
                        <a:pt x="147" y="81"/>
                      </a:lnTo>
                      <a:lnTo>
                        <a:pt x="150" y="87"/>
                      </a:lnTo>
                      <a:lnTo>
                        <a:pt x="158" y="89"/>
                      </a:lnTo>
                      <a:lnTo>
                        <a:pt x="160" y="97"/>
                      </a:lnTo>
                      <a:lnTo>
                        <a:pt x="159" y="104"/>
                      </a:lnTo>
                      <a:lnTo>
                        <a:pt x="165" y="119"/>
                      </a:lnTo>
                      <a:lnTo>
                        <a:pt x="180" y="126"/>
                      </a:lnTo>
                      <a:lnTo>
                        <a:pt x="185" y="134"/>
                      </a:lnTo>
                      <a:lnTo>
                        <a:pt x="186" y="141"/>
                      </a:lnTo>
                      <a:lnTo>
                        <a:pt x="183" y="150"/>
                      </a:lnTo>
                      <a:lnTo>
                        <a:pt x="187" y="157"/>
                      </a:lnTo>
                      <a:lnTo>
                        <a:pt x="183" y="164"/>
                      </a:lnTo>
                      <a:lnTo>
                        <a:pt x="177" y="169"/>
                      </a:lnTo>
                      <a:lnTo>
                        <a:pt x="154" y="163"/>
                      </a:lnTo>
                      <a:lnTo>
                        <a:pt x="147" y="167"/>
                      </a:lnTo>
                      <a:lnTo>
                        <a:pt x="143" y="161"/>
                      </a:lnTo>
                      <a:lnTo>
                        <a:pt x="134" y="164"/>
                      </a:lnTo>
                      <a:lnTo>
                        <a:pt x="131" y="172"/>
                      </a:lnTo>
                      <a:lnTo>
                        <a:pt x="128" y="196"/>
                      </a:lnTo>
                      <a:lnTo>
                        <a:pt x="121" y="200"/>
                      </a:lnTo>
                      <a:lnTo>
                        <a:pt x="116" y="205"/>
                      </a:lnTo>
                      <a:lnTo>
                        <a:pt x="115" y="213"/>
                      </a:lnTo>
                      <a:lnTo>
                        <a:pt x="107" y="218"/>
                      </a:lnTo>
                      <a:lnTo>
                        <a:pt x="104" y="226"/>
                      </a:lnTo>
                      <a:lnTo>
                        <a:pt x="104" y="233"/>
                      </a:lnTo>
                      <a:lnTo>
                        <a:pt x="97" y="239"/>
                      </a:lnTo>
                      <a:lnTo>
                        <a:pt x="88" y="239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63" name="Freeform 203"/>
                <p:cNvSpPr>
                  <a:spLocks/>
                </p:cNvSpPr>
                <p:nvPr/>
              </p:nvSpPr>
              <p:spPr bwMode="gray">
                <a:xfrm>
                  <a:off x="4803677" y="1716348"/>
                  <a:ext cx="188355" cy="157639"/>
                </a:xfrm>
                <a:custGeom>
                  <a:avLst/>
                  <a:gdLst>
                    <a:gd name="T0" fmla="*/ 448 w 532"/>
                    <a:gd name="T1" fmla="*/ 30294 h 452"/>
                    <a:gd name="T2" fmla="*/ 2240 w 532"/>
                    <a:gd name="T3" fmla="*/ 27838 h 452"/>
                    <a:gd name="T4" fmla="*/ 3584 w 532"/>
                    <a:gd name="T5" fmla="*/ 23744 h 452"/>
                    <a:gd name="T6" fmla="*/ 3136 w 532"/>
                    <a:gd name="T7" fmla="*/ 17603 h 452"/>
                    <a:gd name="T8" fmla="*/ 6719 w 532"/>
                    <a:gd name="T9" fmla="*/ 17194 h 452"/>
                    <a:gd name="T10" fmla="*/ 8511 w 532"/>
                    <a:gd name="T11" fmla="*/ 16785 h 452"/>
                    <a:gd name="T12" fmla="*/ 9407 w 532"/>
                    <a:gd name="T13" fmla="*/ 15556 h 452"/>
                    <a:gd name="T14" fmla="*/ 11199 w 532"/>
                    <a:gd name="T15" fmla="*/ 14738 h 452"/>
                    <a:gd name="T16" fmla="*/ 12991 w 532"/>
                    <a:gd name="T17" fmla="*/ 15556 h 452"/>
                    <a:gd name="T18" fmla="*/ 12095 w 532"/>
                    <a:gd name="T19" fmla="*/ 13509 h 452"/>
                    <a:gd name="T20" fmla="*/ 12991 w 532"/>
                    <a:gd name="T21" fmla="*/ 11053 h 452"/>
                    <a:gd name="T22" fmla="*/ 13438 w 532"/>
                    <a:gd name="T23" fmla="*/ 9416 h 452"/>
                    <a:gd name="T24" fmla="*/ 15230 w 532"/>
                    <a:gd name="T25" fmla="*/ 8188 h 452"/>
                    <a:gd name="T26" fmla="*/ 17918 w 532"/>
                    <a:gd name="T27" fmla="*/ 6550 h 452"/>
                    <a:gd name="T28" fmla="*/ 16574 w 532"/>
                    <a:gd name="T29" fmla="*/ 5731 h 452"/>
                    <a:gd name="T30" fmla="*/ 17918 w 532"/>
                    <a:gd name="T31" fmla="*/ 4094 h 452"/>
                    <a:gd name="T32" fmla="*/ 18366 w 532"/>
                    <a:gd name="T33" fmla="*/ 4094 h 452"/>
                    <a:gd name="T34" fmla="*/ 19710 w 532"/>
                    <a:gd name="T35" fmla="*/ 2456 h 452"/>
                    <a:gd name="T36" fmla="*/ 22845 w 532"/>
                    <a:gd name="T37" fmla="*/ 2047 h 452"/>
                    <a:gd name="T38" fmla="*/ 24637 w 532"/>
                    <a:gd name="T39" fmla="*/ 0 h 452"/>
                    <a:gd name="T40" fmla="*/ 27325 w 532"/>
                    <a:gd name="T41" fmla="*/ 409 h 452"/>
                    <a:gd name="T42" fmla="*/ 29565 w 532"/>
                    <a:gd name="T43" fmla="*/ 1228 h 452"/>
                    <a:gd name="T44" fmla="*/ 31356 w 532"/>
                    <a:gd name="T45" fmla="*/ 3684 h 452"/>
                    <a:gd name="T46" fmla="*/ 34044 w 532"/>
                    <a:gd name="T47" fmla="*/ 2456 h 452"/>
                    <a:gd name="T48" fmla="*/ 36732 w 532"/>
                    <a:gd name="T49" fmla="*/ 2866 h 452"/>
                    <a:gd name="T50" fmla="*/ 38524 w 532"/>
                    <a:gd name="T51" fmla="*/ 4503 h 452"/>
                    <a:gd name="T52" fmla="*/ 38524 w 532"/>
                    <a:gd name="T53" fmla="*/ 6550 h 452"/>
                    <a:gd name="T54" fmla="*/ 38972 w 532"/>
                    <a:gd name="T55" fmla="*/ 8188 h 452"/>
                    <a:gd name="T56" fmla="*/ 38076 w 532"/>
                    <a:gd name="T57" fmla="*/ 9825 h 452"/>
                    <a:gd name="T58" fmla="*/ 39867 w 532"/>
                    <a:gd name="T59" fmla="*/ 12691 h 452"/>
                    <a:gd name="T60" fmla="*/ 42555 w 532"/>
                    <a:gd name="T61" fmla="*/ 15966 h 452"/>
                    <a:gd name="T62" fmla="*/ 43003 w 532"/>
                    <a:gd name="T63" fmla="*/ 17603 h 452"/>
                    <a:gd name="T64" fmla="*/ 46139 w 532"/>
                    <a:gd name="T65" fmla="*/ 18422 h 452"/>
                    <a:gd name="T66" fmla="*/ 47035 w 532"/>
                    <a:gd name="T67" fmla="*/ 19650 h 452"/>
                    <a:gd name="T68" fmla="*/ 47483 w 532"/>
                    <a:gd name="T69" fmla="*/ 21288 h 452"/>
                    <a:gd name="T70" fmla="*/ 45243 w 532"/>
                    <a:gd name="T71" fmla="*/ 23335 h 452"/>
                    <a:gd name="T72" fmla="*/ 42107 w 532"/>
                    <a:gd name="T73" fmla="*/ 22106 h 452"/>
                    <a:gd name="T74" fmla="*/ 40315 w 532"/>
                    <a:gd name="T75" fmla="*/ 23335 h 452"/>
                    <a:gd name="T76" fmla="*/ 41659 w 532"/>
                    <a:gd name="T77" fmla="*/ 25381 h 452"/>
                    <a:gd name="T78" fmla="*/ 42107 w 532"/>
                    <a:gd name="T79" fmla="*/ 27019 h 452"/>
                    <a:gd name="T80" fmla="*/ 42555 w 532"/>
                    <a:gd name="T81" fmla="*/ 28656 h 452"/>
                    <a:gd name="T82" fmla="*/ 40763 w 532"/>
                    <a:gd name="T83" fmla="*/ 31113 h 452"/>
                    <a:gd name="T84" fmla="*/ 37628 w 532"/>
                    <a:gd name="T85" fmla="*/ 32750 h 452"/>
                    <a:gd name="T86" fmla="*/ 37180 w 532"/>
                    <a:gd name="T87" fmla="*/ 34797 h 452"/>
                    <a:gd name="T88" fmla="*/ 36284 w 532"/>
                    <a:gd name="T89" fmla="*/ 36844 h 452"/>
                    <a:gd name="T90" fmla="*/ 34492 w 532"/>
                    <a:gd name="T91" fmla="*/ 36025 h 452"/>
                    <a:gd name="T92" fmla="*/ 31356 w 532"/>
                    <a:gd name="T93" fmla="*/ 36844 h 452"/>
                    <a:gd name="T94" fmla="*/ 29565 w 532"/>
                    <a:gd name="T95" fmla="*/ 34797 h 452"/>
                    <a:gd name="T96" fmla="*/ 26877 w 532"/>
                    <a:gd name="T97" fmla="*/ 35207 h 452"/>
                    <a:gd name="T98" fmla="*/ 24637 w 532"/>
                    <a:gd name="T99" fmla="*/ 34797 h 452"/>
                    <a:gd name="T100" fmla="*/ 22845 w 532"/>
                    <a:gd name="T101" fmla="*/ 35616 h 452"/>
                    <a:gd name="T102" fmla="*/ 21502 w 532"/>
                    <a:gd name="T103" fmla="*/ 34797 h 452"/>
                    <a:gd name="T104" fmla="*/ 19262 w 532"/>
                    <a:gd name="T105" fmla="*/ 33978 h 452"/>
                    <a:gd name="T106" fmla="*/ 17470 w 532"/>
                    <a:gd name="T107" fmla="*/ 33160 h 452"/>
                    <a:gd name="T108" fmla="*/ 14334 w 532"/>
                    <a:gd name="T109" fmla="*/ 32750 h 452"/>
                    <a:gd name="T110" fmla="*/ 10751 w 532"/>
                    <a:gd name="T111" fmla="*/ 31932 h 452"/>
                    <a:gd name="T112" fmla="*/ 5823 w 532"/>
                    <a:gd name="T113" fmla="*/ 32750 h 452"/>
                    <a:gd name="T114" fmla="*/ 3584 w 532"/>
                    <a:gd name="T115" fmla="*/ 34388 h 452"/>
                    <a:gd name="T116" fmla="*/ 1344 w 532"/>
                    <a:gd name="T117" fmla="*/ 34797 h 452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532"/>
                    <a:gd name="T178" fmla="*/ 0 h 452"/>
                    <a:gd name="T179" fmla="*/ 532 w 532"/>
                    <a:gd name="T180" fmla="*/ 452 h 452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532" h="452">
                      <a:moveTo>
                        <a:pt x="17" y="428"/>
                      </a:moveTo>
                      <a:lnTo>
                        <a:pt x="21" y="387"/>
                      </a:lnTo>
                      <a:lnTo>
                        <a:pt x="6" y="374"/>
                      </a:lnTo>
                      <a:lnTo>
                        <a:pt x="0" y="363"/>
                      </a:lnTo>
                      <a:lnTo>
                        <a:pt x="11" y="351"/>
                      </a:lnTo>
                      <a:lnTo>
                        <a:pt x="26" y="342"/>
                      </a:lnTo>
                      <a:lnTo>
                        <a:pt x="37" y="325"/>
                      </a:lnTo>
                      <a:lnTo>
                        <a:pt x="38" y="308"/>
                      </a:lnTo>
                      <a:lnTo>
                        <a:pt x="38" y="292"/>
                      </a:lnTo>
                      <a:lnTo>
                        <a:pt x="20" y="220"/>
                      </a:lnTo>
                      <a:lnTo>
                        <a:pt x="19" y="210"/>
                      </a:lnTo>
                      <a:lnTo>
                        <a:pt x="33" y="214"/>
                      </a:lnTo>
                      <a:lnTo>
                        <a:pt x="49" y="210"/>
                      </a:lnTo>
                      <a:lnTo>
                        <a:pt x="65" y="213"/>
                      </a:lnTo>
                      <a:lnTo>
                        <a:pt x="73" y="210"/>
                      </a:lnTo>
                      <a:lnTo>
                        <a:pt x="79" y="204"/>
                      </a:lnTo>
                      <a:lnTo>
                        <a:pt x="86" y="208"/>
                      </a:lnTo>
                      <a:lnTo>
                        <a:pt x="94" y="207"/>
                      </a:lnTo>
                      <a:lnTo>
                        <a:pt x="91" y="193"/>
                      </a:lnTo>
                      <a:lnTo>
                        <a:pt x="97" y="190"/>
                      </a:lnTo>
                      <a:lnTo>
                        <a:pt x="106" y="190"/>
                      </a:lnTo>
                      <a:lnTo>
                        <a:pt x="111" y="183"/>
                      </a:lnTo>
                      <a:lnTo>
                        <a:pt x="118" y="179"/>
                      </a:lnTo>
                      <a:lnTo>
                        <a:pt x="125" y="182"/>
                      </a:lnTo>
                      <a:lnTo>
                        <a:pt x="130" y="188"/>
                      </a:lnTo>
                      <a:lnTo>
                        <a:pt x="138" y="192"/>
                      </a:lnTo>
                      <a:lnTo>
                        <a:pt x="145" y="190"/>
                      </a:lnTo>
                      <a:lnTo>
                        <a:pt x="144" y="181"/>
                      </a:lnTo>
                      <a:lnTo>
                        <a:pt x="139" y="175"/>
                      </a:lnTo>
                      <a:lnTo>
                        <a:pt x="135" y="167"/>
                      </a:lnTo>
                      <a:lnTo>
                        <a:pt x="137" y="160"/>
                      </a:lnTo>
                      <a:lnTo>
                        <a:pt x="145" y="147"/>
                      </a:lnTo>
                      <a:lnTo>
                        <a:pt x="145" y="138"/>
                      </a:lnTo>
                      <a:lnTo>
                        <a:pt x="148" y="129"/>
                      </a:lnTo>
                      <a:lnTo>
                        <a:pt x="148" y="122"/>
                      </a:lnTo>
                      <a:lnTo>
                        <a:pt x="149" y="113"/>
                      </a:lnTo>
                      <a:lnTo>
                        <a:pt x="156" y="110"/>
                      </a:lnTo>
                      <a:lnTo>
                        <a:pt x="165" y="107"/>
                      </a:lnTo>
                      <a:lnTo>
                        <a:pt x="170" y="102"/>
                      </a:lnTo>
                      <a:lnTo>
                        <a:pt x="177" y="99"/>
                      </a:lnTo>
                      <a:lnTo>
                        <a:pt x="191" y="99"/>
                      </a:lnTo>
                      <a:lnTo>
                        <a:pt x="199" y="80"/>
                      </a:lnTo>
                      <a:lnTo>
                        <a:pt x="192" y="77"/>
                      </a:lnTo>
                      <a:lnTo>
                        <a:pt x="183" y="77"/>
                      </a:lnTo>
                      <a:lnTo>
                        <a:pt x="183" y="69"/>
                      </a:lnTo>
                      <a:lnTo>
                        <a:pt x="183" y="61"/>
                      </a:lnTo>
                      <a:lnTo>
                        <a:pt x="191" y="57"/>
                      </a:lnTo>
                      <a:lnTo>
                        <a:pt x="197" y="51"/>
                      </a:lnTo>
                      <a:lnTo>
                        <a:pt x="195" y="50"/>
                      </a:lnTo>
                      <a:lnTo>
                        <a:pt x="195" y="48"/>
                      </a:lnTo>
                      <a:lnTo>
                        <a:pt x="204" y="50"/>
                      </a:lnTo>
                      <a:lnTo>
                        <a:pt x="210" y="46"/>
                      </a:lnTo>
                      <a:lnTo>
                        <a:pt x="213" y="37"/>
                      </a:lnTo>
                      <a:lnTo>
                        <a:pt x="219" y="32"/>
                      </a:lnTo>
                      <a:lnTo>
                        <a:pt x="235" y="39"/>
                      </a:lnTo>
                      <a:lnTo>
                        <a:pt x="242" y="37"/>
                      </a:lnTo>
                      <a:lnTo>
                        <a:pt x="253" y="25"/>
                      </a:lnTo>
                      <a:lnTo>
                        <a:pt x="254" y="16"/>
                      </a:lnTo>
                      <a:lnTo>
                        <a:pt x="267" y="5"/>
                      </a:lnTo>
                      <a:lnTo>
                        <a:pt x="273" y="0"/>
                      </a:lnTo>
                      <a:lnTo>
                        <a:pt x="284" y="0"/>
                      </a:lnTo>
                      <a:lnTo>
                        <a:pt x="286" y="8"/>
                      </a:lnTo>
                      <a:lnTo>
                        <a:pt x="302" y="5"/>
                      </a:lnTo>
                      <a:lnTo>
                        <a:pt x="310" y="8"/>
                      </a:lnTo>
                      <a:lnTo>
                        <a:pt x="313" y="15"/>
                      </a:lnTo>
                      <a:lnTo>
                        <a:pt x="329" y="13"/>
                      </a:lnTo>
                      <a:lnTo>
                        <a:pt x="338" y="14"/>
                      </a:lnTo>
                      <a:lnTo>
                        <a:pt x="350" y="24"/>
                      </a:lnTo>
                      <a:lnTo>
                        <a:pt x="348" y="43"/>
                      </a:lnTo>
                      <a:lnTo>
                        <a:pt x="363" y="35"/>
                      </a:lnTo>
                      <a:lnTo>
                        <a:pt x="370" y="34"/>
                      </a:lnTo>
                      <a:lnTo>
                        <a:pt x="376" y="29"/>
                      </a:lnTo>
                      <a:lnTo>
                        <a:pt x="392" y="27"/>
                      </a:lnTo>
                      <a:lnTo>
                        <a:pt x="399" y="29"/>
                      </a:lnTo>
                      <a:lnTo>
                        <a:pt x="407" y="34"/>
                      </a:lnTo>
                      <a:lnTo>
                        <a:pt x="413" y="39"/>
                      </a:lnTo>
                      <a:lnTo>
                        <a:pt x="422" y="52"/>
                      </a:lnTo>
                      <a:lnTo>
                        <a:pt x="430" y="53"/>
                      </a:lnTo>
                      <a:lnTo>
                        <a:pt x="431" y="64"/>
                      </a:lnTo>
                      <a:lnTo>
                        <a:pt x="429" y="73"/>
                      </a:lnTo>
                      <a:lnTo>
                        <a:pt x="429" y="80"/>
                      </a:lnTo>
                      <a:lnTo>
                        <a:pt x="434" y="88"/>
                      </a:lnTo>
                      <a:lnTo>
                        <a:pt x="436" y="95"/>
                      </a:lnTo>
                      <a:lnTo>
                        <a:pt x="435" y="102"/>
                      </a:lnTo>
                      <a:lnTo>
                        <a:pt x="433" y="110"/>
                      </a:lnTo>
                      <a:lnTo>
                        <a:pt x="426" y="116"/>
                      </a:lnTo>
                      <a:lnTo>
                        <a:pt x="424" y="123"/>
                      </a:lnTo>
                      <a:lnTo>
                        <a:pt x="426" y="131"/>
                      </a:lnTo>
                      <a:lnTo>
                        <a:pt x="437" y="143"/>
                      </a:lnTo>
                      <a:lnTo>
                        <a:pt x="442" y="158"/>
                      </a:lnTo>
                      <a:lnTo>
                        <a:pt x="453" y="180"/>
                      </a:lnTo>
                      <a:lnTo>
                        <a:pt x="458" y="186"/>
                      </a:lnTo>
                      <a:lnTo>
                        <a:pt x="473" y="195"/>
                      </a:lnTo>
                      <a:lnTo>
                        <a:pt x="478" y="201"/>
                      </a:lnTo>
                      <a:lnTo>
                        <a:pt x="479" y="209"/>
                      </a:lnTo>
                      <a:lnTo>
                        <a:pt x="478" y="217"/>
                      </a:lnTo>
                      <a:lnTo>
                        <a:pt x="482" y="224"/>
                      </a:lnTo>
                      <a:lnTo>
                        <a:pt x="505" y="222"/>
                      </a:lnTo>
                      <a:lnTo>
                        <a:pt x="511" y="226"/>
                      </a:lnTo>
                      <a:lnTo>
                        <a:pt x="519" y="229"/>
                      </a:lnTo>
                      <a:lnTo>
                        <a:pt x="516" y="236"/>
                      </a:lnTo>
                      <a:lnTo>
                        <a:pt x="521" y="242"/>
                      </a:lnTo>
                      <a:lnTo>
                        <a:pt x="531" y="244"/>
                      </a:lnTo>
                      <a:lnTo>
                        <a:pt x="532" y="257"/>
                      </a:lnTo>
                      <a:lnTo>
                        <a:pt x="525" y="263"/>
                      </a:lnTo>
                      <a:lnTo>
                        <a:pt x="521" y="269"/>
                      </a:lnTo>
                      <a:lnTo>
                        <a:pt x="509" y="279"/>
                      </a:lnTo>
                      <a:lnTo>
                        <a:pt x="501" y="284"/>
                      </a:lnTo>
                      <a:lnTo>
                        <a:pt x="484" y="282"/>
                      </a:lnTo>
                      <a:lnTo>
                        <a:pt x="472" y="272"/>
                      </a:lnTo>
                      <a:lnTo>
                        <a:pt x="465" y="271"/>
                      </a:lnTo>
                      <a:lnTo>
                        <a:pt x="457" y="274"/>
                      </a:lnTo>
                      <a:lnTo>
                        <a:pt x="456" y="282"/>
                      </a:lnTo>
                      <a:lnTo>
                        <a:pt x="449" y="285"/>
                      </a:lnTo>
                      <a:lnTo>
                        <a:pt x="450" y="294"/>
                      </a:lnTo>
                      <a:lnTo>
                        <a:pt x="461" y="304"/>
                      </a:lnTo>
                      <a:lnTo>
                        <a:pt x="463" y="311"/>
                      </a:lnTo>
                      <a:lnTo>
                        <a:pt x="461" y="320"/>
                      </a:lnTo>
                      <a:lnTo>
                        <a:pt x="466" y="325"/>
                      </a:lnTo>
                      <a:lnTo>
                        <a:pt x="465" y="333"/>
                      </a:lnTo>
                      <a:lnTo>
                        <a:pt x="472" y="337"/>
                      </a:lnTo>
                      <a:lnTo>
                        <a:pt x="474" y="344"/>
                      </a:lnTo>
                      <a:lnTo>
                        <a:pt x="473" y="353"/>
                      </a:lnTo>
                      <a:lnTo>
                        <a:pt x="478" y="375"/>
                      </a:lnTo>
                      <a:lnTo>
                        <a:pt x="458" y="375"/>
                      </a:lnTo>
                      <a:lnTo>
                        <a:pt x="451" y="380"/>
                      </a:lnTo>
                      <a:lnTo>
                        <a:pt x="442" y="380"/>
                      </a:lnTo>
                      <a:lnTo>
                        <a:pt x="435" y="384"/>
                      </a:lnTo>
                      <a:lnTo>
                        <a:pt x="417" y="401"/>
                      </a:lnTo>
                      <a:lnTo>
                        <a:pt x="414" y="409"/>
                      </a:lnTo>
                      <a:lnTo>
                        <a:pt x="414" y="418"/>
                      </a:lnTo>
                      <a:lnTo>
                        <a:pt x="412" y="427"/>
                      </a:lnTo>
                      <a:lnTo>
                        <a:pt x="414" y="443"/>
                      </a:lnTo>
                      <a:lnTo>
                        <a:pt x="410" y="450"/>
                      </a:lnTo>
                      <a:lnTo>
                        <a:pt x="402" y="452"/>
                      </a:lnTo>
                      <a:lnTo>
                        <a:pt x="397" y="446"/>
                      </a:lnTo>
                      <a:lnTo>
                        <a:pt x="390" y="443"/>
                      </a:lnTo>
                      <a:lnTo>
                        <a:pt x="381" y="443"/>
                      </a:lnTo>
                      <a:lnTo>
                        <a:pt x="365" y="445"/>
                      </a:lnTo>
                      <a:lnTo>
                        <a:pt x="356" y="445"/>
                      </a:lnTo>
                      <a:lnTo>
                        <a:pt x="349" y="450"/>
                      </a:lnTo>
                      <a:lnTo>
                        <a:pt x="343" y="444"/>
                      </a:lnTo>
                      <a:lnTo>
                        <a:pt x="339" y="436"/>
                      </a:lnTo>
                      <a:lnTo>
                        <a:pt x="327" y="427"/>
                      </a:lnTo>
                      <a:lnTo>
                        <a:pt x="310" y="445"/>
                      </a:lnTo>
                      <a:lnTo>
                        <a:pt x="302" y="440"/>
                      </a:lnTo>
                      <a:lnTo>
                        <a:pt x="297" y="433"/>
                      </a:lnTo>
                      <a:lnTo>
                        <a:pt x="290" y="435"/>
                      </a:lnTo>
                      <a:lnTo>
                        <a:pt x="281" y="433"/>
                      </a:lnTo>
                      <a:lnTo>
                        <a:pt x="275" y="428"/>
                      </a:lnTo>
                      <a:lnTo>
                        <a:pt x="269" y="434"/>
                      </a:lnTo>
                      <a:lnTo>
                        <a:pt x="261" y="434"/>
                      </a:lnTo>
                      <a:lnTo>
                        <a:pt x="253" y="436"/>
                      </a:lnTo>
                      <a:lnTo>
                        <a:pt x="247" y="443"/>
                      </a:lnTo>
                      <a:lnTo>
                        <a:pt x="240" y="436"/>
                      </a:lnTo>
                      <a:lnTo>
                        <a:pt x="238" y="428"/>
                      </a:lnTo>
                      <a:lnTo>
                        <a:pt x="223" y="429"/>
                      </a:lnTo>
                      <a:lnTo>
                        <a:pt x="216" y="424"/>
                      </a:lnTo>
                      <a:lnTo>
                        <a:pt x="215" y="416"/>
                      </a:lnTo>
                      <a:lnTo>
                        <a:pt x="208" y="412"/>
                      </a:lnTo>
                      <a:lnTo>
                        <a:pt x="199" y="409"/>
                      </a:lnTo>
                      <a:lnTo>
                        <a:pt x="193" y="406"/>
                      </a:lnTo>
                      <a:lnTo>
                        <a:pt x="184" y="407"/>
                      </a:lnTo>
                      <a:lnTo>
                        <a:pt x="176" y="406"/>
                      </a:lnTo>
                      <a:lnTo>
                        <a:pt x="160" y="401"/>
                      </a:lnTo>
                      <a:lnTo>
                        <a:pt x="146" y="392"/>
                      </a:lnTo>
                      <a:lnTo>
                        <a:pt x="138" y="395"/>
                      </a:lnTo>
                      <a:lnTo>
                        <a:pt x="121" y="394"/>
                      </a:lnTo>
                      <a:lnTo>
                        <a:pt x="113" y="391"/>
                      </a:lnTo>
                      <a:lnTo>
                        <a:pt x="71" y="397"/>
                      </a:lnTo>
                      <a:lnTo>
                        <a:pt x="64" y="401"/>
                      </a:lnTo>
                      <a:lnTo>
                        <a:pt x="62" y="408"/>
                      </a:lnTo>
                      <a:lnTo>
                        <a:pt x="55" y="414"/>
                      </a:lnTo>
                      <a:lnTo>
                        <a:pt x="41" y="422"/>
                      </a:lnTo>
                      <a:lnTo>
                        <a:pt x="32" y="421"/>
                      </a:lnTo>
                      <a:lnTo>
                        <a:pt x="24" y="422"/>
                      </a:lnTo>
                      <a:lnTo>
                        <a:pt x="17" y="428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grpSp>
              <p:nvGrpSpPr>
                <p:cNvPr id="464" name="Group 204"/>
                <p:cNvGrpSpPr>
                  <a:grpSpLocks/>
                </p:cNvGrpSpPr>
                <p:nvPr/>
              </p:nvGrpSpPr>
              <p:grpSpPr bwMode="auto">
                <a:xfrm>
                  <a:off x="4660526" y="2046575"/>
                  <a:ext cx="76597" cy="76101"/>
                  <a:chOff x="2688" y="1930"/>
                  <a:chExt cx="43" cy="43"/>
                </a:xfrm>
                <a:solidFill>
                  <a:srgbClr val="D9D9D9"/>
                </a:solidFill>
              </p:grpSpPr>
              <p:sp>
                <p:nvSpPr>
                  <p:cNvPr id="489" name="Freeform 205"/>
                  <p:cNvSpPr>
                    <a:spLocks/>
                  </p:cNvSpPr>
                  <p:nvPr/>
                </p:nvSpPr>
                <p:spPr bwMode="gray">
                  <a:xfrm>
                    <a:off x="2688" y="1930"/>
                    <a:ext cx="43" cy="43"/>
                  </a:xfrm>
                  <a:custGeom>
                    <a:avLst/>
                    <a:gdLst>
                      <a:gd name="T0" fmla="*/ 6 w 215"/>
                      <a:gd name="T1" fmla="*/ 8 h 216"/>
                      <a:gd name="T2" fmla="*/ 5 w 215"/>
                      <a:gd name="T3" fmla="*/ 8 h 216"/>
                      <a:gd name="T4" fmla="*/ 5 w 215"/>
                      <a:gd name="T5" fmla="*/ 7 h 216"/>
                      <a:gd name="T6" fmla="*/ 4 w 215"/>
                      <a:gd name="T7" fmla="*/ 7 h 216"/>
                      <a:gd name="T8" fmla="*/ 3 w 215"/>
                      <a:gd name="T9" fmla="*/ 6 h 216"/>
                      <a:gd name="T10" fmla="*/ 2 w 215"/>
                      <a:gd name="T11" fmla="*/ 5 h 216"/>
                      <a:gd name="T12" fmla="*/ 1 w 215"/>
                      <a:gd name="T13" fmla="*/ 4 h 216"/>
                      <a:gd name="T14" fmla="*/ 1 w 215"/>
                      <a:gd name="T15" fmla="*/ 3 h 216"/>
                      <a:gd name="T16" fmla="*/ 1 w 215"/>
                      <a:gd name="T17" fmla="*/ 2 h 216"/>
                      <a:gd name="T18" fmla="*/ 0 w 215"/>
                      <a:gd name="T19" fmla="*/ 2 h 216"/>
                      <a:gd name="T20" fmla="*/ 0 w 215"/>
                      <a:gd name="T21" fmla="*/ 1 h 216"/>
                      <a:gd name="T22" fmla="*/ 0 w 215"/>
                      <a:gd name="T23" fmla="*/ 0 h 216"/>
                      <a:gd name="T24" fmla="*/ 1 w 215"/>
                      <a:gd name="T25" fmla="*/ 1 h 216"/>
                      <a:gd name="T26" fmla="*/ 2 w 215"/>
                      <a:gd name="T27" fmla="*/ 0 h 216"/>
                      <a:gd name="T28" fmla="*/ 3 w 215"/>
                      <a:gd name="T29" fmla="*/ 0 h 216"/>
                      <a:gd name="T30" fmla="*/ 4 w 215"/>
                      <a:gd name="T31" fmla="*/ 0 h 216"/>
                      <a:gd name="T32" fmla="*/ 4 w 215"/>
                      <a:gd name="T33" fmla="*/ 0 h 216"/>
                      <a:gd name="T34" fmla="*/ 5 w 215"/>
                      <a:gd name="T35" fmla="*/ 0 h 216"/>
                      <a:gd name="T36" fmla="*/ 5 w 215"/>
                      <a:gd name="T37" fmla="*/ 1 h 216"/>
                      <a:gd name="T38" fmla="*/ 6 w 215"/>
                      <a:gd name="T39" fmla="*/ 1 h 216"/>
                      <a:gd name="T40" fmla="*/ 6 w 215"/>
                      <a:gd name="T41" fmla="*/ 1 h 216"/>
                      <a:gd name="T42" fmla="*/ 7 w 215"/>
                      <a:gd name="T43" fmla="*/ 1 h 216"/>
                      <a:gd name="T44" fmla="*/ 7 w 215"/>
                      <a:gd name="T45" fmla="*/ 1 h 216"/>
                      <a:gd name="T46" fmla="*/ 8 w 215"/>
                      <a:gd name="T47" fmla="*/ 1 h 216"/>
                      <a:gd name="T48" fmla="*/ 8 w 215"/>
                      <a:gd name="T49" fmla="*/ 2 h 216"/>
                      <a:gd name="T50" fmla="*/ 8 w 215"/>
                      <a:gd name="T51" fmla="*/ 3 h 216"/>
                      <a:gd name="T52" fmla="*/ 8 w 215"/>
                      <a:gd name="T53" fmla="*/ 3 h 216"/>
                      <a:gd name="T54" fmla="*/ 8 w 215"/>
                      <a:gd name="T55" fmla="*/ 3 h 216"/>
                      <a:gd name="T56" fmla="*/ 8 w 215"/>
                      <a:gd name="T57" fmla="*/ 3 h 216"/>
                      <a:gd name="T58" fmla="*/ 8 w 215"/>
                      <a:gd name="T59" fmla="*/ 4 h 216"/>
                      <a:gd name="T60" fmla="*/ 8 w 215"/>
                      <a:gd name="T61" fmla="*/ 4 h 216"/>
                      <a:gd name="T62" fmla="*/ 8 w 215"/>
                      <a:gd name="T63" fmla="*/ 4 h 216"/>
                      <a:gd name="T64" fmla="*/ 8 w 215"/>
                      <a:gd name="T65" fmla="*/ 4 h 216"/>
                      <a:gd name="T66" fmla="*/ 8 w 215"/>
                      <a:gd name="T67" fmla="*/ 5 h 216"/>
                      <a:gd name="T68" fmla="*/ 8 w 215"/>
                      <a:gd name="T69" fmla="*/ 5 h 216"/>
                      <a:gd name="T70" fmla="*/ 8 w 215"/>
                      <a:gd name="T71" fmla="*/ 5 h 216"/>
                      <a:gd name="T72" fmla="*/ 7 w 215"/>
                      <a:gd name="T73" fmla="*/ 5 h 216"/>
                      <a:gd name="T74" fmla="*/ 7 w 215"/>
                      <a:gd name="T75" fmla="*/ 5 h 216"/>
                      <a:gd name="T76" fmla="*/ 7 w 215"/>
                      <a:gd name="T77" fmla="*/ 6 h 216"/>
                      <a:gd name="T78" fmla="*/ 7 w 215"/>
                      <a:gd name="T79" fmla="*/ 6 h 216"/>
                      <a:gd name="T80" fmla="*/ 7 w 215"/>
                      <a:gd name="T81" fmla="*/ 6 h 216"/>
                      <a:gd name="T82" fmla="*/ 7 w 215"/>
                      <a:gd name="T83" fmla="*/ 6 h 216"/>
                      <a:gd name="T84" fmla="*/ 6 w 215"/>
                      <a:gd name="T85" fmla="*/ 7 h 216"/>
                      <a:gd name="T86" fmla="*/ 6 w 215"/>
                      <a:gd name="T87" fmla="*/ 7 h 216"/>
                      <a:gd name="T88" fmla="*/ 6 w 215"/>
                      <a:gd name="T89" fmla="*/ 8 h 216"/>
                      <a:gd name="T90" fmla="*/ 6 w 215"/>
                      <a:gd name="T91" fmla="*/ 8 h 21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w 215"/>
                      <a:gd name="T139" fmla="*/ 0 h 216"/>
                      <a:gd name="T140" fmla="*/ 215 w 215"/>
                      <a:gd name="T141" fmla="*/ 216 h 216"/>
                    </a:gdLst>
                    <a:ahLst/>
                    <a:cxnLst>
                      <a:cxn ang="T92">
                        <a:pos x="T0" y="T1"/>
                      </a:cxn>
                      <a:cxn ang="T93">
                        <a:pos x="T2" y="T3"/>
                      </a:cxn>
                      <a:cxn ang="T94">
                        <a:pos x="T4" y="T5"/>
                      </a:cxn>
                      <a:cxn ang="T95">
                        <a:pos x="T6" y="T7"/>
                      </a:cxn>
                      <a:cxn ang="T96">
                        <a:pos x="T8" y="T9"/>
                      </a:cxn>
                      <a:cxn ang="T97">
                        <a:pos x="T10" y="T11"/>
                      </a:cxn>
                      <a:cxn ang="T98">
                        <a:pos x="T12" y="T13"/>
                      </a:cxn>
                      <a:cxn ang="T99">
                        <a:pos x="T14" y="T15"/>
                      </a:cxn>
                      <a:cxn ang="T100">
                        <a:pos x="T16" y="T17"/>
                      </a:cxn>
                      <a:cxn ang="T101">
                        <a:pos x="T18" y="T19"/>
                      </a:cxn>
                      <a:cxn ang="T102">
                        <a:pos x="T20" y="T21"/>
                      </a:cxn>
                      <a:cxn ang="T103">
                        <a:pos x="T22" y="T23"/>
                      </a:cxn>
                      <a:cxn ang="T104">
                        <a:pos x="T24" y="T25"/>
                      </a:cxn>
                      <a:cxn ang="T105">
                        <a:pos x="T26" y="T27"/>
                      </a:cxn>
                      <a:cxn ang="T106">
                        <a:pos x="T28" y="T29"/>
                      </a:cxn>
                      <a:cxn ang="T107">
                        <a:pos x="T30" y="T31"/>
                      </a:cxn>
                      <a:cxn ang="T108">
                        <a:pos x="T32" y="T33"/>
                      </a:cxn>
                      <a:cxn ang="T109">
                        <a:pos x="T34" y="T35"/>
                      </a:cxn>
                      <a:cxn ang="T110">
                        <a:pos x="T36" y="T37"/>
                      </a:cxn>
                      <a:cxn ang="T111">
                        <a:pos x="T38" y="T39"/>
                      </a:cxn>
                      <a:cxn ang="T112">
                        <a:pos x="T40" y="T41"/>
                      </a:cxn>
                      <a:cxn ang="T113">
                        <a:pos x="T42" y="T43"/>
                      </a:cxn>
                      <a:cxn ang="T114">
                        <a:pos x="T44" y="T45"/>
                      </a:cxn>
                      <a:cxn ang="T115">
                        <a:pos x="T46" y="T47"/>
                      </a:cxn>
                      <a:cxn ang="T116">
                        <a:pos x="T48" y="T49"/>
                      </a:cxn>
                      <a:cxn ang="T117">
                        <a:pos x="T50" y="T51"/>
                      </a:cxn>
                      <a:cxn ang="T118">
                        <a:pos x="T52" y="T53"/>
                      </a:cxn>
                      <a:cxn ang="T119">
                        <a:pos x="T54" y="T55"/>
                      </a:cxn>
                      <a:cxn ang="T120">
                        <a:pos x="T56" y="T57"/>
                      </a:cxn>
                      <a:cxn ang="T121">
                        <a:pos x="T58" y="T59"/>
                      </a:cxn>
                      <a:cxn ang="T122">
                        <a:pos x="T60" y="T61"/>
                      </a:cxn>
                      <a:cxn ang="T123">
                        <a:pos x="T62" y="T63"/>
                      </a:cxn>
                      <a:cxn ang="T124">
                        <a:pos x="T64" y="T65"/>
                      </a:cxn>
                      <a:cxn ang="T125">
                        <a:pos x="T66" y="T67"/>
                      </a:cxn>
                      <a:cxn ang="T126">
                        <a:pos x="T68" y="T69"/>
                      </a:cxn>
                      <a:cxn ang="T127">
                        <a:pos x="T70" y="T71"/>
                      </a:cxn>
                      <a:cxn ang="T128">
                        <a:pos x="T72" y="T73"/>
                      </a:cxn>
                      <a:cxn ang="T129">
                        <a:pos x="T74" y="T75"/>
                      </a:cxn>
                      <a:cxn ang="T130">
                        <a:pos x="T76" y="T77"/>
                      </a:cxn>
                      <a:cxn ang="T131">
                        <a:pos x="T78" y="T79"/>
                      </a:cxn>
                      <a:cxn ang="T132">
                        <a:pos x="T80" y="T81"/>
                      </a:cxn>
                      <a:cxn ang="T133">
                        <a:pos x="T82" y="T83"/>
                      </a:cxn>
                      <a:cxn ang="T134">
                        <a:pos x="T84" y="T85"/>
                      </a:cxn>
                      <a:cxn ang="T135">
                        <a:pos x="T86" y="T87"/>
                      </a:cxn>
                      <a:cxn ang="T136">
                        <a:pos x="T88" y="T89"/>
                      </a:cxn>
                      <a:cxn ang="T137">
                        <a:pos x="T90" y="T91"/>
                      </a:cxn>
                    </a:cxnLst>
                    <a:rect l="T138" t="T139" r="T140" b="T141"/>
                    <a:pathLst>
                      <a:path w="215" h="216">
                        <a:moveTo>
                          <a:pt x="149" y="216"/>
                        </a:moveTo>
                        <a:lnTo>
                          <a:pt x="149" y="208"/>
                        </a:lnTo>
                        <a:lnTo>
                          <a:pt x="145" y="208"/>
                        </a:lnTo>
                        <a:lnTo>
                          <a:pt x="146" y="203"/>
                        </a:lnTo>
                        <a:lnTo>
                          <a:pt x="137" y="202"/>
                        </a:lnTo>
                        <a:lnTo>
                          <a:pt x="129" y="192"/>
                        </a:lnTo>
                        <a:lnTo>
                          <a:pt x="122" y="191"/>
                        </a:lnTo>
                        <a:lnTo>
                          <a:pt x="114" y="185"/>
                        </a:lnTo>
                        <a:lnTo>
                          <a:pt x="114" y="180"/>
                        </a:lnTo>
                        <a:lnTo>
                          <a:pt x="106" y="179"/>
                        </a:lnTo>
                        <a:lnTo>
                          <a:pt x="99" y="184"/>
                        </a:lnTo>
                        <a:lnTo>
                          <a:pt x="98" y="179"/>
                        </a:lnTo>
                        <a:lnTo>
                          <a:pt x="105" y="175"/>
                        </a:lnTo>
                        <a:lnTo>
                          <a:pt x="83" y="151"/>
                        </a:lnTo>
                        <a:lnTo>
                          <a:pt x="82" y="140"/>
                        </a:lnTo>
                        <a:lnTo>
                          <a:pt x="77" y="136"/>
                        </a:lnTo>
                        <a:lnTo>
                          <a:pt x="72" y="133"/>
                        </a:lnTo>
                        <a:lnTo>
                          <a:pt x="52" y="114"/>
                        </a:lnTo>
                        <a:lnTo>
                          <a:pt x="51" y="109"/>
                        </a:lnTo>
                        <a:lnTo>
                          <a:pt x="41" y="95"/>
                        </a:lnTo>
                        <a:lnTo>
                          <a:pt x="35" y="93"/>
                        </a:lnTo>
                        <a:lnTo>
                          <a:pt x="27" y="81"/>
                        </a:lnTo>
                        <a:lnTo>
                          <a:pt x="22" y="79"/>
                        </a:lnTo>
                        <a:lnTo>
                          <a:pt x="23" y="73"/>
                        </a:lnTo>
                        <a:lnTo>
                          <a:pt x="25" y="71"/>
                        </a:lnTo>
                        <a:lnTo>
                          <a:pt x="22" y="65"/>
                        </a:lnTo>
                        <a:lnTo>
                          <a:pt x="22" y="60"/>
                        </a:lnTo>
                        <a:lnTo>
                          <a:pt x="16" y="54"/>
                        </a:lnTo>
                        <a:lnTo>
                          <a:pt x="12" y="41"/>
                        </a:lnTo>
                        <a:lnTo>
                          <a:pt x="7" y="40"/>
                        </a:lnTo>
                        <a:lnTo>
                          <a:pt x="0" y="34"/>
                        </a:lnTo>
                        <a:lnTo>
                          <a:pt x="0" y="31"/>
                        </a:lnTo>
                        <a:lnTo>
                          <a:pt x="3" y="29"/>
                        </a:lnTo>
                        <a:lnTo>
                          <a:pt x="2" y="25"/>
                        </a:lnTo>
                        <a:lnTo>
                          <a:pt x="2" y="6"/>
                        </a:lnTo>
                        <a:lnTo>
                          <a:pt x="8" y="0"/>
                        </a:lnTo>
                        <a:lnTo>
                          <a:pt x="17" y="2"/>
                        </a:lnTo>
                        <a:lnTo>
                          <a:pt x="17" y="4"/>
                        </a:lnTo>
                        <a:lnTo>
                          <a:pt x="30" y="19"/>
                        </a:lnTo>
                        <a:lnTo>
                          <a:pt x="34" y="19"/>
                        </a:lnTo>
                        <a:lnTo>
                          <a:pt x="43" y="2"/>
                        </a:lnTo>
                        <a:lnTo>
                          <a:pt x="61" y="4"/>
                        </a:lnTo>
                        <a:lnTo>
                          <a:pt x="65" y="0"/>
                        </a:lnTo>
                        <a:lnTo>
                          <a:pt x="67" y="0"/>
                        </a:lnTo>
                        <a:lnTo>
                          <a:pt x="79" y="8"/>
                        </a:lnTo>
                        <a:lnTo>
                          <a:pt x="83" y="8"/>
                        </a:lnTo>
                        <a:lnTo>
                          <a:pt x="86" y="6"/>
                        </a:lnTo>
                        <a:lnTo>
                          <a:pt x="89" y="9"/>
                        </a:lnTo>
                        <a:lnTo>
                          <a:pt x="104" y="12"/>
                        </a:lnTo>
                        <a:lnTo>
                          <a:pt x="105" y="9"/>
                        </a:lnTo>
                        <a:lnTo>
                          <a:pt x="108" y="9"/>
                        </a:lnTo>
                        <a:lnTo>
                          <a:pt x="116" y="17"/>
                        </a:lnTo>
                        <a:lnTo>
                          <a:pt x="119" y="17"/>
                        </a:lnTo>
                        <a:lnTo>
                          <a:pt x="125" y="9"/>
                        </a:lnTo>
                        <a:lnTo>
                          <a:pt x="129" y="9"/>
                        </a:lnTo>
                        <a:lnTo>
                          <a:pt x="132" y="14"/>
                        </a:lnTo>
                        <a:lnTo>
                          <a:pt x="135" y="16"/>
                        </a:lnTo>
                        <a:lnTo>
                          <a:pt x="137" y="11"/>
                        </a:lnTo>
                        <a:lnTo>
                          <a:pt x="148" y="12"/>
                        </a:lnTo>
                        <a:lnTo>
                          <a:pt x="152" y="18"/>
                        </a:lnTo>
                        <a:lnTo>
                          <a:pt x="154" y="17"/>
                        </a:lnTo>
                        <a:lnTo>
                          <a:pt x="154" y="14"/>
                        </a:lnTo>
                        <a:lnTo>
                          <a:pt x="162" y="14"/>
                        </a:lnTo>
                        <a:lnTo>
                          <a:pt x="168" y="22"/>
                        </a:lnTo>
                        <a:lnTo>
                          <a:pt x="167" y="27"/>
                        </a:lnTo>
                        <a:lnTo>
                          <a:pt x="167" y="28"/>
                        </a:lnTo>
                        <a:lnTo>
                          <a:pt x="173" y="33"/>
                        </a:lnTo>
                        <a:lnTo>
                          <a:pt x="180" y="33"/>
                        </a:lnTo>
                        <a:lnTo>
                          <a:pt x="186" y="28"/>
                        </a:lnTo>
                        <a:lnTo>
                          <a:pt x="199" y="28"/>
                        </a:lnTo>
                        <a:lnTo>
                          <a:pt x="201" y="31"/>
                        </a:lnTo>
                        <a:lnTo>
                          <a:pt x="200" y="35"/>
                        </a:lnTo>
                        <a:lnTo>
                          <a:pt x="200" y="39"/>
                        </a:lnTo>
                        <a:lnTo>
                          <a:pt x="195" y="46"/>
                        </a:lnTo>
                        <a:lnTo>
                          <a:pt x="190" y="57"/>
                        </a:lnTo>
                        <a:lnTo>
                          <a:pt x="188" y="59"/>
                        </a:lnTo>
                        <a:lnTo>
                          <a:pt x="188" y="61"/>
                        </a:lnTo>
                        <a:lnTo>
                          <a:pt x="189" y="63"/>
                        </a:lnTo>
                        <a:lnTo>
                          <a:pt x="185" y="68"/>
                        </a:lnTo>
                        <a:lnTo>
                          <a:pt x="188" y="76"/>
                        </a:lnTo>
                        <a:lnTo>
                          <a:pt x="191" y="76"/>
                        </a:lnTo>
                        <a:lnTo>
                          <a:pt x="194" y="78"/>
                        </a:lnTo>
                        <a:lnTo>
                          <a:pt x="197" y="77"/>
                        </a:lnTo>
                        <a:lnTo>
                          <a:pt x="199" y="79"/>
                        </a:lnTo>
                        <a:lnTo>
                          <a:pt x="200" y="83"/>
                        </a:lnTo>
                        <a:lnTo>
                          <a:pt x="203" y="87"/>
                        </a:lnTo>
                        <a:lnTo>
                          <a:pt x="207" y="87"/>
                        </a:lnTo>
                        <a:lnTo>
                          <a:pt x="207" y="88"/>
                        </a:lnTo>
                        <a:lnTo>
                          <a:pt x="207" y="90"/>
                        </a:lnTo>
                        <a:lnTo>
                          <a:pt x="212" y="93"/>
                        </a:lnTo>
                        <a:lnTo>
                          <a:pt x="215" y="94"/>
                        </a:lnTo>
                        <a:lnTo>
                          <a:pt x="215" y="97"/>
                        </a:lnTo>
                        <a:lnTo>
                          <a:pt x="211" y="102"/>
                        </a:lnTo>
                        <a:lnTo>
                          <a:pt x="202" y="102"/>
                        </a:lnTo>
                        <a:lnTo>
                          <a:pt x="197" y="98"/>
                        </a:lnTo>
                        <a:lnTo>
                          <a:pt x="195" y="98"/>
                        </a:lnTo>
                        <a:lnTo>
                          <a:pt x="194" y="100"/>
                        </a:lnTo>
                        <a:lnTo>
                          <a:pt x="195" y="102"/>
                        </a:lnTo>
                        <a:lnTo>
                          <a:pt x="201" y="109"/>
                        </a:lnTo>
                        <a:lnTo>
                          <a:pt x="207" y="117"/>
                        </a:lnTo>
                        <a:lnTo>
                          <a:pt x="210" y="119"/>
                        </a:lnTo>
                        <a:lnTo>
                          <a:pt x="208" y="126"/>
                        </a:lnTo>
                        <a:lnTo>
                          <a:pt x="207" y="129"/>
                        </a:lnTo>
                        <a:lnTo>
                          <a:pt x="205" y="130"/>
                        </a:lnTo>
                        <a:lnTo>
                          <a:pt x="202" y="129"/>
                        </a:lnTo>
                        <a:lnTo>
                          <a:pt x="200" y="129"/>
                        </a:lnTo>
                        <a:lnTo>
                          <a:pt x="197" y="132"/>
                        </a:lnTo>
                        <a:lnTo>
                          <a:pt x="192" y="135"/>
                        </a:lnTo>
                        <a:lnTo>
                          <a:pt x="189" y="135"/>
                        </a:lnTo>
                        <a:lnTo>
                          <a:pt x="186" y="136"/>
                        </a:lnTo>
                        <a:lnTo>
                          <a:pt x="184" y="136"/>
                        </a:lnTo>
                        <a:lnTo>
                          <a:pt x="183" y="133"/>
                        </a:lnTo>
                        <a:lnTo>
                          <a:pt x="180" y="133"/>
                        </a:lnTo>
                        <a:lnTo>
                          <a:pt x="176" y="137"/>
                        </a:lnTo>
                        <a:lnTo>
                          <a:pt x="178" y="140"/>
                        </a:lnTo>
                        <a:lnTo>
                          <a:pt x="181" y="141"/>
                        </a:lnTo>
                        <a:lnTo>
                          <a:pt x="183" y="146"/>
                        </a:lnTo>
                        <a:lnTo>
                          <a:pt x="184" y="149"/>
                        </a:lnTo>
                        <a:lnTo>
                          <a:pt x="184" y="154"/>
                        </a:lnTo>
                        <a:lnTo>
                          <a:pt x="183" y="157"/>
                        </a:lnTo>
                        <a:lnTo>
                          <a:pt x="180" y="157"/>
                        </a:lnTo>
                        <a:lnTo>
                          <a:pt x="179" y="154"/>
                        </a:lnTo>
                        <a:lnTo>
                          <a:pt x="178" y="149"/>
                        </a:lnTo>
                        <a:lnTo>
                          <a:pt x="175" y="148"/>
                        </a:lnTo>
                        <a:lnTo>
                          <a:pt x="172" y="148"/>
                        </a:lnTo>
                        <a:lnTo>
                          <a:pt x="163" y="156"/>
                        </a:lnTo>
                        <a:lnTo>
                          <a:pt x="162" y="160"/>
                        </a:lnTo>
                        <a:lnTo>
                          <a:pt x="160" y="163"/>
                        </a:lnTo>
                        <a:lnTo>
                          <a:pt x="160" y="170"/>
                        </a:lnTo>
                        <a:lnTo>
                          <a:pt x="158" y="173"/>
                        </a:lnTo>
                        <a:lnTo>
                          <a:pt x="153" y="173"/>
                        </a:lnTo>
                        <a:lnTo>
                          <a:pt x="151" y="175"/>
                        </a:lnTo>
                        <a:lnTo>
                          <a:pt x="151" y="184"/>
                        </a:lnTo>
                        <a:lnTo>
                          <a:pt x="149" y="185"/>
                        </a:lnTo>
                        <a:lnTo>
                          <a:pt x="149" y="189"/>
                        </a:lnTo>
                        <a:lnTo>
                          <a:pt x="152" y="194"/>
                        </a:lnTo>
                        <a:lnTo>
                          <a:pt x="154" y="196"/>
                        </a:lnTo>
                        <a:lnTo>
                          <a:pt x="154" y="201"/>
                        </a:lnTo>
                        <a:lnTo>
                          <a:pt x="149" y="208"/>
                        </a:lnTo>
                        <a:lnTo>
                          <a:pt x="149" y="216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  <p:sp>
                <p:nvSpPr>
                  <p:cNvPr id="490" name="Freeform 206"/>
                  <p:cNvSpPr>
                    <a:spLocks/>
                  </p:cNvSpPr>
                  <p:nvPr/>
                </p:nvSpPr>
                <p:spPr bwMode="gray">
                  <a:xfrm>
                    <a:off x="2703" y="1965"/>
                    <a:ext cx="15" cy="8"/>
                  </a:xfrm>
                  <a:custGeom>
                    <a:avLst/>
                    <a:gdLst>
                      <a:gd name="T0" fmla="*/ 3 w 75"/>
                      <a:gd name="T1" fmla="*/ 2 h 42"/>
                      <a:gd name="T2" fmla="*/ 2 w 75"/>
                      <a:gd name="T3" fmla="*/ 1 h 42"/>
                      <a:gd name="T4" fmla="*/ 1 w 75"/>
                      <a:gd name="T5" fmla="*/ 1 h 42"/>
                      <a:gd name="T6" fmla="*/ 1 w 75"/>
                      <a:gd name="T7" fmla="*/ 0 h 42"/>
                      <a:gd name="T8" fmla="*/ 0 w 75"/>
                      <a:gd name="T9" fmla="*/ 0 h 42"/>
                      <a:gd name="T10" fmla="*/ 0 w 75"/>
                      <a:gd name="T11" fmla="*/ 0 h 42"/>
                      <a:gd name="T12" fmla="*/ 1 w 75"/>
                      <a:gd name="T13" fmla="*/ 0 h 42"/>
                      <a:gd name="T14" fmla="*/ 1 w 75"/>
                      <a:gd name="T15" fmla="*/ 0 h 42"/>
                      <a:gd name="T16" fmla="*/ 1 w 75"/>
                      <a:gd name="T17" fmla="*/ 0 h 42"/>
                      <a:gd name="T18" fmla="*/ 1 w 75"/>
                      <a:gd name="T19" fmla="*/ 0 h 42"/>
                      <a:gd name="T20" fmla="*/ 2 w 75"/>
                      <a:gd name="T21" fmla="*/ 0 h 42"/>
                      <a:gd name="T22" fmla="*/ 2 w 75"/>
                      <a:gd name="T23" fmla="*/ 0 h 42"/>
                      <a:gd name="T24" fmla="*/ 2 w 75"/>
                      <a:gd name="T25" fmla="*/ 1 h 42"/>
                      <a:gd name="T26" fmla="*/ 2 w 75"/>
                      <a:gd name="T27" fmla="*/ 1 h 42"/>
                      <a:gd name="T28" fmla="*/ 3 w 75"/>
                      <a:gd name="T29" fmla="*/ 1 h 42"/>
                      <a:gd name="T30" fmla="*/ 3 w 75"/>
                      <a:gd name="T31" fmla="*/ 1 h 42"/>
                      <a:gd name="T32" fmla="*/ 3 w 75"/>
                      <a:gd name="T33" fmla="*/ 1 h 42"/>
                      <a:gd name="T34" fmla="*/ 3 w 75"/>
                      <a:gd name="T35" fmla="*/ 1 h 42"/>
                      <a:gd name="T36" fmla="*/ 3 w 75"/>
                      <a:gd name="T37" fmla="*/ 2 h 42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w 75"/>
                      <a:gd name="T58" fmla="*/ 0 h 42"/>
                      <a:gd name="T59" fmla="*/ 75 w 75"/>
                      <a:gd name="T60" fmla="*/ 42 h 42"/>
                    </a:gdLst>
                    <a:ahLst/>
                    <a:cxnLst>
                      <a:cxn ang="T38">
                        <a:pos x="T0" y="T1"/>
                      </a:cxn>
                      <a:cxn ang="T39">
                        <a:pos x="T2" y="T3"/>
                      </a:cxn>
                      <a:cxn ang="T40">
                        <a:pos x="T4" y="T5"/>
                      </a:cxn>
                      <a:cxn ang="T41">
                        <a:pos x="T6" y="T7"/>
                      </a:cxn>
                      <a:cxn ang="T42">
                        <a:pos x="T8" y="T9"/>
                      </a:cxn>
                      <a:cxn ang="T43">
                        <a:pos x="T10" y="T11"/>
                      </a:cxn>
                      <a:cxn ang="T44">
                        <a:pos x="T12" y="T13"/>
                      </a:cxn>
                      <a:cxn ang="T45">
                        <a:pos x="T14" y="T15"/>
                      </a:cxn>
                      <a:cxn ang="T46">
                        <a:pos x="T16" y="T17"/>
                      </a:cxn>
                      <a:cxn ang="T47">
                        <a:pos x="T18" y="T19"/>
                      </a:cxn>
                      <a:cxn ang="T48">
                        <a:pos x="T20" y="T21"/>
                      </a:cxn>
                      <a:cxn ang="T49">
                        <a:pos x="T22" y="T23"/>
                      </a:cxn>
                      <a:cxn ang="T50">
                        <a:pos x="T24" y="T25"/>
                      </a:cxn>
                      <a:cxn ang="T51">
                        <a:pos x="T26" y="T27"/>
                      </a:cxn>
                      <a:cxn ang="T52">
                        <a:pos x="T28" y="T29"/>
                      </a:cxn>
                      <a:cxn ang="T53">
                        <a:pos x="T30" y="T31"/>
                      </a:cxn>
                      <a:cxn ang="T54">
                        <a:pos x="T32" y="T33"/>
                      </a:cxn>
                      <a:cxn ang="T55">
                        <a:pos x="T34" y="T35"/>
                      </a:cxn>
                      <a:cxn ang="T56">
                        <a:pos x="T36" y="T37"/>
                      </a:cxn>
                    </a:cxnLst>
                    <a:rect l="T57" t="T58" r="T59" b="T60"/>
                    <a:pathLst>
                      <a:path w="75" h="42">
                        <a:moveTo>
                          <a:pt x="75" y="42"/>
                        </a:moveTo>
                        <a:lnTo>
                          <a:pt x="45" y="20"/>
                        </a:lnTo>
                        <a:lnTo>
                          <a:pt x="29" y="17"/>
                        </a:lnTo>
                        <a:lnTo>
                          <a:pt x="13" y="7"/>
                        </a:lnTo>
                        <a:lnTo>
                          <a:pt x="0" y="5"/>
                        </a:lnTo>
                        <a:lnTo>
                          <a:pt x="4" y="0"/>
                        </a:lnTo>
                        <a:lnTo>
                          <a:pt x="15" y="2"/>
                        </a:lnTo>
                        <a:lnTo>
                          <a:pt x="20" y="10"/>
                        </a:lnTo>
                        <a:lnTo>
                          <a:pt x="25" y="10"/>
                        </a:lnTo>
                        <a:lnTo>
                          <a:pt x="32" y="5"/>
                        </a:lnTo>
                        <a:lnTo>
                          <a:pt x="40" y="6"/>
                        </a:lnTo>
                        <a:lnTo>
                          <a:pt x="40" y="11"/>
                        </a:lnTo>
                        <a:lnTo>
                          <a:pt x="48" y="17"/>
                        </a:lnTo>
                        <a:lnTo>
                          <a:pt x="55" y="18"/>
                        </a:lnTo>
                        <a:lnTo>
                          <a:pt x="63" y="28"/>
                        </a:lnTo>
                        <a:lnTo>
                          <a:pt x="72" y="29"/>
                        </a:lnTo>
                        <a:lnTo>
                          <a:pt x="71" y="34"/>
                        </a:lnTo>
                        <a:lnTo>
                          <a:pt x="75" y="34"/>
                        </a:lnTo>
                        <a:lnTo>
                          <a:pt x="75" y="42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ru-RU" sz="1400"/>
                  </a:p>
                </p:txBody>
              </p:sp>
            </p:grpSp>
            <p:sp>
              <p:nvSpPr>
                <p:cNvPr id="465" name="Freeform 207"/>
                <p:cNvSpPr>
                  <a:spLocks/>
                </p:cNvSpPr>
                <p:nvPr/>
              </p:nvSpPr>
              <p:spPr bwMode="gray">
                <a:xfrm>
                  <a:off x="4767261" y="2230034"/>
                  <a:ext cx="43950" cy="46205"/>
                </a:xfrm>
                <a:custGeom>
                  <a:avLst/>
                  <a:gdLst>
                    <a:gd name="T0" fmla="*/ 4350 w 128"/>
                    <a:gd name="T1" fmla="*/ 0 h 131"/>
                    <a:gd name="T2" fmla="*/ 3045 w 128"/>
                    <a:gd name="T3" fmla="*/ 0 h 131"/>
                    <a:gd name="T4" fmla="*/ 1740 w 128"/>
                    <a:gd name="T5" fmla="*/ 816 h 131"/>
                    <a:gd name="T6" fmla="*/ 1305 w 128"/>
                    <a:gd name="T7" fmla="*/ 816 h 131"/>
                    <a:gd name="T8" fmla="*/ 0 w 128"/>
                    <a:gd name="T9" fmla="*/ 2448 h 131"/>
                    <a:gd name="T10" fmla="*/ 0 w 128"/>
                    <a:gd name="T11" fmla="*/ 2856 h 131"/>
                    <a:gd name="T12" fmla="*/ 435 w 128"/>
                    <a:gd name="T13" fmla="*/ 4081 h 131"/>
                    <a:gd name="T14" fmla="*/ 1740 w 128"/>
                    <a:gd name="T15" fmla="*/ 4897 h 131"/>
                    <a:gd name="T16" fmla="*/ 2175 w 128"/>
                    <a:gd name="T17" fmla="*/ 5713 h 131"/>
                    <a:gd name="T18" fmla="*/ 1740 w 128"/>
                    <a:gd name="T19" fmla="*/ 6937 h 131"/>
                    <a:gd name="T20" fmla="*/ 2175 w 128"/>
                    <a:gd name="T21" fmla="*/ 8161 h 131"/>
                    <a:gd name="T22" fmla="*/ 2610 w 128"/>
                    <a:gd name="T23" fmla="*/ 8569 h 131"/>
                    <a:gd name="T24" fmla="*/ 3480 w 128"/>
                    <a:gd name="T25" fmla="*/ 8569 h 131"/>
                    <a:gd name="T26" fmla="*/ 3480 w 128"/>
                    <a:gd name="T27" fmla="*/ 7753 h 131"/>
                    <a:gd name="T28" fmla="*/ 4350 w 128"/>
                    <a:gd name="T29" fmla="*/ 7345 h 131"/>
                    <a:gd name="T30" fmla="*/ 4350 w 128"/>
                    <a:gd name="T31" fmla="*/ 7753 h 131"/>
                    <a:gd name="T32" fmla="*/ 5220 w 128"/>
                    <a:gd name="T33" fmla="*/ 8161 h 131"/>
                    <a:gd name="T34" fmla="*/ 5655 w 128"/>
                    <a:gd name="T35" fmla="*/ 9793 h 131"/>
                    <a:gd name="T36" fmla="*/ 5655 w 128"/>
                    <a:gd name="T37" fmla="*/ 10610 h 131"/>
                    <a:gd name="T38" fmla="*/ 6090 w 128"/>
                    <a:gd name="T39" fmla="*/ 10610 h 131"/>
                    <a:gd name="T40" fmla="*/ 6525 w 128"/>
                    <a:gd name="T41" fmla="*/ 8977 h 131"/>
                    <a:gd name="T42" fmla="*/ 7395 w 128"/>
                    <a:gd name="T43" fmla="*/ 8569 h 131"/>
                    <a:gd name="T44" fmla="*/ 7830 w 128"/>
                    <a:gd name="T45" fmla="*/ 9385 h 131"/>
                    <a:gd name="T46" fmla="*/ 8265 w 128"/>
                    <a:gd name="T47" fmla="*/ 10202 h 131"/>
                    <a:gd name="T48" fmla="*/ 9135 w 128"/>
                    <a:gd name="T49" fmla="*/ 10610 h 131"/>
                    <a:gd name="T50" fmla="*/ 9135 w 128"/>
                    <a:gd name="T51" fmla="*/ 8569 h 131"/>
                    <a:gd name="T52" fmla="*/ 8265 w 128"/>
                    <a:gd name="T53" fmla="*/ 6121 h 131"/>
                    <a:gd name="T54" fmla="*/ 7830 w 128"/>
                    <a:gd name="T55" fmla="*/ 5305 h 131"/>
                    <a:gd name="T56" fmla="*/ 7395 w 128"/>
                    <a:gd name="T57" fmla="*/ 4489 h 131"/>
                    <a:gd name="T58" fmla="*/ 9135 w 128"/>
                    <a:gd name="T59" fmla="*/ 5305 h 131"/>
                    <a:gd name="T60" fmla="*/ 9135 w 128"/>
                    <a:gd name="T61" fmla="*/ 5713 h 131"/>
                    <a:gd name="T62" fmla="*/ 9570 w 128"/>
                    <a:gd name="T63" fmla="*/ 5713 h 131"/>
                    <a:gd name="T64" fmla="*/ 10005 w 128"/>
                    <a:gd name="T65" fmla="*/ 5305 h 131"/>
                    <a:gd name="T66" fmla="*/ 10875 w 128"/>
                    <a:gd name="T67" fmla="*/ 5305 h 131"/>
                    <a:gd name="T68" fmla="*/ 10875 w 128"/>
                    <a:gd name="T69" fmla="*/ 4489 h 131"/>
                    <a:gd name="T70" fmla="*/ 9570 w 128"/>
                    <a:gd name="T71" fmla="*/ 4081 h 131"/>
                    <a:gd name="T72" fmla="*/ 9135 w 128"/>
                    <a:gd name="T73" fmla="*/ 2856 h 131"/>
                    <a:gd name="T74" fmla="*/ 9135 w 128"/>
                    <a:gd name="T75" fmla="*/ 2040 h 131"/>
                    <a:gd name="T76" fmla="*/ 8265 w 128"/>
                    <a:gd name="T77" fmla="*/ 1632 h 131"/>
                    <a:gd name="T78" fmla="*/ 6090 w 128"/>
                    <a:gd name="T79" fmla="*/ 816 h 131"/>
                    <a:gd name="T80" fmla="*/ 5220 w 128"/>
                    <a:gd name="T81" fmla="*/ 816 h 131"/>
                    <a:gd name="T82" fmla="*/ 4785 w 128"/>
                    <a:gd name="T83" fmla="*/ 816 h 131"/>
                    <a:gd name="T84" fmla="*/ 4350 w 128"/>
                    <a:gd name="T85" fmla="*/ 0 h 131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8"/>
                    <a:gd name="T130" fmla="*/ 0 h 131"/>
                    <a:gd name="T131" fmla="*/ 128 w 128"/>
                    <a:gd name="T132" fmla="*/ 131 h 131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8" h="131">
                      <a:moveTo>
                        <a:pt x="49" y="0"/>
                      </a:moveTo>
                      <a:lnTo>
                        <a:pt x="35" y="2"/>
                      </a:lnTo>
                      <a:lnTo>
                        <a:pt x="21" y="12"/>
                      </a:lnTo>
                      <a:lnTo>
                        <a:pt x="13" y="8"/>
                      </a:lnTo>
                      <a:lnTo>
                        <a:pt x="2" y="28"/>
                      </a:lnTo>
                      <a:lnTo>
                        <a:pt x="0" y="37"/>
                      </a:lnTo>
                      <a:lnTo>
                        <a:pt x="6" y="50"/>
                      </a:lnTo>
                      <a:lnTo>
                        <a:pt x="21" y="58"/>
                      </a:lnTo>
                      <a:lnTo>
                        <a:pt x="28" y="70"/>
                      </a:lnTo>
                      <a:lnTo>
                        <a:pt x="23" y="86"/>
                      </a:lnTo>
                      <a:lnTo>
                        <a:pt x="26" y="99"/>
                      </a:lnTo>
                      <a:lnTo>
                        <a:pt x="32" y="106"/>
                      </a:lnTo>
                      <a:lnTo>
                        <a:pt x="39" y="108"/>
                      </a:lnTo>
                      <a:lnTo>
                        <a:pt x="42" y="98"/>
                      </a:lnTo>
                      <a:lnTo>
                        <a:pt x="49" y="90"/>
                      </a:lnTo>
                      <a:lnTo>
                        <a:pt x="53" y="96"/>
                      </a:lnTo>
                      <a:lnTo>
                        <a:pt x="60" y="103"/>
                      </a:lnTo>
                      <a:lnTo>
                        <a:pt x="65" y="119"/>
                      </a:lnTo>
                      <a:lnTo>
                        <a:pt x="66" y="130"/>
                      </a:lnTo>
                      <a:lnTo>
                        <a:pt x="71" y="131"/>
                      </a:lnTo>
                      <a:lnTo>
                        <a:pt x="76" y="110"/>
                      </a:lnTo>
                      <a:lnTo>
                        <a:pt x="85" y="107"/>
                      </a:lnTo>
                      <a:lnTo>
                        <a:pt x="91" y="117"/>
                      </a:lnTo>
                      <a:lnTo>
                        <a:pt x="98" y="124"/>
                      </a:lnTo>
                      <a:lnTo>
                        <a:pt x="107" y="129"/>
                      </a:lnTo>
                      <a:lnTo>
                        <a:pt x="105" y="107"/>
                      </a:lnTo>
                      <a:lnTo>
                        <a:pt x="98" y="77"/>
                      </a:lnTo>
                      <a:lnTo>
                        <a:pt x="91" y="66"/>
                      </a:lnTo>
                      <a:lnTo>
                        <a:pt x="88" y="54"/>
                      </a:lnTo>
                      <a:lnTo>
                        <a:pt x="105" y="66"/>
                      </a:lnTo>
                      <a:lnTo>
                        <a:pt x="108" y="71"/>
                      </a:lnTo>
                      <a:lnTo>
                        <a:pt x="113" y="71"/>
                      </a:lnTo>
                      <a:lnTo>
                        <a:pt x="119" y="65"/>
                      </a:lnTo>
                      <a:lnTo>
                        <a:pt x="128" y="64"/>
                      </a:lnTo>
                      <a:lnTo>
                        <a:pt x="126" y="56"/>
                      </a:lnTo>
                      <a:lnTo>
                        <a:pt x="114" y="48"/>
                      </a:lnTo>
                      <a:lnTo>
                        <a:pt x="107" y="33"/>
                      </a:lnTo>
                      <a:lnTo>
                        <a:pt x="107" y="26"/>
                      </a:lnTo>
                      <a:lnTo>
                        <a:pt x="98" y="21"/>
                      </a:lnTo>
                      <a:lnTo>
                        <a:pt x="74" y="12"/>
                      </a:lnTo>
                      <a:lnTo>
                        <a:pt x="61" y="8"/>
                      </a:lnTo>
                      <a:lnTo>
                        <a:pt x="55" y="8"/>
                      </a:lnTo>
                      <a:lnTo>
                        <a:pt x="49" y="0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66" name="Freeform 208"/>
                <p:cNvSpPr>
                  <a:spLocks/>
                </p:cNvSpPr>
                <p:nvPr/>
              </p:nvSpPr>
              <p:spPr bwMode="gray">
                <a:xfrm>
                  <a:off x="4668061" y="1956883"/>
                  <a:ext cx="130593" cy="77460"/>
                </a:xfrm>
                <a:custGeom>
                  <a:avLst/>
                  <a:gdLst>
                    <a:gd name="T0" fmla="*/ 6253 w 369"/>
                    <a:gd name="T1" fmla="*/ 3651 h 223"/>
                    <a:gd name="T2" fmla="*/ 11613 w 369"/>
                    <a:gd name="T3" fmla="*/ 5274 h 223"/>
                    <a:gd name="T4" fmla="*/ 12953 w 369"/>
                    <a:gd name="T5" fmla="*/ 3651 h 223"/>
                    <a:gd name="T6" fmla="*/ 17419 w 369"/>
                    <a:gd name="T7" fmla="*/ 2028 h 223"/>
                    <a:gd name="T8" fmla="*/ 20099 w 369"/>
                    <a:gd name="T9" fmla="*/ 2028 h 223"/>
                    <a:gd name="T10" fmla="*/ 21439 w 369"/>
                    <a:gd name="T11" fmla="*/ 811 h 223"/>
                    <a:gd name="T12" fmla="*/ 24565 w 369"/>
                    <a:gd name="T13" fmla="*/ 0 h 223"/>
                    <a:gd name="T14" fmla="*/ 26799 w 369"/>
                    <a:gd name="T15" fmla="*/ 406 h 223"/>
                    <a:gd name="T16" fmla="*/ 29479 w 369"/>
                    <a:gd name="T17" fmla="*/ 811 h 223"/>
                    <a:gd name="T18" fmla="*/ 31712 w 369"/>
                    <a:gd name="T19" fmla="*/ 2434 h 223"/>
                    <a:gd name="T20" fmla="*/ 33052 w 369"/>
                    <a:gd name="T21" fmla="*/ 3651 h 223"/>
                    <a:gd name="T22" fmla="*/ 32158 w 369"/>
                    <a:gd name="T23" fmla="*/ 4868 h 223"/>
                    <a:gd name="T24" fmla="*/ 29925 w 369"/>
                    <a:gd name="T25" fmla="*/ 5679 h 223"/>
                    <a:gd name="T26" fmla="*/ 29032 w 369"/>
                    <a:gd name="T27" fmla="*/ 6896 h 223"/>
                    <a:gd name="T28" fmla="*/ 28139 w 369"/>
                    <a:gd name="T29" fmla="*/ 8519 h 223"/>
                    <a:gd name="T30" fmla="*/ 26799 w 369"/>
                    <a:gd name="T31" fmla="*/ 10953 h 223"/>
                    <a:gd name="T32" fmla="*/ 25459 w 369"/>
                    <a:gd name="T33" fmla="*/ 12981 h 223"/>
                    <a:gd name="T34" fmla="*/ 23226 w 369"/>
                    <a:gd name="T35" fmla="*/ 15010 h 223"/>
                    <a:gd name="T36" fmla="*/ 20099 w 369"/>
                    <a:gd name="T37" fmla="*/ 15415 h 223"/>
                    <a:gd name="T38" fmla="*/ 18759 w 369"/>
                    <a:gd name="T39" fmla="*/ 15415 h 223"/>
                    <a:gd name="T40" fmla="*/ 16079 w 369"/>
                    <a:gd name="T41" fmla="*/ 16227 h 223"/>
                    <a:gd name="T42" fmla="*/ 14293 w 369"/>
                    <a:gd name="T43" fmla="*/ 16632 h 223"/>
                    <a:gd name="T44" fmla="*/ 12059 w 369"/>
                    <a:gd name="T45" fmla="*/ 17444 h 223"/>
                    <a:gd name="T46" fmla="*/ 8933 w 369"/>
                    <a:gd name="T47" fmla="*/ 17849 h 223"/>
                    <a:gd name="T48" fmla="*/ 6700 w 369"/>
                    <a:gd name="T49" fmla="*/ 16632 h 223"/>
                    <a:gd name="T50" fmla="*/ 4466 w 369"/>
                    <a:gd name="T51" fmla="*/ 15010 h 223"/>
                    <a:gd name="T52" fmla="*/ 2680 w 369"/>
                    <a:gd name="T53" fmla="*/ 13387 h 223"/>
                    <a:gd name="T54" fmla="*/ 1340 w 369"/>
                    <a:gd name="T55" fmla="*/ 11359 h 223"/>
                    <a:gd name="T56" fmla="*/ 0 w 369"/>
                    <a:gd name="T57" fmla="*/ 10953 h 223"/>
                    <a:gd name="T58" fmla="*/ 1787 w 369"/>
                    <a:gd name="T59" fmla="*/ 9736 h 223"/>
                    <a:gd name="T60" fmla="*/ 1787 w 369"/>
                    <a:gd name="T61" fmla="*/ 8113 h 223"/>
                    <a:gd name="T62" fmla="*/ 1787 w 369"/>
                    <a:gd name="T63" fmla="*/ 6085 h 223"/>
                    <a:gd name="T64" fmla="*/ 4913 w 369"/>
                    <a:gd name="T65" fmla="*/ 5274 h 223"/>
                    <a:gd name="T66" fmla="*/ 5360 w 369"/>
                    <a:gd name="T67" fmla="*/ 3245 h 223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69"/>
                    <a:gd name="T103" fmla="*/ 0 h 223"/>
                    <a:gd name="T104" fmla="*/ 369 w 369"/>
                    <a:gd name="T105" fmla="*/ 223 h 223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69" h="223">
                      <a:moveTo>
                        <a:pt x="58" y="39"/>
                      </a:moveTo>
                      <a:lnTo>
                        <a:pt x="71" y="47"/>
                      </a:lnTo>
                      <a:lnTo>
                        <a:pt x="95" y="65"/>
                      </a:lnTo>
                      <a:lnTo>
                        <a:pt x="128" y="64"/>
                      </a:lnTo>
                      <a:lnTo>
                        <a:pt x="134" y="64"/>
                      </a:lnTo>
                      <a:lnTo>
                        <a:pt x="147" y="44"/>
                      </a:lnTo>
                      <a:lnTo>
                        <a:pt x="178" y="35"/>
                      </a:lnTo>
                      <a:lnTo>
                        <a:pt x="194" y="26"/>
                      </a:lnTo>
                      <a:lnTo>
                        <a:pt x="211" y="32"/>
                      </a:lnTo>
                      <a:lnTo>
                        <a:pt x="225" y="24"/>
                      </a:lnTo>
                      <a:lnTo>
                        <a:pt x="235" y="22"/>
                      </a:lnTo>
                      <a:lnTo>
                        <a:pt x="240" y="10"/>
                      </a:lnTo>
                      <a:lnTo>
                        <a:pt x="255" y="1"/>
                      </a:lnTo>
                      <a:lnTo>
                        <a:pt x="273" y="2"/>
                      </a:lnTo>
                      <a:lnTo>
                        <a:pt x="285" y="0"/>
                      </a:lnTo>
                      <a:lnTo>
                        <a:pt x="300" y="5"/>
                      </a:lnTo>
                      <a:lnTo>
                        <a:pt x="317" y="15"/>
                      </a:lnTo>
                      <a:lnTo>
                        <a:pt x="329" y="12"/>
                      </a:lnTo>
                      <a:lnTo>
                        <a:pt x="344" y="19"/>
                      </a:lnTo>
                      <a:lnTo>
                        <a:pt x="356" y="29"/>
                      </a:lnTo>
                      <a:lnTo>
                        <a:pt x="365" y="38"/>
                      </a:lnTo>
                      <a:lnTo>
                        <a:pt x="369" y="48"/>
                      </a:lnTo>
                      <a:lnTo>
                        <a:pt x="365" y="55"/>
                      </a:lnTo>
                      <a:lnTo>
                        <a:pt x="357" y="62"/>
                      </a:lnTo>
                      <a:lnTo>
                        <a:pt x="350" y="62"/>
                      </a:lnTo>
                      <a:lnTo>
                        <a:pt x="335" y="69"/>
                      </a:lnTo>
                      <a:lnTo>
                        <a:pt x="326" y="78"/>
                      </a:lnTo>
                      <a:lnTo>
                        <a:pt x="324" y="86"/>
                      </a:lnTo>
                      <a:lnTo>
                        <a:pt x="318" y="97"/>
                      </a:lnTo>
                      <a:lnTo>
                        <a:pt x="316" y="108"/>
                      </a:lnTo>
                      <a:lnTo>
                        <a:pt x="303" y="121"/>
                      </a:lnTo>
                      <a:lnTo>
                        <a:pt x="298" y="135"/>
                      </a:lnTo>
                      <a:lnTo>
                        <a:pt x="291" y="151"/>
                      </a:lnTo>
                      <a:lnTo>
                        <a:pt x="284" y="161"/>
                      </a:lnTo>
                      <a:lnTo>
                        <a:pt x="276" y="178"/>
                      </a:lnTo>
                      <a:lnTo>
                        <a:pt x="260" y="185"/>
                      </a:lnTo>
                      <a:lnTo>
                        <a:pt x="228" y="195"/>
                      </a:lnTo>
                      <a:lnTo>
                        <a:pt x="225" y="195"/>
                      </a:lnTo>
                      <a:lnTo>
                        <a:pt x="221" y="188"/>
                      </a:lnTo>
                      <a:lnTo>
                        <a:pt x="209" y="193"/>
                      </a:lnTo>
                      <a:lnTo>
                        <a:pt x="197" y="193"/>
                      </a:lnTo>
                      <a:lnTo>
                        <a:pt x="181" y="204"/>
                      </a:lnTo>
                      <a:lnTo>
                        <a:pt x="166" y="204"/>
                      </a:lnTo>
                      <a:lnTo>
                        <a:pt x="160" y="209"/>
                      </a:lnTo>
                      <a:lnTo>
                        <a:pt x="145" y="210"/>
                      </a:lnTo>
                      <a:lnTo>
                        <a:pt x="133" y="218"/>
                      </a:lnTo>
                      <a:lnTo>
                        <a:pt x="119" y="222"/>
                      </a:lnTo>
                      <a:lnTo>
                        <a:pt x="102" y="223"/>
                      </a:lnTo>
                      <a:lnTo>
                        <a:pt x="87" y="214"/>
                      </a:lnTo>
                      <a:lnTo>
                        <a:pt x="76" y="210"/>
                      </a:lnTo>
                      <a:lnTo>
                        <a:pt x="65" y="195"/>
                      </a:lnTo>
                      <a:lnTo>
                        <a:pt x="50" y="188"/>
                      </a:lnTo>
                      <a:lnTo>
                        <a:pt x="41" y="172"/>
                      </a:lnTo>
                      <a:lnTo>
                        <a:pt x="28" y="167"/>
                      </a:lnTo>
                      <a:lnTo>
                        <a:pt x="20" y="153"/>
                      </a:lnTo>
                      <a:lnTo>
                        <a:pt x="15" y="140"/>
                      </a:lnTo>
                      <a:lnTo>
                        <a:pt x="7" y="136"/>
                      </a:lnTo>
                      <a:lnTo>
                        <a:pt x="0" y="136"/>
                      </a:lnTo>
                      <a:lnTo>
                        <a:pt x="10" y="125"/>
                      </a:lnTo>
                      <a:lnTo>
                        <a:pt x="21" y="123"/>
                      </a:lnTo>
                      <a:lnTo>
                        <a:pt x="20" y="112"/>
                      </a:lnTo>
                      <a:lnTo>
                        <a:pt x="20" y="102"/>
                      </a:lnTo>
                      <a:lnTo>
                        <a:pt x="28" y="83"/>
                      </a:lnTo>
                      <a:lnTo>
                        <a:pt x="22" y="75"/>
                      </a:lnTo>
                      <a:lnTo>
                        <a:pt x="26" y="67"/>
                      </a:lnTo>
                      <a:lnTo>
                        <a:pt x="53" y="67"/>
                      </a:lnTo>
                      <a:lnTo>
                        <a:pt x="58" y="59"/>
                      </a:lnTo>
                      <a:lnTo>
                        <a:pt x="58" y="39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67" name="Freeform 209"/>
                <p:cNvSpPr>
                  <a:spLocks/>
                </p:cNvSpPr>
                <p:nvPr/>
              </p:nvSpPr>
              <p:spPr bwMode="gray">
                <a:xfrm>
                  <a:off x="4760983" y="1649759"/>
                  <a:ext cx="143150" cy="84256"/>
                </a:xfrm>
                <a:custGeom>
                  <a:avLst/>
                  <a:gdLst>
                    <a:gd name="T0" fmla="*/ 0 w 406"/>
                    <a:gd name="T1" fmla="*/ 15214 h 240"/>
                    <a:gd name="T2" fmla="*/ 889 w 406"/>
                    <a:gd name="T3" fmla="*/ 9869 h 240"/>
                    <a:gd name="T4" fmla="*/ 2222 w 406"/>
                    <a:gd name="T5" fmla="*/ 7813 h 240"/>
                    <a:gd name="T6" fmla="*/ 3110 w 406"/>
                    <a:gd name="T7" fmla="*/ 5346 h 240"/>
                    <a:gd name="T8" fmla="*/ 4443 w 406"/>
                    <a:gd name="T9" fmla="*/ 3701 h 240"/>
                    <a:gd name="T10" fmla="*/ 7554 w 406"/>
                    <a:gd name="T11" fmla="*/ 2878 h 240"/>
                    <a:gd name="T12" fmla="*/ 10220 w 406"/>
                    <a:gd name="T13" fmla="*/ 5757 h 240"/>
                    <a:gd name="T14" fmla="*/ 10664 w 406"/>
                    <a:gd name="T15" fmla="*/ 6990 h 240"/>
                    <a:gd name="T16" fmla="*/ 11108 w 406"/>
                    <a:gd name="T17" fmla="*/ 7402 h 240"/>
                    <a:gd name="T18" fmla="*/ 12886 w 406"/>
                    <a:gd name="T19" fmla="*/ 9046 h 240"/>
                    <a:gd name="T20" fmla="*/ 15108 w 406"/>
                    <a:gd name="T21" fmla="*/ 8224 h 240"/>
                    <a:gd name="T22" fmla="*/ 15552 w 406"/>
                    <a:gd name="T23" fmla="*/ 9458 h 240"/>
                    <a:gd name="T24" fmla="*/ 15996 w 406"/>
                    <a:gd name="T25" fmla="*/ 7402 h 240"/>
                    <a:gd name="T26" fmla="*/ 16441 w 406"/>
                    <a:gd name="T27" fmla="*/ 1645 h 240"/>
                    <a:gd name="T28" fmla="*/ 17774 w 406"/>
                    <a:gd name="T29" fmla="*/ 1234 h 240"/>
                    <a:gd name="T30" fmla="*/ 21328 w 406"/>
                    <a:gd name="T31" fmla="*/ 0 h 240"/>
                    <a:gd name="T32" fmla="*/ 23994 w 406"/>
                    <a:gd name="T33" fmla="*/ 1234 h 240"/>
                    <a:gd name="T34" fmla="*/ 25327 w 406"/>
                    <a:gd name="T35" fmla="*/ 2467 h 240"/>
                    <a:gd name="T36" fmla="*/ 27993 w 406"/>
                    <a:gd name="T37" fmla="*/ 4112 h 240"/>
                    <a:gd name="T38" fmla="*/ 30215 w 406"/>
                    <a:gd name="T39" fmla="*/ 3701 h 240"/>
                    <a:gd name="T40" fmla="*/ 31992 w 406"/>
                    <a:gd name="T41" fmla="*/ 4112 h 240"/>
                    <a:gd name="T42" fmla="*/ 32437 w 406"/>
                    <a:gd name="T43" fmla="*/ 5346 h 240"/>
                    <a:gd name="T44" fmla="*/ 33770 w 406"/>
                    <a:gd name="T45" fmla="*/ 6168 h 240"/>
                    <a:gd name="T46" fmla="*/ 33325 w 406"/>
                    <a:gd name="T47" fmla="*/ 8635 h 240"/>
                    <a:gd name="T48" fmla="*/ 33770 w 406"/>
                    <a:gd name="T49" fmla="*/ 9458 h 240"/>
                    <a:gd name="T50" fmla="*/ 34214 w 406"/>
                    <a:gd name="T51" fmla="*/ 10691 h 240"/>
                    <a:gd name="T52" fmla="*/ 35547 w 406"/>
                    <a:gd name="T53" fmla="*/ 13158 h 240"/>
                    <a:gd name="T54" fmla="*/ 35992 w 406"/>
                    <a:gd name="T55" fmla="*/ 14803 h 240"/>
                    <a:gd name="T56" fmla="*/ 35103 w 406"/>
                    <a:gd name="T57" fmla="*/ 15625 h 240"/>
                    <a:gd name="T58" fmla="*/ 33325 w 406"/>
                    <a:gd name="T59" fmla="*/ 16859 h 240"/>
                    <a:gd name="T60" fmla="*/ 31992 w 406"/>
                    <a:gd name="T61" fmla="*/ 18504 h 240"/>
                    <a:gd name="T62" fmla="*/ 30215 w 406"/>
                    <a:gd name="T63" fmla="*/ 18093 h 240"/>
                    <a:gd name="T64" fmla="*/ 29326 w 406"/>
                    <a:gd name="T65" fmla="*/ 19326 h 240"/>
                    <a:gd name="T66" fmla="*/ 27993 w 406"/>
                    <a:gd name="T67" fmla="*/ 19737 h 240"/>
                    <a:gd name="T68" fmla="*/ 26660 w 406"/>
                    <a:gd name="T69" fmla="*/ 18915 h 240"/>
                    <a:gd name="T70" fmla="*/ 22661 w 406"/>
                    <a:gd name="T71" fmla="*/ 15625 h 240"/>
                    <a:gd name="T72" fmla="*/ 20884 w 406"/>
                    <a:gd name="T73" fmla="*/ 15625 h 240"/>
                    <a:gd name="T74" fmla="*/ 19107 w 406"/>
                    <a:gd name="T75" fmla="*/ 13158 h 240"/>
                    <a:gd name="T76" fmla="*/ 17774 w 406"/>
                    <a:gd name="T77" fmla="*/ 14392 h 240"/>
                    <a:gd name="T78" fmla="*/ 13775 w 406"/>
                    <a:gd name="T79" fmla="*/ 13569 h 240"/>
                    <a:gd name="T80" fmla="*/ 11553 w 406"/>
                    <a:gd name="T81" fmla="*/ 13569 h 240"/>
                    <a:gd name="T82" fmla="*/ 10220 w 406"/>
                    <a:gd name="T83" fmla="*/ 13569 h 240"/>
                    <a:gd name="T84" fmla="*/ 8887 w 406"/>
                    <a:gd name="T85" fmla="*/ 13569 h 240"/>
                    <a:gd name="T86" fmla="*/ 7554 w 406"/>
                    <a:gd name="T87" fmla="*/ 13158 h 240"/>
                    <a:gd name="T88" fmla="*/ 3999 w 406"/>
                    <a:gd name="T89" fmla="*/ 13981 h 240"/>
                    <a:gd name="T90" fmla="*/ 1777 w 406"/>
                    <a:gd name="T91" fmla="*/ 16037 h 240"/>
                    <a:gd name="T92" fmla="*/ 444 w 406"/>
                    <a:gd name="T93" fmla="*/ 16037 h 24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w 406"/>
                    <a:gd name="T142" fmla="*/ 0 h 240"/>
                    <a:gd name="T143" fmla="*/ 406 w 406"/>
                    <a:gd name="T144" fmla="*/ 240 h 240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T141" t="T142" r="T143" b="T144"/>
                  <a:pathLst>
                    <a:path w="406" h="240">
                      <a:moveTo>
                        <a:pt x="3" y="195"/>
                      </a:moveTo>
                      <a:lnTo>
                        <a:pt x="0" y="184"/>
                      </a:lnTo>
                      <a:lnTo>
                        <a:pt x="4" y="134"/>
                      </a:lnTo>
                      <a:lnTo>
                        <a:pt x="12" y="118"/>
                      </a:lnTo>
                      <a:lnTo>
                        <a:pt x="20" y="107"/>
                      </a:lnTo>
                      <a:lnTo>
                        <a:pt x="24" y="93"/>
                      </a:lnTo>
                      <a:lnTo>
                        <a:pt x="27" y="77"/>
                      </a:lnTo>
                      <a:lnTo>
                        <a:pt x="33" y="64"/>
                      </a:lnTo>
                      <a:lnTo>
                        <a:pt x="43" y="52"/>
                      </a:lnTo>
                      <a:lnTo>
                        <a:pt x="51" y="44"/>
                      </a:lnTo>
                      <a:lnTo>
                        <a:pt x="63" y="42"/>
                      </a:lnTo>
                      <a:lnTo>
                        <a:pt x="86" y="33"/>
                      </a:lnTo>
                      <a:lnTo>
                        <a:pt x="94" y="47"/>
                      </a:lnTo>
                      <a:lnTo>
                        <a:pt x="113" y="68"/>
                      </a:lnTo>
                      <a:lnTo>
                        <a:pt x="115" y="79"/>
                      </a:lnTo>
                      <a:lnTo>
                        <a:pt x="119" y="86"/>
                      </a:lnTo>
                      <a:lnTo>
                        <a:pt x="120" y="75"/>
                      </a:lnTo>
                      <a:lnTo>
                        <a:pt x="125" y="92"/>
                      </a:lnTo>
                      <a:lnTo>
                        <a:pt x="131" y="100"/>
                      </a:lnTo>
                      <a:lnTo>
                        <a:pt x="147" y="108"/>
                      </a:lnTo>
                      <a:lnTo>
                        <a:pt x="153" y="108"/>
                      </a:lnTo>
                      <a:lnTo>
                        <a:pt x="169" y="102"/>
                      </a:lnTo>
                      <a:lnTo>
                        <a:pt x="169" y="107"/>
                      </a:lnTo>
                      <a:lnTo>
                        <a:pt x="174" y="113"/>
                      </a:lnTo>
                      <a:lnTo>
                        <a:pt x="175" y="98"/>
                      </a:lnTo>
                      <a:lnTo>
                        <a:pt x="181" y="92"/>
                      </a:lnTo>
                      <a:lnTo>
                        <a:pt x="185" y="85"/>
                      </a:lnTo>
                      <a:lnTo>
                        <a:pt x="185" y="21"/>
                      </a:lnTo>
                      <a:lnTo>
                        <a:pt x="191" y="15"/>
                      </a:lnTo>
                      <a:lnTo>
                        <a:pt x="200" y="14"/>
                      </a:lnTo>
                      <a:lnTo>
                        <a:pt x="213" y="4"/>
                      </a:lnTo>
                      <a:lnTo>
                        <a:pt x="239" y="0"/>
                      </a:lnTo>
                      <a:lnTo>
                        <a:pt x="255" y="4"/>
                      </a:lnTo>
                      <a:lnTo>
                        <a:pt x="269" y="15"/>
                      </a:lnTo>
                      <a:lnTo>
                        <a:pt x="283" y="20"/>
                      </a:lnTo>
                      <a:lnTo>
                        <a:pt x="288" y="30"/>
                      </a:lnTo>
                      <a:lnTo>
                        <a:pt x="310" y="49"/>
                      </a:lnTo>
                      <a:lnTo>
                        <a:pt x="318" y="49"/>
                      </a:lnTo>
                      <a:lnTo>
                        <a:pt x="326" y="46"/>
                      </a:lnTo>
                      <a:lnTo>
                        <a:pt x="341" y="44"/>
                      </a:lnTo>
                      <a:lnTo>
                        <a:pt x="358" y="48"/>
                      </a:lnTo>
                      <a:lnTo>
                        <a:pt x="359" y="49"/>
                      </a:lnTo>
                      <a:lnTo>
                        <a:pt x="364" y="55"/>
                      </a:lnTo>
                      <a:lnTo>
                        <a:pt x="368" y="63"/>
                      </a:lnTo>
                      <a:lnTo>
                        <a:pt x="375" y="66"/>
                      </a:lnTo>
                      <a:lnTo>
                        <a:pt x="379" y="74"/>
                      </a:lnTo>
                      <a:lnTo>
                        <a:pt x="380" y="82"/>
                      </a:lnTo>
                      <a:lnTo>
                        <a:pt x="375" y="106"/>
                      </a:lnTo>
                      <a:lnTo>
                        <a:pt x="372" y="113"/>
                      </a:lnTo>
                      <a:lnTo>
                        <a:pt x="380" y="116"/>
                      </a:lnTo>
                      <a:lnTo>
                        <a:pt x="387" y="120"/>
                      </a:lnTo>
                      <a:lnTo>
                        <a:pt x="387" y="128"/>
                      </a:lnTo>
                      <a:lnTo>
                        <a:pt x="400" y="150"/>
                      </a:lnTo>
                      <a:lnTo>
                        <a:pt x="402" y="159"/>
                      </a:lnTo>
                      <a:lnTo>
                        <a:pt x="406" y="166"/>
                      </a:lnTo>
                      <a:lnTo>
                        <a:pt x="406" y="182"/>
                      </a:lnTo>
                      <a:lnTo>
                        <a:pt x="405" y="189"/>
                      </a:lnTo>
                      <a:lnTo>
                        <a:pt x="395" y="190"/>
                      </a:lnTo>
                      <a:lnTo>
                        <a:pt x="388" y="194"/>
                      </a:lnTo>
                      <a:lnTo>
                        <a:pt x="375" y="206"/>
                      </a:lnTo>
                      <a:lnTo>
                        <a:pt x="374" y="214"/>
                      </a:lnTo>
                      <a:lnTo>
                        <a:pt x="363" y="227"/>
                      </a:lnTo>
                      <a:lnTo>
                        <a:pt x="356" y="229"/>
                      </a:lnTo>
                      <a:lnTo>
                        <a:pt x="340" y="222"/>
                      </a:lnTo>
                      <a:lnTo>
                        <a:pt x="334" y="227"/>
                      </a:lnTo>
                      <a:lnTo>
                        <a:pt x="331" y="236"/>
                      </a:lnTo>
                      <a:lnTo>
                        <a:pt x="325" y="240"/>
                      </a:lnTo>
                      <a:lnTo>
                        <a:pt x="316" y="238"/>
                      </a:lnTo>
                      <a:lnTo>
                        <a:pt x="310" y="233"/>
                      </a:lnTo>
                      <a:lnTo>
                        <a:pt x="303" y="231"/>
                      </a:lnTo>
                      <a:lnTo>
                        <a:pt x="285" y="208"/>
                      </a:lnTo>
                      <a:lnTo>
                        <a:pt x="258" y="189"/>
                      </a:lnTo>
                      <a:lnTo>
                        <a:pt x="242" y="190"/>
                      </a:lnTo>
                      <a:lnTo>
                        <a:pt x="234" y="188"/>
                      </a:lnTo>
                      <a:lnTo>
                        <a:pt x="224" y="165"/>
                      </a:lnTo>
                      <a:lnTo>
                        <a:pt x="218" y="160"/>
                      </a:lnTo>
                      <a:lnTo>
                        <a:pt x="211" y="162"/>
                      </a:lnTo>
                      <a:lnTo>
                        <a:pt x="200" y="173"/>
                      </a:lnTo>
                      <a:lnTo>
                        <a:pt x="184" y="177"/>
                      </a:lnTo>
                      <a:lnTo>
                        <a:pt x="153" y="166"/>
                      </a:lnTo>
                      <a:lnTo>
                        <a:pt x="146" y="166"/>
                      </a:lnTo>
                      <a:lnTo>
                        <a:pt x="129" y="163"/>
                      </a:lnTo>
                      <a:lnTo>
                        <a:pt x="121" y="166"/>
                      </a:lnTo>
                      <a:lnTo>
                        <a:pt x="114" y="163"/>
                      </a:lnTo>
                      <a:lnTo>
                        <a:pt x="106" y="167"/>
                      </a:lnTo>
                      <a:lnTo>
                        <a:pt x="98" y="167"/>
                      </a:lnTo>
                      <a:lnTo>
                        <a:pt x="92" y="163"/>
                      </a:lnTo>
                      <a:lnTo>
                        <a:pt x="83" y="162"/>
                      </a:lnTo>
                      <a:lnTo>
                        <a:pt x="67" y="163"/>
                      </a:lnTo>
                      <a:lnTo>
                        <a:pt x="44" y="171"/>
                      </a:lnTo>
                      <a:lnTo>
                        <a:pt x="29" y="179"/>
                      </a:lnTo>
                      <a:lnTo>
                        <a:pt x="20" y="193"/>
                      </a:lnTo>
                      <a:lnTo>
                        <a:pt x="13" y="198"/>
                      </a:lnTo>
                      <a:lnTo>
                        <a:pt x="3" y="195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 dirty="0"/>
                </a:p>
              </p:txBody>
            </p:sp>
            <p:sp>
              <p:nvSpPr>
                <p:cNvPr id="468" name="Freeform 210"/>
                <p:cNvSpPr>
                  <a:spLocks/>
                </p:cNvSpPr>
                <p:nvPr/>
              </p:nvSpPr>
              <p:spPr bwMode="gray">
                <a:xfrm>
                  <a:off x="4586440" y="1879423"/>
                  <a:ext cx="134360" cy="80179"/>
                </a:xfrm>
                <a:custGeom>
                  <a:avLst/>
                  <a:gdLst>
                    <a:gd name="T0" fmla="*/ 33585 w 378"/>
                    <a:gd name="T1" fmla="*/ 12086 h 222"/>
                    <a:gd name="T2" fmla="*/ 31793 w 378"/>
                    <a:gd name="T3" fmla="*/ 12503 h 222"/>
                    <a:gd name="T4" fmla="*/ 30898 w 378"/>
                    <a:gd name="T5" fmla="*/ 13336 h 222"/>
                    <a:gd name="T6" fmla="*/ 30450 w 378"/>
                    <a:gd name="T7" fmla="*/ 15003 h 222"/>
                    <a:gd name="T8" fmla="*/ 29107 w 378"/>
                    <a:gd name="T9" fmla="*/ 15837 h 222"/>
                    <a:gd name="T10" fmla="*/ 28211 w 378"/>
                    <a:gd name="T11" fmla="*/ 17087 h 222"/>
                    <a:gd name="T12" fmla="*/ 26420 w 378"/>
                    <a:gd name="T13" fmla="*/ 17087 h 222"/>
                    <a:gd name="T14" fmla="*/ 24629 w 378"/>
                    <a:gd name="T15" fmla="*/ 17921 h 222"/>
                    <a:gd name="T16" fmla="*/ 24181 w 378"/>
                    <a:gd name="T17" fmla="*/ 17504 h 222"/>
                    <a:gd name="T18" fmla="*/ 20599 w 378"/>
                    <a:gd name="T19" fmla="*/ 17087 h 222"/>
                    <a:gd name="T20" fmla="*/ 18360 w 378"/>
                    <a:gd name="T21" fmla="*/ 15420 h 222"/>
                    <a:gd name="T22" fmla="*/ 14777 w 378"/>
                    <a:gd name="T23" fmla="*/ 16254 h 222"/>
                    <a:gd name="T24" fmla="*/ 13882 w 378"/>
                    <a:gd name="T25" fmla="*/ 17504 h 222"/>
                    <a:gd name="T26" fmla="*/ 12090 w 378"/>
                    <a:gd name="T27" fmla="*/ 17921 h 222"/>
                    <a:gd name="T28" fmla="*/ 10299 w 378"/>
                    <a:gd name="T29" fmla="*/ 17504 h 222"/>
                    <a:gd name="T30" fmla="*/ 8956 w 378"/>
                    <a:gd name="T31" fmla="*/ 16670 h 222"/>
                    <a:gd name="T32" fmla="*/ 5374 w 378"/>
                    <a:gd name="T33" fmla="*/ 13753 h 222"/>
                    <a:gd name="T34" fmla="*/ 2239 w 378"/>
                    <a:gd name="T35" fmla="*/ 10836 h 222"/>
                    <a:gd name="T36" fmla="*/ 1791 w 378"/>
                    <a:gd name="T37" fmla="*/ 8335 h 222"/>
                    <a:gd name="T38" fmla="*/ 0 w 378"/>
                    <a:gd name="T39" fmla="*/ 7085 h 222"/>
                    <a:gd name="T40" fmla="*/ 0 w 378"/>
                    <a:gd name="T41" fmla="*/ 5835 h 222"/>
                    <a:gd name="T42" fmla="*/ 1791 w 378"/>
                    <a:gd name="T43" fmla="*/ 7085 h 222"/>
                    <a:gd name="T44" fmla="*/ 3582 w 378"/>
                    <a:gd name="T45" fmla="*/ 5418 h 222"/>
                    <a:gd name="T46" fmla="*/ 6717 w 378"/>
                    <a:gd name="T47" fmla="*/ 4168 h 222"/>
                    <a:gd name="T48" fmla="*/ 10747 w 378"/>
                    <a:gd name="T49" fmla="*/ 2084 h 222"/>
                    <a:gd name="T50" fmla="*/ 12090 w 378"/>
                    <a:gd name="T51" fmla="*/ 417 h 222"/>
                    <a:gd name="T52" fmla="*/ 12986 w 378"/>
                    <a:gd name="T53" fmla="*/ 2084 h 222"/>
                    <a:gd name="T54" fmla="*/ 14329 w 378"/>
                    <a:gd name="T55" fmla="*/ 2084 h 222"/>
                    <a:gd name="T56" fmla="*/ 16568 w 378"/>
                    <a:gd name="T57" fmla="*/ 1667 h 222"/>
                    <a:gd name="T58" fmla="*/ 17912 w 378"/>
                    <a:gd name="T59" fmla="*/ 2084 h 222"/>
                    <a:gd name="T60" fmla="*/ 20599 w 378"/>
                    <a:gd name="T61" fmla="*/ 3751 h 222"/>
                    <a:gd name="T62" fmla="*/ 21494 w 378"/>
                    <a:gd name="T63" fmla="*/ 4168 h 222"/>
                    <a:gd name="T64" fmla="*/ 21046 w 378"/>
                    <a:gd name="T65" fmla="*/ 5001 h 222"/>
                    <a:gd name="T66" fmla="*/ 23733 w 378"/>
                    <a:gd name="T67" fmla="*/ 7085 h 222"/>
                    <a:gd name="T68" fmla="*/ 24181 w 378"/>
                    <a:gd name="T69" fmla="*/ 5835 h 222"/>
                    <a:gd name="T70" fmla="*/ 26868 w 378"/>
                    <a:gd name="T71" fmla="*/ 5835 h 222"/>
                    <a:gd name="T72" fmla="*/ 28659 w 378"/>
                    <a:gd name="T73" fmla="*/ 7502 h 222"/>
                    <a:gd name="T74" fmla="*/ 30002 w 378"/>
                    <a:gd name="T75" fmla="*/ 7918 h 222"/>
                    <a:gd name="T76" fmla="*/ 32241 w 378"/>
                    <a:gd name="T77" fmla="*/ 10836 h 222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378"/>
                    <a:gd name="T118" fmla="*/ 0 h 222"/>
                    <a:gd name="T119" fmla="*/ 378 w 378"/>
                    <a:gd name="T120" fmla="*/ 222 h 222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378" h="222">
                      <a:moveTo>
                        <a:pt x="378" y="136"/>
                      </a:moveTo>
                      <a:lnTo>
                        <a:pt x="371" y="143"/>
                      </a:lnTo>
                      <a:lnTo>
                        <a:pt x="360" y="142"/>
                      </a:lnTo>
                      <a:lnTo>
                        <a:pt x="355" y="149"/>
                      </a:lnTo>
                      <a:lnTo>
                        <a:pt x="350" y="156"/>
                      </a:lnTo>
                      <a:lnTo>
                        <a:pt x="341" y="159"/>
                      </a:lnTo>
                      <a:lnTo>
                        <a:pt x="339" y="164"/>
                      </a:lnTo>
                      <a:lnTo>
                        <a:pt x="338" y="176"/>
                      </a:lnTo>
                      <a:lnTo>
                        <a:pt x="333" y="185"/>
                      </a:lnTo>
                      <a:lnTo>
                        <a:pt x="324" y="187"/>
                      </a:lnTo>
                      <a:lnTo>
                        <a:pt x="324" y="193"/>
                      </a:lnTo>
                      <a:lnTo>
                        <a:pt x="311" y="203"/>
                      </a:lnTo>
                      <a:lnTo>
                        <a:pt x="296" y="206"/>
                      </a:lnTo>
                      <a:lnTo>
                        <a:pt x="291" y="201"/>
                      </a:lnTo>
                      <a:lnTo>
                        <a:pt x="283" y="201"/>
                      </a:lnTo>
                      <a:lnTo>
                        <a:pt x="276" y="210"/>
                      </a:lnTo>
                      <a:lnTo>
                        <a:pt x="271" y="222"/>
                      </a:lnTo>
                      <a:lnTo>
                        <a:pt x="271" y="208"/>
                      </a:lnTo>
                      <a:lnTo>
                        <a:pt x="263" y="197"/>
                      </a:lnTo>
                      <a:lnTo>
                        <a:pt x="227" y="201"/>
                      </a:lnTo>
                      <a:lnTo>
                        <a:pt x="213" y="188"/>
                      </a:lnTo>
                      <a:lnTo>
                        <a:pt x="205" y="183"/>
                      </a:lnTo>
                      <a:lnTo>
                        <a:pt x="172" y="182"/>
                      </a:lnTo>
                      <a:lnTo>
                        <a:pt x="166" y="192"/>
                      </a:lnTo>
                      <a:lnTo>
                        <a:pt x="162" y="201"/>
                      </a:lnTo>
                      <a:lnTo>
                        <a:pt x="152" y="209"/>
                      </a:lnTo>
                      <a:lnTo>
                        <a:pt x="143" y="213"/>
                      </a:lnTo>
                      <a:lnTo>
                        <a:pt x="132" y="214"/>
                      </a:lnTo>
                      <a:lnTo>
                        <a:pt x="121" y="213"/>
                      </a:lnTo>
                      <a:lnTo>
                        <a:pt x="114" y="207"/>
                      </a:lnTo>
                      <a:lnTo>
                        <a:pt x="100" y="202"/>
                      </a:lnTo>
                      <a:lnTo>
                        <a:pt x="97" y="196"/>
                      </a:lnTo>
                      <a:lnTo>
                        <a:pt x="71" y="176"/>
                      </a:lnTo>
                      <a:lnTo>
                        <a:pt x="61" y="164"/>
                      </a:lnTo>
                      <a:lnTo>
                        <a:pt x="33" y="140"/>
                      </a:lnTo>
                      <a:lnTo>
                        <a:pt x="23" y="127"/>
                      </a:lnTo>
                      <a:lnTo>
                        <a:pt x="23" y="110"/>
                      </a:lnTo>
                      <a:lnTo>
                        <a:pt x="21" y="97"/>
                      </a:lnTo>
                      <a:lnTo>
                        <a:pt x="8" y="91"/>
                      </a:lnTo>
                      <a:lnTo>
                        <a:pt x="0" y="82"/>
                      </a:lnTo>
                      <a:lnTo>
                        <a:pt x="0" y="73"/>
                      </a:lnTo>
                      <a:lnTo>
                        <a:pt x="1" y="68"/>
                      </a:lnTo>
                      <a:lnTo>
                        <a:pt x="17" y="83"/>
                      </a:lnTo>
                      <a:lnTo>
                        <a:pt x="19" y="83"/>
                      </a:lnTo>
                      <a:lnTo>
                        <a:pt x="24" y="69"/>
                      </a:lnTo>
                      <a:lnTo>
                        <a:pt x="40" y="62"/>
                      </a:lnTo>
                      <a:lnTo>
                        <a:pt x="57" y="57"/>
                      </a:lnTo>
                      <a:lnTo>
                        <a:pt x="75" y="48"/>
                      </a:lnTo>
                      <a:lnTo>
                        <a:pt x="81" y="36"/>
                      </a:lnTo>
                      <a:lnTo>
                        <a:pt x="119" y="23"/>
                      </a:lnTo>
                      <a:lnTo>
                        <a:pt x="123" y="0"/>
                      </a:lnTo>
                      <a:lnTo>
                        <a:pt x="132" y="3"/>
                      </a:lnTo>
                      <a:lnTo>
                        <a:pt x="140" y="15"/>
                      </a:lnTo>
                      <a:lnTo>
                        <a:pt x="146" y="24"/>
                      </a:lnTo>
                      <a:lnTo>
                        <a:pt x="153" y="24"/>
                      </a:lnTo>
                      <a:lnTo>
                        <a:pt x="159" y="27"/>
                      </a:lnTo>
                      <a:lnTo>
                        <a:pt x="174" y="13"/>
                      </a:lnTo>
                      <a:lnTo>
                        <a:pt x="184" y="18"/>
                      </a:lnTo>
                      <a:lnTo>
                        <a:pt x="190" y="27"/>
                      </a:lnTo>
                      <a:lnTo>
                        <a:pt x="198" y="27"/>
                      </a:lnTo>
                      <a:lnTo>
                        <a:pt x="218" y="31"/>
                      </a:lnTo>
                      <a:lnTo>
                        <a:pt x="228" y="43"/>
                      </a:lnTo>
                      <a:lnTo>
                        <a:pt x="239" y="45"/>
                      </a:lnTo>
                      <a:lnTo>
                        <a:pt x="240" y="47"/>
                      </a:lnTo>
                      <a:lnTo>
                        <a:pt x="240" y="50"/>
                      </a:lnTo>
                      <a:lnTo>
                        <a:pt x="236" y="61"/>
                      </a:lnTo>
                      <a:lnTo>
                        <a:pt x="255" y="79"/>
                      </a:lnTo>
                      <a:lnTo>
                        <a:pt x="263" y="82"/>
                      </a:lnTo>
                      <a:lnTo>
                        <a:pt x="274" y="74"/>
                      </a:lnTo>
                      <a:lnTo>
                        <a:pt x="271" y="68"/>
                      </a:lnTo>
                      <a:lnTo>
                        <a:pt x="272" y="62"/>
                      </a:lnTo>
                      <a:lnTo>
                        <a:pt x="297" y="70"/>
                      </a:lnTo>
                      <a:lnTo>
                        <a:pt x="317" y="73"/>
                      </a:lnTo>
                      <a:lnTo>
                        <a:pt x="317" y="89"/>
                      </a:lnTo>
                      <a:lnTo>
                        <a:pt x="326" y="96"/>
                      </a:lnTo>
                      <a:lnTo>
                        <a:pt x="331" y="94"/>
                      </a:lnTo>
                      <a:lnTo>
                        <a:pt x="340" y="99"/>
                      </a:lnTo>
                      <a:lnTo>
                        <a:pt x="360" y="127"/>
                      </a:lnTo>
                      <a:lnTo>
                        <a:pt x="378" y="136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69" name="Freeform 211"/>
                <p:cNvSpPr>
                  <a:spLocks/>
                </p:cNvSpPr>
                <p:nvPr/>
              </p:nvSpPr>
              <p:spPr bwMode="gray">
                <a:xfrm>
                  <a:off x="4789863" y="2079190"/>
                  <a:ext cx="121804" cy="74742"/>
                </a:xfrm>
                <a:custGeom>
                  <a:avLst/>
                  <a:gdLst>
                    <a:gd name="T0" fmla="*/ 2665 w 346"/>
                    <a:gd name="T1" fmla="*/ 17270 h 215"/>
                    <a:gd name="T2" fmla="*/ 2665 w 346"/>
                    <a:gd name="T3" fmla="*/ 15626 h 215"/>
                    <a:gd name="T4" fmla="*/ 2221 w 346"/>
                    <a:gd name="T5" fmla="*/ 13570 h 215"/>
                    <a:gd name="T6" fmla="*/ 444 w 346"/>
                    <a:gd name="T7" fmla="*/ 11925 h 215"/>
                    <a:gd name="T8" fmla="*/ 444 w 346"/>
                    <a:gd name="T9" fmla="*/ 9869 h 215"/>
                    <a:gd name="T10" fmla="*/ 1332 w 346"/>
                    <a:gd name="T11" fmla="*/ 7813 h 215"/>
                    <a:gd name="T12" fmla="*/ 2221 w 346"/>
                    <a:gd name="T13" fmla="*/ 6579 h 215"/>
                    <a:gd name="T14" fmla="*/ 888 w 346"/>
                    <a:gd name="T15" fmla="*/ 5346 h 215"/>
                    <a:gd name="T16" fmla="*/ 444 w 346"/>
                    <a:gd name="T17" fmla="*/ 4112 h 215"/>
                    <a:gd name="T18" fmla="*/ 0 w 346"/>
                    <a:gd name="T19" fmla="*/ 2467 h 215"/>
                    <a:gd name="T20" fmla="*/ 444 w 346"/>
                    <a:gd name="T21" fmla="*/ 822 h 215"/>
                    <a:gd name="T22" fmla="*/ 1777 w 346"/>
                    <a:gd name="T23" fmla="*/ 0 h 215"/>
                    <a:gd name="T24" fmla="*/ 2665 w 346"/>
                    <a:gd name="T25" fmla="*/ 411 h 215"/>
                    <a:gd name="T26" fmla="*/ 2221 w 346"/>
                    <a:gd name="T27" fmla="*/ 1645 h 215"/>
                    <a:gd name="T28" fmla="*/ 3109 w 346"/>
                    <a:gd name="T29" fmla="*/ 2056 h 215"/>
                    <a:gd name="T30" fmla="*/ 4442 w 346"/>
                    <a:gd name="T31" fmla="*/ 2056 h 215"/>
                    <a:gd name="T32" fmla="*/ 7551 w 346"/>
                    <a:gd name="T33" fmla="*/ 2467 h 215"/>
                    <a:gd name="T34" fmla="*/ 11104 w 346"/>
                    <a:gd name="T35" fmla="*/ 2467 h 215"/>
                    <a:gd name="T36" fmla="*/ 15101 w 346"/>
                    <a:gd name="T37" fmla="*/ 3290 h 215"/>
                    <a:gd name="T38" fmla="*/ 16434 w 346"/>
                    <a:gd name="T39" fmla="*/ 2878 h 215"/>
                    <a:gd name="T40" fmla="*/ 18210 w 346"/>
                    <a:gd name="T41" fmla="*/ 2056 h 215"/>
                    <a:gd name="T42" fmla="*/ 19987 w 346"/>
                    <a:gd name="T43" fmla="*/ 1234 h 215"/>
                    <a:gd name="T44" fmla="*/ 22208 w 346"/>
                    <a:gd name="T45" fmla="*/ 411 h 215"/>
                    <a:gd name="T46" fmla="*/ 23984 w 346"/>
                    <a:gd name="T47" fmla="*/ 411 h 215"/>
                    <a:gd name="T48" fmla="*/ 24428 w 346"/>
                    <a:gd name="T49" fmla="*/ 822 h 215"/>
                    <a:gd name="T50" fmla="*/ 27093 w 346"/>
                    <a:gd name="T51" fmla="*/ 1645 h 215"/>
                    <a:gd name="T52" fmla="*/ 28870 w 346"/>
                    <a:gd name="T53" fmla="*/ 2467 h 215"/>
                    <a:gd name="T54" fmla="*/ 30646 w 346"/>
                    <a:gd name="T55" fmla="*/ 2467 h 215"/>
                    <a:gd name="T56" fmla="*/ 30202 w 346"/>
                    <a:gd name="T57" fmla="*/ 3701 h 215"/>
                    <a:gd name="T58" fmla="*/ 29758 w 346"/>
                    <a:gd name="T59" fmla="*/ 4934 h 215"/>
                    <a:gd name="T60" fmla="*/ 28426 w 346"/>
                    <a:gd name="T61" fmla="*/ 5346 h 215"/>
                    <a:gd name="T62" fmla="*/ 27093 w 346"/>
                    <a:gd name="T63" fmla="*/ 6579 h 215"/>
                    <a:gd name="T64" fmla="*/ 27093 w 346"/>
                    <a:gd name="T65" fmla="*/ 8635 h 215"/>
                    <a:gd name="T66" fmla="*/ 26205 w 346"/>
                    <a:gd name="T67" fmla="*/ 9046 h 215"/>
                    <a:gd name="T68" fmla="*/ 26205 w 346"/>
                    <a:gd name="T69" fmla="*/ 9458 h 215"/>
                    <a:gd name="T70" fmla="*/ 25317 w 346"/>
                    <a:gd name="T71" fmla="*/ 10280 h 215"/>
                    <a:gd name="T72" fmla="*/ 25317 w 346"/>
                    <a:gd name="T73" fmla="*/ 10691 h 215"/>
                    <a:gd name="T74" fmla="*/ 25761 w 346"/>
                    <a:gd name="T75" fmla="*/ 10691 h 215"/>
                    <a:gd name="T76" fmla="*/ 26205 w 346"/>
                    <a:gd name="T77" fmla="*/ 11514 h 215"/>
                    <a:gd name="T78" fmla="*/ 26649 w 346"/>
                    <a:gd name="T79" fmla="*/ 12336 h 215"/>
                    <a:gd name="T80" fmla="*/ 27537 w 346"/>
                    <a:gd name="T81" fmla="*/ 13570 h 215"/>
                    <a:gd name="T82" fmla="*/ 27537 w 346"/>
                    <a:gd name="T83" fmla="*/ 13981 h 215"/>
                    <a:gd name="T84" fmla="*/ 26649 w 346"/>
                    <a:gd name="T85" fmla="*/ 13570 h 215"/>
                    <a:gd name="T86" fmla="*/ 24872 w 346"/>
                    <a:gd name="T87" fmla="*/ 13981 h 215"/>
                    <a:gd name="T88" fmla="*/ 23096 w 346"/>
                    <a:gd name="T89" fmla="*/ 13158 h 215"/>
                    <a:gd name="T90" fmla="*/ 21319 w 346"/>
                    <a:gd name="T91" fmla="*/ 13981 h 215"/>
                    <a:gd name="T92" fmla="*/ 19987 w 346"/>
                    <a:gd name="T93" fmla="*/ 13981 h 215"/>
                    <a:gd name="T94" fmla="*/ 19543 w 346"/>
                    <a:gd name="T95" fmla="*/ 14803 h 215"/>
                    <a:gd name="T96" fmla="*/ 18210 w 346"/>
                    <a:gd name="T97" fmla="*/ 14803 h 215"/>
                    <a:gd name="T98" fmla="*/ 18210 w 346"/>
                    <a:gd name="T99" fmla="*/ 16448 h 215"/>
                    <a:gd name="T100" fmla="*/ 16878 w 346"/>
                    <a:gd name="T101" fmla="*/ 17270 h 215"/>
                    <a:gd name="T102" fmla="*/ 15101 w 346"/>
                    <a:gd name="T103" fmla="*/ 17682 h 215"/>
                    <a:gd name="T104" fmla="*/ 11992 w 346"/>
                    <a:gd name="T105" fmla="*/ 16859 h 215"/>
                    <a:gd name="T106" fmla="*/ 11104 w 346"/>
                    <a:gd name="T107" fmla="*/ 16037 h 215"/>
                    <a:gd name="T108" fmla="*/ 10215 w 346"/>
                    <a:gd name="T109" fmla="*/ 16037 h 215"/>
                    <a:gd name="T110" fmla="*/ 7551 w 346"/>
                    <a:gd name="T111" fmla="*/ 16859 h 215"/>
                    <a:gd name="T112" fmla="*/ 5330 w 346"/>
                    <a:gd name="T113" fmla="*/ 16859 h 215"/>
                    <a:gd name="T114" fmla="*/ 3997 w 346"/>
                    <a:gd name="T115" fmla="*/ 17270 h 215"/>
                    <a:gd name="T116" fmla="*/ 2665 w 346"/>
                    <a:gd name="T117" fmla="*/ 17270 h 215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346"/>
                    <a:gd name="T178" fmla="*/ 0 h 215"/>
                    <a:gd name="T179" fmla="*/ 346 w 346"/>
                    <a:gd name="T180" fmla="*/ 215 h 215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346" h="215">
                      <a:moveTo>
                        <a:pt x="32" y="208"/>
                      </a:moveTo>
                      <a:lnTo>
                        <a:pt x="31" y="192"/>
                      </a:lnTo>
                      <a:lnTo>
                        <a:pt x="26" y="163"/>
                      </a:lnTo>
                      <a:lnTo>
                        <a:pt x="3" y="143"/>
                      </a:lnTo>
                      <a:lnTo>
                        <a:pt x="3" y="118"/>
                      </a:lnTo>
                      <a:lnTo>
                        <a:pt x="15" y="94"/>
                      </a:lnTo>
                      <a:lnTo>
                        <a:pt x="26" y="82"/>
                      </a:lnTo>
                      <a:lnTo>
                        <a:pt x="11" y="66"/>
                      </a:lnTo>
                      <a:lnTo>
                        <a:pt x="3" y="51"/>
                      </a:lnTo>
                      <a:lnTo>
                        <a:pt x="0" y="29"/>
                      </a:lnTo>
                      <a:lnTo>
                        <a:pt x="3" y="8"/>
                      </a:lnTo>
                      <a:lnTo>
                        <a:pt x="20" y="0"/>
                      </a:lnTo>
                      <a:lnTo>
                        <a:pt x="32" y="4"/>
                      </a:lnTo>
                      <a:lnTo>
                        <a:pt x="26" y="19"/>
                      </a:lnTo>
                      <a:lnTo>
                        <a:pt x="37" y="27"/>
                      </a:lnTo>
                      <a:lnTo>
                        <a:pt x="51" y="27"/>
                      </a:lnTo>
                      <a:lnTo>
                        <a:pt x="85" y="31"/>
                      </a:lnTo>
                      <a:lnTo>
                        <a:pt x="126" y="32"/>
                      </a:lnTo>
                      <a:lnTo>
                        <a:pt x="170" y="40"/>
                      </a:lnTo>
                      <a:lnTo>
                        <a:pt x="187" y="35"/>
                      </a:lnTo>
                      <a:lnTo>
                        <a:pt x="206" y="23"/>
                      </a:lnTo>
                      <a:lnTo>
                        <a:pt x="226" y="13"/>
                      </a:lnTo>
                      <a:lnTo>
                        <a:pt x="252" y="4"/>
                      </a:lnTo>
                      <a:lnTo>
                        <a:pt x="272" y="5"/>
                      </a:lnTo>
                      <a:lnTo>
                        <a:pt x="278" y="10"/>
                      </a:lnTo>
                      <a:lnTo>
                        <a:pt x="308" y="19"/>
                      </a:lnTo>
                      <a:lnTo>
                        <a:pt x="328" y="32"/>
                      </a:lnTo>
                      <a:lnTo>
                        <a:pt x="346" y="31"/>
                      </a:lnTo>
                      <a:lnTo>
                        <a:pt x="343" y="47"/>
                      </a:lnTo>
                      <a:lnTo>
                        <a:pt x="338" y="58"/>
                      </a:lnTo>
                      <a:lnTo>
                        <a:pt x="319" y="63"/>
                      </a:lnTo>
                      <a:lnTo>
                        <a:pt x="306" y="78"/>
                      </a:lnTo>
                      <a:lnTo>
                        <a:pt x="306" y="107"/>
                      </a:lnTo>
                      <a:lnTo>
                        <a:pt x="298" y="110"/>
                      </a:lnTo>
                      <a:lnTo>
                        <a:pt x="295" y="116"/>
                      </a:lnTo>
                      <a:lnTo>
                        <a:pt x="284" y="126"/>
                      </a:lnTo>
                      <a:lnTo>
                        <a:pt x="287" y="129"/>
                      </a:lnTo>
                      <a:lnTo>
                        <a:pt x="292" y="131"/>
                      </a:lnTo>
                      <a:lnTo>
                        <a:pt x="296" y="138"/>
                      </a:lnTo>
                      <a:lnTo>
                        <a:pt x="299" y="148"/>
                      </a:lnTo>
                      <a:lnTo>
                        <a:pt x="310" y="163"/>
                      </a:lnTo>
                      <a:lnTo>
                        <a:pt x="311" y="169"/>
                      </a:lnTo>
                      <a:lnTo>
                        <a:pt x="303" y="167"/>
                      </a:lnTo>
                      <a:lnTo>
                        <a:pt x="280" y="171"/>
                      </a:lnTo>
                      <a:lnTo>
                        <a:pt x="262" y="161"/>
                      </a:lnTo>
                      <a:lnTo>
                        <a:pt x="242" y="169"/>
                      </a:lnTo>
                      <a:lnTo>
                        <a:pt x="228" y="171"/>
                      </a:lnTo>
                      <a:lnTo>
                        <a:pt x="219" y="179"/>
                      </a:lnTo>
                      <a:lnTo>
                        <a:pt x="208" y="180"/>
                      </a:lnTo>
                      <a:lnTo>
                        <a:pt x="206" y="199"/>
                      </a:lnTo>
                      <a:lnTo>
                        <a:pt x="192" y="212"/>
                      </a:lnTo>
                      <a:lnTo>
                        <a:pt x="172" y="215"/>
                      </a:lnTo>
                      <a:lnTo>
                        <a:pt x="137" y="203"/>
                      </a:lnTo>
                      <a:lnTo>
                        <a:pt x="127" y="195"/>
                      </a:lnTo>
                      <a:lnTo>
                        <a:pt x="115" y="195"/>
                      </a:lnTo>
                      <a:lnTo>
                        <a:pt x="84" y="204"/>
                      </a:lnTo>
                      <a:lnTo>
                        <a:pt x="62" y="204"/>
                      </a:lnTo>
                      <a:lnTo>
                        <a:pt x="45" y="208"/>
                      </a:lnTo>
                      <a:lnTo>
                        <a:pt x="32" y="208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70" name="Freeform 212"/>
                <p:cNvSpPr>
                  <a:spLocks/>
                </p:cNvSpPr>
                <p:nvPr/>
              </p:nvSpPr>
              <p:spPr bwMode="gray">
                <a:xfrm>
                  <a:off x="4619088" y="2013960"/>
                  <a:ext cx="111758" cy="96486"/>
                </a:xfrm>
                <a:custGeom>
                  <a:avLst/>
                  <a:gdLst>
                    <a:gd name="T0" fmla="*/ 22576 w 322"/>
                    <a:gd name="T1" fmla="*/ 4916 h 276"/>
                    <a:gd name="T2" fmla="*/ 19035 w 322"/>
                    <a:gd name="T3" fmla="*/ 4097 h 276"/>
                    <a:gd name="T4" fmla="*/ 15936 w 322"/>
                    <a:gd name="T5" fmla="*/ 819 h 276"/>
                    <a:gd name="T6" fmla="*/ 14608 w 322"/>
                    <a:gd name="T7" fmla="*/ 410 h 276"/>
                    <a:gd name="T8" fmla="*/ 12837 w 322"/>
                    <a:gd name="T9" fmla="*/ 410 h 276"/>
                    <a:gd name="T10" fmla="*/ 13280 w 322"/>
                    <a:gd name="T11" fmla="*/ 1229 h 276"/>
                    <a:gd name="T12" fmla="*/ 11952 w 322"/>
                    <a:gd name="T13" fmla="*/ 1639 h 276"/>
                    <a:gd name="T14" fmla="*/ 9739 w 322"/>
                    <a:gd name="T15" fmla="*/ 2868 h 276"/>
                    <a:gd name="T16" fmla="*/ 10181 w 322"/>
                    <a:gd name="T17" fmla="*/ 4507 h 276"/>
                    <a:gd name="T18" fmla="*/ 8411 w 322"/>
                    <a:gd name="T19" fmla="*/ 6146 h 276"/>
                    <a:gd name="T20" fmla="*/ 8411 w 322"/>
                    <a:gd name="T21" fmla="*/ 7784 h 276"/>
                    <a:gd name="T22" fmla="*/ 7083 w 322"/>
                    <a:gd name="T23" fmla="*/ 7784 h 276"/>
                    <a:gd name="T24" fmla="*/ 6640 w 322"/>
                    <a:gd name="T25" fmla="*/ 7375 h 276"/>
                    <a:gd name="T26" fmla="*/ 4869 w 322"/>
                    <a:gd name="T27" fmla="*/ 6146 h 276"/>
                    <a:gd name="T28" fmla="*/ 2656 w 322"/>
                    <a:gd name="T29" fmla="*/ 7375 h 276"/>
                    <a:gd name="T30" fmla="*/ 885 w 322"/>
                    <a:gd name="T31" fmla="*/ 7784 h 276"/>
                    <a:gd name="T32" fmla="*/ 1328 w 322"/>
                    <a:gd name="T33" fmla="*/ 11062 h 276"/>
                    <a:gd name="T34" fmla="*/ 3541 w 322"/>
                    <a:gd name="T35" fmla="*/ 9423 h 276"/>
                    <a:gd name="T36" fmla="*/ 5755 w 322"/>
                    <a:gd name="T37" fmla="*/ 9423 h 276"/>
                    <a:gd name="T38" fmla="*/ 6640 w 322"/>
                    <a:gd name="T39" fmla="*/ 10652 h 276"/>
                    <a:gd name="T40" fmla="*/ 8853 w 322"/>
                    <a:gd name="T41" fmla="*/ 14340 h 276"/>
                    <a:gd name="T42" fmla="*/ 7968 w 322"/>
                    <a:gd name="T43" fmla="*/ 15159 h 276"/>
                    <a:gd name="T44" fmla="*/ 10624 w 322"/>
                    <a:gd name="T45" fmla="*/ 17617 h 276"/>
                    <a:gd name="T46" fmla="*/ 11952 w 322"/>
                    <a:gd name="T47" fmla="*/ 19256 h 276"/>
                    <a:gd name="T48" fmla="*/ 15936 w 322"/>
                    <a:gd name="T49" fmla="*/ 20076 h 276"/>
                    <a:gd name="T50" fmla="*/ 19478 w 322"/>
                    <a:gd name="T51" fmla="*/ 22534 h 276"/>
                    <a:gd name="T52" fmla="*/ 17707 w 322"/>
                    <a:gd name="T53" fmla="*/ 19256 h 276"/>
                    <a:gd name="T54" fmla="*/ 15051 w 322"/>
                    <a:gd name="T55" fmla="*/ 17208 h 276"/>
                    <a:gd name="T56" fmla="*/ 13723 w 322"/>
                    <a:gd name="T57" fmla="*/ 15569 h 276"/>
                    <a:gd name="T58" fmla="*/ 12837 w 322"/>
                    <a:gd name="T59" fmla="*/ 13930 h 276"/>
                    <a:gd name="T60" fmla="*/ 12395 w 322"/>
                    <a:gd name="T61" fmla="*/ 12701 h 276"/>
                    <a:gd name="T62" fmla="*/ 11067 w 322"/>
                    <a:gd name="T63" fmla="*/ 11062 h 276"/>
                    <a:gd name="T64" fmla="*/ 11067 w 322"/>
                    <a:gd name="T65" fmla="*/ 10243 h 276"/>
                    <a:gd name="T66" fmla="*/ 11509 w 322"/>
                    <a:gd name="T67" fmla="*/ 7784 h 276"/>
                    <a:gd name="T68" fmla="*/ 13280 w 322"/>
                    <a:gd name="T69" fmla="*/ 9423 h 276"/>
                    <a:gd name="T70" fmla="*/ 15936 w 322"/>
                    <a:gd name="T71" fmla="*/ 8194 h 276"/>
                    <a:gd name="T72" fmla="*/ 17707 w 322"/>
                    <a:gd name="T73" fmla="*/ 8604 h 276"/>
                    <a:gd name="T74" fmla="*/ 18592 w 322"/>
                    <a:gd name="T75" fmla="*/ 8604 h 276"/>
                    <a:gd name="T76" fmla="*/ 20363 w 322"/>
                    <a:gd name="T77" fmla="*/ 8604 h 276"/>
                    <a:gd name="T78" fmla="*/ 21691 w 322"/>
                    <a:gd name="T79" fmla="*/ 8604 h 276"/>
                    <a:gd name="T80" fmla="*/ 22576 w 322"/>
                    <a:gd name="T81" fmla="*/ 9423 h 276"/>
                    <a:gd name="T82" fmla="*/ 23904 w 322"/>
                    <a:gd name="T83" fmla="*/ 9423 h 276"/>
                    <a:gd name="T84" fmla="*/ 24790 w 322"/>
                    <a:gd name="T85" fmla="*/ 9014 h 276"/>
                    <a:gd name="T86" fmla="*/ 25232 w 322"/>
                    <a:gd name="T87" fmla="*/ 10243 h 276"/>
                    <a:gd name="T88" fmla="*/ 27003 w 322"/>
                    <a:gd name="T89" fmla="*/ 10243 h 276"/>
                    <a:gd name="T90" fmla="*/ 27003 w 322"/>
                    <a:gd name="T91" fmla="*/ 9014 h 276"/>
                    <a:gd name="T92" fmla="*/ 27446 w 322"/>
                    <a:gd name="T93" fmla="*/ 8194 h 276"/>
                    <a:gd name="T94" fmla="*/ 28331 w 322"/>
                    <a:gd name="T95" fmla="*/ 8194 h 276"/>
                    <a:gd name="T96" fmla="*/ 27888 w 322"/>
                    <a:gd name="T97" fmla="*/ 8194 h 276"/>
                    <a:gd name="T98" fmla="*/ 26560 w 322"/>
                    <a:gd name="T99" fmla="*/ 7784 h 276"/>
                    <a:gd name="T100" fmla="*/ 26118 w 322"/>
                    <a:gd name="T101" fmla="*/ 7375 h 276"/>
                    <a:gd name="T102" fmla="*/ 26118 w 322"/>
                    <a:gd name="T103" fmla="*/ 6965 h 276"/>
                    <a:gd name="T104" fmla="*/ 26560 w 322"/>
                    <a:gd name="T105" fmla="*/ 6555 h 276"/>
                    <a:gd name="T106" fmla="*/ 26118 w 322"/>
                    <a:gd name="T107" fmla="*/ 6146 h 276"/>
                    <a:gd name="T108" fmla="*/ 25675 w 322"/>
                    <a:gd name="T109" fmla="*/ 6146 h 276"/>
                    <a:gd name="T110" fmla="*/ 25675 w 322"/>
                    <a:gd name="T111" fmla="*/ 5326 h 276"/>
                    <a:gd name="T112" fmla="*/ 24790 w 322"/>
                    <a:gd name="T113" fmla="*/ 4097 h 27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322"/>
                    <a:gd name="T172" fmla="*/ 0 h 276"/>
                    <a:gd name="T173" fmla="*/ 322 w 322"/>
                    <a:gd name="T174" fmla="*/ 276 h 276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322" h="276">
                      <a:moveTo>
                        <a:pt x="284" y="50"/>
                      </a:moveTo>
                      <a:lnTo>
                        <a:pt x="272" y="58"/>
                      </a:lnTo>
                      <a:lnTo>
                        <a:pt x="258" y="62"/>
                      </a:lnTo>
                      <a:lnTo>
                        <a:pt x="241" y="63"/>
                      </a:lnTo>
                      <a:lnTo>
                        <a:pt x="226" y="54"/>
                      </a:lnTo>
                      <a:lnTo>
                        <a:pt x="215" y="50"/>
                      </a:lnTo>
                      <a:lnTo>
                        <a:pt x="204" y="35"/>
                      </a:lnTo>
                      <a:lnTo>
                        <a:pt x="189" y="28"/>
                      </a:lnTo>
                      <a:lnTo>
                        <a:pt x="180" y="12"/>
                      </a:lnTo>
                      <a:lnTo>
                        <a:pt x="167" y="7"/>
                      </a:lnTo>
                      <a:lnTo>
                        <a:pt x="167" y="4"/>
                      </a:lnTo>
                      <a:lnTo>
                        <a:pt x="164" y="7"/>
                      </a:lnTo>
                      <a:lnTo>
                        <a:pt x="155" y="1"/>
                      </a:lnTo>
                      <a:lnTo>
                        <a:pt x="151" y="0"/>
                      </a:lnTo>
                      <a:lnTo>
                        <a:pt x="148" y="3"/>
                      </a:lnTo>
                      <a:lnTo>
                        <a:pt x="148" y="8"/>
                      </a:lnTo>
                      <a:lnTo>
                        <a:pt x="149" y="14"/>
                      </a:lnTo>
                      <a:lnTo>
                        <a:pt x="149" y="15"/>
                      </a:lnTo>
                      <a:lnTo>
                        <a:pt x="145" y="14"/>
                      </a:lnTo>
                      <a:lnTo>
                        <a:pt x="138" y="14"/>
                      </a:lnTo>
                      <a:lnTo>
                        <a:pt x="138" y="19"/>
                      </a:lnTo>
                      <a:lnTo>
                        <a:pt x="134" y="22"/>
                      </a:lnTo>
                      <a:lnTo>
                        <a:pt x="114" y="29"/>
                      </a:lnTo>
                      <a:lnTo>
                        <a:pt x="111" y="34"/>
                      </a:lnTo>
                      <a:lnTo>
                        <a:pt x="112" y="38"/>
                      </a:lnTo>
                      <a:lnTo>
                        <a:pt x="118" y="45"/>
                      </a:lnTo>
                      <a:lnTo>
                        <a:pt x="118" y="56"/>
                      </a:lnTo>
                      <a:lnTo>
                        <a:pt x="113" y="63"/>
                      </a:lnTo>
                      <a:lnTo>
                        <a:pt x="105" y="65"/>
                      </a:lnTo>
                      <a:lnTo>
                        <a:pt x="94" y="73"/>
                      </a:lnTo>
                      <a:lnTo>
                        <a:pt x="97" y="78"/>
                      </a:lnTo>
                      <a:lnTo>
                        <a:pt x="94" y="83"/>
                      </a:lnTo>
                      <a:lnTo>
                        <a:pt x="95" y="95"/>
                      </a:lnTo>
                      <a:lnTo>
                        <a:pt x="90" y="99"/>
                      </a:lnTo>
                      <a:lnTo>
                        <a:pt x="86" y="99"/>
                      </a:lnTo>
                      <a:lnTo>
                        <a:pt x="81" y="93"/>
                      </a:lnTo>
                      <a:lnTo>
                        <a:pt x="78" y="93"/>
                      </a:lnTo>
                      <a:lnTo>
                        <a:pt x="75" y="90"/>
                      </a:lnTo>
                      <a:lnTo>
                        <a:pt x="73" y="90"/>
                      </a:lnTo>
                      <a:lnTo>
                        <a:pt x="73" y="94"/>
                      </a:lnTo>
                      <a:lnTo>
                        <a:pt x="68" y="95"/>
                      </a:lnTo>
                      <a:lnTo>
                        <a:pt x="57" y="76"/>
                      </a:lnTo>
                      <a:lnTo>
                        <a:pt x="54" y="76"/>
                      </a:lnTo>
                      <a:lnTo>
                        <a:pt x="47" y="92"/>
                      </a:lnTo>
                      <a:lnTo>
                        <a:pt x="30" y="92"/>
                      </a:lnTo>
                      <a:lnTo>
                        <a:pt x="24" y="87"/>
                      </a:lnTo>
                      <a:lnTo>
                        <a:pt x="21" y="92"/>
                      </a:lnTo>
                      <a:lnTo>
                        <a:pt x="8" y="93"/>
                      </a:lnTo>
                      <a:lnTo>
                        <a:pt x="0" y="87"/>
                      </a:lnTo>
                      <a:lnTo>
                        <a:pt x="4" y="108"/>
                      </a:lnTo>
                      <a:lnTo>
                        <a:pt x="16" y="135"/>
                      </a:lnTo>
                      <a:lnTo>
                        <a:pt x="21" y="138"/>
                      </a:lnTo>
                      <a:lnTo>
                        <a:pt x="27" y="137"/>
                      </a:lnTo>
                      <a:lnTo>
                        <a:pt x="38" y="116"/>
                      </a:lnTo>
                      <a:lnTo>
                        <a:pt x="44" y="99"/>
                      </a:lnTo>
                      <a:lnTo>
                        <a:pt x="57" y="103"/>
                      </a:lnTo>
                      <a:lnTo>
                        <a:pt x="65" y="113"/>
                      </a:lnTo>
                      <a:lnTo>
                        <a:pt x="68" y="113"/>
                      </a:lnTo>
                      <a:lnTo>
                        <a:pt x="73" y="119"/>
                      </a:lnTo>
                      <a:lnTo>
                        <a:pt x="75" y="128"/>
                      </a:lnTo>
                      <a:lnTo>
                        <a:pt x="75" y="143"/>
                      </a:lnTo>
                      <a:lnTo>
                        <a:pt x="84" y="159"/>
                      </a:lnTo>
                      <a:lnTo>
                        <a:pt x="103" y="175"/>
                      </a:lnTo>
                      <a:lnTo>
                        <a:pt x="94" y="178"/>
                      </a:lnTo>
                      <a:lnTo>
                        <a:pt x="90" y="183"/>
                      </a:lnTo>
                      <a:lnTo>
                        <a:pt x="91" y="187"/>
                      </a:lnTo>
                      <a:lnTo>
                        <a:pt x="102" y="202"/>
                      </a:lnTo>
                      <a:lnTo>
                        <a:pt x="112" y="210"/>
                      </a:lnTo>
                      <a:lnTo>
                        <a:pt x="119" y="216"/>
                      </a:lnTo>
                      <a:lnTo>
                        <a:pt x="129" y="221"/>
                      </a:lnTo>
                      <a:lnTo>
                        <a:pt x="134" y="230"/>
                      </a:lnTo>
                      <a:lnTo>
                        <a:pt x="135" y="238"/>
                      </a:lnTo>
                      <a:lnTo>
                        <a:pt x="154" y="237"/>
                      </a:lnTo>
                      <a:lnTo>
                        <a:pt x="166" y="238"/>
                      </a:lnTo>
                      <a:lnTo>
                        <a:pt x="183" y="245"/>
                      </a:lnTo>
                      <a:lnTo>
                        <a:pt x="198" y="256"/>
                      </a:lnTo>
                      <a:lnTo>
                        <a:pt x="211" y="270"/>
                      </a:lnTo>
                      <a:lnTo>
                        <a:pt x="219" y="276"/>
                      </a:lnTo>
                      <a:lnTo>
                        <a:pt x="226" y="272"/>
                      </a:lnTo>
                      <a:lnTo>
                        <a:pt x="204" y="248"/>
                      </a:lnTo>
                      <a:lnTo>
                        <a:pt x="203" y="237"/>
                      </a:lnTo>
                      <a:lnTo>
                        <a:pt x="198" y="233"/>
                      </a:lnTo>
                      <a:lnTo>
                        <a:pt x="193" y="230"/>
                      </a:lnTo>
                      <a:lnTo>
                        <a:pt x="173" y="211"/>
                      </a:lnTo>
                      <a:lnTo>
                        <a:pt x="172" y="206"/>
                      </a:lnTo>
                      <a:lnTo>
                        <a:pt x="162" y="192"/>
                      </a:lnTo>
                      <a:lnTo>
                        <a:pt x="156" y="190"/>
                      </a:lnTo>
                      <a:lnTo>
                        <a:pt x="148" y="178"/>
                      </a:lnTo>
                      <a:lnTo>
                        <a:pt x="143" y="176"/>
                      </a:lnTo>
                      <a:lnTo>
                        <a:pt x="144" y="170"/>
                      </a:lnTo>
                      <a:lnTo>
                        <a:pt x="146" y="168"/>
                      </a:lnTo>
                      <a:lnTo>
                        <a:pt x="143" y="162"/>
                      </a:lnTo>
                      <a:lnTo>
                        <a:pt x="143" y="157"/>
                      </a:lnTo>
                      <a:lnTo>
                        <a:pt x="137" y="151"/>
                      </a:lnTo>
                      <a:lnTo>
                        <a:pt x="133" y="138"/>
                      </a:lnTo>
                      <a:lnTo>
                        <a:pt x="128" y="137"/>
                      </a:lnTo>
                      <a:lnTo>
                        <a:pt x="121" y="131"/>
                      </a:lnTo>
                      <a:lnTo>
                        <a:pt x="121" y="128"/>
                      </a:lnTo>
                      <a:lnTo>
                        <a:pt x="124" y="126"/>
                      </a:lnTo>
                      <a:lnTo>
                        <a:pt x="123" y="122"/>
                      </a:lnTo>
                      <a:lnTo>
                        <a:pt x="123" y="103"/>
                      </a:lnTo>
                      <a:lnTo>
                        <a:pt x="129" y="97"/>
                      </a:lnTo>
                      <a:lnTo>
                        <a:pt x="138" y="99"/>
                      </a:lnTo>
                      <a:lnTo>
                        <a:pt x="138" y="101"/>
                      </a:lnTo>
                      <a:lnTo>
                        <a:pt x="151" y="116"/>
                      </a:lnTo>
                      <a:lnTo>
                        <a:pt x="155" y="116"/>
                      </a:lnTo>
                      <a:lnTo>
                        <a:pt x="164" y="99"/>
                      </a:lnTo>
                      <a:lnTo>
                        <a:pt x="182" y="101"/>
                      </a:lnTo>
                      <a:lnTo>
                        <a:pt x="186" y="97"/>
                      </a:lnTo>
                      <a:lnTo>
                        <a:pt x="188" y="97"/>
                      </a:lnTo>
                      <a:lnTo>
                        <a:pt x="200" y="105"/>
                      </a:lnTo>
                      <a:lnTo>
                        <a:pt x="204" y="105"/>
                      </a:lnTo>
                      <a:lnTo>
                        <a:pt x="207" y="103"/>
                      </a:lnTo>
                      <a:lnTo>
                        <a:pt x="210" y="106"/>
                      </a:lnTo>
                      <a:lnTo>
                        <a:pt x="225" y="109"/>
                      </a:lnTo>
                      <a:lnTo>
                        <a:pt x="226" y="106"/>
                      </a:lnTo>
                      <a:lnTo>
                        <a:pt x="229" y="106"/>
                      </a:lnTo>
                      <a:lnTo>
                        <a:pt x="237" y="114"/>
                      </a:lnTo>
                      <a:lnTo>
                        <a:pt x="240" y="114"/>
                      </a:lnTo>
                      <a:lnTo>
                        <a:pt x="246" y="106"/>
                      </a:lnTo>
                      <a:lnTo>
                        <a:pt x="250" y="106"/>
                      </a:lnTo>
                      <a:lnTo>
                        <a:pt x="253" y="111"/>
                      </a:lnTo>
                      <a:lnTo>
                        <a:pt x="256" y="113"/>
                      </a:lnTo>
                      <a:lnTo>
                        <a:pt x="258" y="108"/>
                      </a:lnTo>
                      <a:lnTo>
                        <a:pt x="269" y="109"/>
                      </a:lnTo>
                      <a:lnTo>
                        <a:pt x="273" y="115"/>
                      </a:lnTo>
                      <a:lnTo>
                        <a:pt x="275" y="114"/>
                      </a:lnTo>
                      <a:lnTo>
                        <a:pt x="275" y="111"/>
                      </a:lnTo>
                      <a:lnTo>
                        <a:pt x="283" y="111"/>
                      </a:lnTo>
                      <a:lnTo>
                        <a:pt x="289" y="119"/>
                      </a:lnTo>
                      <a:lnTo>
                        <a:pt x="288" y="124"/>
                      </a:lnTo>
                      <a:lnTo>
                        <a:pt x="288" y="125"/>
                      </a:lnTo>
                      <a:lnTo>
                        <a:pt x="294" y="130"/>
                      </a:lnTo>
                      <a:lnTo>
                        <a:pt x="301" y="130"/>
                      </a:lnTo>
                      <a:lnTo>
                        <a:pt x="307" y="125"/>
                      </a:lnTo>
                      <a:lnTo>
                        <a:pt x="309" y="120"/>
                      </a:lnTo>
                      <a:lnTo>
                        <a:pt x="307" y="119"/>
                      </a:lnTo>
                      <a:lnTo>
                        <a:pt x="305" y="109"/>
                      </a:lnTo>
                      <a:lnTo>
                        <a:pt x="307" y="106"/>
                      </a:lnTo>
                      <a:lnTo>
                        <a:pt x="309" y="101"/>
                      </a:lnTo>
                      <a:lnTo>
                        <a:pt x="311" y="100"/>
                      </a:lnTo>
                      <a:lnTo>
                        <a:pt x="315" y="101"/>
                      </a:lnTo>
                      <a:lnTo>
                        <a:pt x="318" y="103"/>
                      </a:lnTo>
                      <a:lnTo>
                        <a:pt x="322" y="100"/>
                      </a:lnTo>
                      <a:lnTo>
                        <a:pt x="322" y="98"/>
                      </a:lnTo>
                      <a:lnTo>
                        <a:pt x="320" y="97"/>
                      </a:lnTo>
                      <a:lnTo>
                        <a:pt x="316" y="98"/>
                      </a:lnTo>
                      <a:lnTo>
                        <a:pt x="312" y="95"/>
                      </a:lnTo>
                      <a:lnTo>
                        <a:pt x="307" y="95"/>
                      </a:lnTo>
                      <a:lnTo>
                        <a:pt x="304" y="93"/>
                      </a:lnTo>
                      <a:lnTo>
                        <a:pt x="302" y="92"/>
                      </a:lnTo>
                      <a:lnTo>
                        <a:pt x="299" y="92"/>
                      </a:lnTo>
                      <a:lnTo>
                        <a:pt x="297" y="89"/>
                      </a:lnTo>
                      <a:lnTo>
                        <a:pt x="297" y="88"/>
                      </a:lnTo>
                      <a:lnTo>
                        <a:pt x="299" y="84"/>
                      </a:lnTo>
                      <a:lnTo>
                        <a:pt x="297" y="83"/>
                      </a:lnTo>
                      <a:lnTo>
                        <a:pt x="299" y="81"/>
                      </a:lnTo>
                      <a:lnTo>
                        <a:pt x="300" y="81"/>
                      </a:lnTo>
                      <a:lnTo>
                        <a:pt x="302" y="79"/>
                      </a:lnTo>
                      <a:lnTo>
                        <a:pt x="302" y="77"/>
                      </a:lnTo>
                      <a:lnTo>
                        <a:pt x="299" y="74"/>
                      </a:lnTo>
                      <a:lnTo>
                        <a:pt x="297" y="74"/>
                      </a:lnTo>
                      <a:lnTo>
                        <a:pt x="295" y="77"/>
                      </a:lnTo>
                      <a:lnTo>
                        <a:pt x="291" y="76"/>
                      </a:lnTo>
                      <a:lnTo>
                        <a:pt x="291" y="73"/>
                      </a:lnTo>
                      <a:lnTo>
                        <a:pt x="294" y="70"/>
                      </a:lnTo>
                      <a:lnTo>
                        <a:pt x="294" y="66"/>
                      </a:lnTo>
                      <a:lnTo>
                        <a:pt x="291" y="63"/>
                      </a:lnTo>
                      <a:lnTo>
                        <a:pt x="293" y="61"/>
                      </a:lnTo>
                      <a:lnTo>
                        <a:pt x="293" y="57"/>
                      </a:lnTo>
                      <a:lnTo>
                        <a:pt x="284" y="50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71" name="Freeform 213"/>
                <p:cNvSpPr>
                  <a:spLocks/>
                </p:cNvSpPr>
                <p:nvPr/>
              </p:nvSpPr>
              <p:spPr bwMode="gray">
                <a:xfrm>
                  <a:off x="4729589" y="2118599"/>
                  <a:ext cx="35160" cy="76101"/>
                </a:xfrm>
                <a:custGeom>
                  <a:avLst/>
                  <a:gdLst>
                    <a:gd name="T0" fmla="*/ 4592 w 97"/>
                    <a:gd name="T1" fmla="*/ 17682 h 215"/>
                    <a:gd name="T2" fmla="*/ 3674 w 97"/>
                    <a:gd name="T3" fmla="*/ 17270 h 215"/>
                    <a:gd name="T4" fmla="*/ 3674 w 97"/>
                    <a:gd name="T5" fmla="*/ 16448 h 215"/>
                    <a:gd name="T6" fmla="*/ 2755 w 97"/>
                    <a:gd name="T7" fmla="*/ 15626 h 215"/>
                    <a:gd name="T8" fmla="*/ 1378 w 97"/>
                    <a:gd name="T9" fmla="*/ 15214 h 215"/>
                    <a:gd name="T10" fmla="*/ 459 w 97"/>
                    <a:gd name="T11" fmla="*/ 13981 h 215"/>
                    <a:gd name="T12" fmla="*/ 0 w 97"/>
                    <a:gd name="T13" fmla="*/ 13158 h 215"/>
                    <a:gd name="T14" fmla="*/ 459 w 97"/>
                    <a:gd name="T15" fmla="*/ 13158 h 215"/>
                    <a:gd name="T16" fmla="*/ 459 w 97"/>
                    <a:gd name="T17" fmla="*/ 12336 h 215"/>
                    <a:gd name="T18" fmla="*/ 459 w 97"/>
                    <a:gd name="T19" fmla="*/ 11514 h 215"/>
                    <a:gd name="T20" fmla="*/ 459 w 97"/>
                    <a:gd name="T21" fmla="*/ 10280 h 215"/>
                    <a:gd name="T22" fmla="*/ 918 w 97"/>
                    <a:gd name="T23" fmla="*/ 10280 h 215"/>
                    <a:gd name="T24" fmla="*/ 918 w 97"/>
                    <a:gd name="T25" fmla="*/ 9458 h 215"/>
                    <a:gd name="T26" fmla="*/ 918 w 97"/>
                    <a:gd name="T27" fmla="*/ 8635 h 215"/>
                    <a:gd name="T28" fmla="*/ 459 w 97"/>
                    <a:gd name="T29" fmla="*/ 7813 h 215"/>
                    <a:gd name="T30" fmla="*/ 1378 w 97"/>
                    <a:gd name="T31" fmla="*/ 5346 h 215"/>
                    <a:gd name="T32" fmla="*/ 918 w 97"/>
                    <a:gd name="T33" fmla="*/ 4934 h 215"/>
                    <a:gd name="T34" fmla="*/ 0 w 97"/>
                    <a:gd name="T35" fmla="*/ 4523 h 215"/>
                    <a:gd name="T36" fmla="*/ 459 w 97"/>
                    <a:gd name="T37" fmla="*/ 3290 h 215"/>
                    <a:gd name="T38" fmla="*/ 459 w 97"/>
                    <a:gd name="T39" fmla="*/ 2467 h 215"/>
                    <a:gd name="T40" fmla="*/ 918 w 97"/>
                    <a:gd name="T41" fmla="*/ 1234 h 215"/>
                    <a:gd name="T42" fmla="*/ 1837 w 97"/>
                    <a:gd name="T43" fmla="*/ 822 h 215"/>
                    <a:gd name="T44" fmla="*/ 2296 w 97"/>
                    <a:gd name="T45" fmla="*/ 0 h 215"/>
                    <a:gd name="T46" fmla="*/ 2755 w 97"/>
                    <a:gd name="T47" fmla="*/ 411 h 215"/>
                    <a:gd name="T48" fmla="*/ 4133 w 97"/>
                    <a:gd name="T49" fmla="*/ 822 h 215"/>
                    <a:gd name="T50" fmla="*/ 5051 w 97"/>
                    <a:gd name="T51" fmla="*/ 1645 h 215"/>
                    <a:gd name="T52" fmla="*/ 5970 w 97"/>
                    <a:gd name="T53" fmla="*/ 2056 h 215"/>
                    <a:gd name="T54" fmla="*/ 6888 w 97"/>
                    <a:gd name="T55" fmla="*/ 3290 h 215"/>
                    <a:gd name="T56" fmla="*/ 6429 w 97"/>
                    <a:gd name="T57" fmla="*/ 6168 h 215"/>
                    <a:gd name="T58" fmla="*/ 6429 w 97"/>
                    <a:gd name="T59" fmla="*/ 7813 h 215"/>
                    <a:gd name="T60" fmla="*/ 7347 w 97"/>
                    <a:gd name="T61" fmla="*/ 9458 h 215"/>
                    <a:gd name="T62" fmla="*/ 8725 w 97"/>
                    <a:gd name="T63" fmla="*/ 10691 h 215"/>
                    <a:gd name="T64" fmla="*/ 9184 w 97"/>
                    <a:gd name="T65" fmla="*/ 11514 h 215"/>
                    <a:gd name="T66" fmla="*/ 9184 w 97"/>
                    <a:gd name="T67" fmla="*/ 12747 h 215"/>
                    <a:gd name="T68" fmla="*/ 7807 w 97"/>
                    <a:gd name="T69" fmla="*/ 13570 h 215"/>
                    <a:gd name="T70" fmla="*/ 6888 w 97"/>
                    <a:gd name="T71" fmla="*/ 15214 h 215"/>
                    <a:gd name="T72" fmla="*/ 5970 w 97"/>
                    <a:gd name="T73" fmla="*/ 15626 h 215"/>
                    <a:gd name="T74" fmla="*/ 5970 w 97"/>
                    <a:gd name="T75" fmla="*/ 16859 h 215"/>
                    <a:gd name="T76" fmla="*/ 5511 w 97"/>
                    <a:gd name="T77" fmla="*/ 17270 h 215"/>
                    <a:gd name="T78" fmla="*/ 4592 w 97"/>
                    <a:gd name="T79" fmla="*/ 17682 h 215"/>
                    <a:gd name="T80" fmla="*/ 4592 w 97"/>
                    <a:gd name="T81" fmla="*/ 17682 h 215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97"/>
                    <a:gd name="T124" fmla="*/ 0 h 215"/>
                    <a:gd name="T125" fmla="*/ 97 w 97"/>
                    <a:gd name="T126" fmla="*/ 215 h 215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97" h="215">
                      <a:moveTo>
                        <a:pt x="48" y="215"/>
                      </a:moveTo>
                      <a:lnTo>
                        <a:pt x="39" y="210"/>
                      </a:lnTo>
                      <a:lnTo>
                        <a:pt x="38" y="200"/>
                      </a:lnTo>
                      <a:lnTo>
                        <a:pt x="31" y="190"/>
                      </a:lnTo>
                      <a:lnTo>
                        <a:pt x="13" y="183"/>
                      </a:lnTo>
                      <a:lnTo>
                        <a:pt x="4" y="168"/>
                      </a:lnTo>
                      <a:lnTo>
                        <a:pt x="0" y="160"/>
                      </a:lnTo>
                      <a:lnTo>
                        <a:pt x="7" y="161"/>
                      </a:lnTo>
                      <a:lnTo>
                        <a:pt x="7" y="152"/>
                      </a:lnTo>
                      <a:lnTo>
                        <a:pt x="4" y="139"/>
                      </a:lnTo>
                      <a:lnTo>
                        <a:pt x="7" y="125"/>
                      </a:lnTo>
                      <a:lnTo>
                        <a:pt x="8" y="123"/>
                      </a:lnTo>
                      <a:lnTo>
                        <a:pt x="8" y="114"/>
                      </a:lnTo>
                      <a:lnTo>
                        <a:pt x="10" y="106"/>
                      </a:lnTo>
                      <a:lnTo>
                        <a:pt x="6" y="94"/>
                      </a:lnTo>
                      <a:lnTo>
                        <a:pt x="15" y="64"/>
                      </a:lnTo>
                      <a:lnTo>
                        <a:pt x="10" y="58"/>
                      </a:lnTo>
                      <a:lnTo>
                        <a:pt x="2" y="56"/>
                      </a:lnTo>
                      <a:lnTo>
                        <a:pt x="7" y="40"/>
                      </a:lnTo>
                      <a:lnTo>
                        <a:pt x="5" y="29"/>
                      </a:lnTo>
                      <a:lnTo>
                        <a:pt x="10" y="15"/>
                      </a:lnTo>
                      <a:lnTo>
                        <a:pt x="17" y="10"/>
                      </a:lnTo>
                      <a:lnTo>
                        <a:pt x="23" y="0"/>
                      </a:lnTo>
                      <a:lnTo>
                        <a:pt x="31" y="7"/>
                      </a:lnTo>
                      <a:lnTo>
                        <a:pt x="45" y="9"/>
                      </a:lnTo>
                      <a:lnTo>
                        <a:pt x="51" y="20"/>
                      </a:lnTo>
                      <a:lnTo>
                        <a:pt x="61" y="24"/>
                      </a:lnTo>
                      <a:lnTo>
                        <a:pt x="74" y="40"/>
                      </a:lnTo>
                      <a:lnTo>
                        <a:pt x="69" y="76"/>
                      </a:lnTo>
                      <a:lnTo>
                        <a:pt x="69" y="93"/>
                      </a:lnTo>
                      <a:lnTo>
                        <a:pt x="77" y="113"/>
                      </a:lnTo>
                      <a:lnTo>
                        <a:pt x="94" y="130"/>
                      </a:lnTo>
                      <a:lnTo>
                        <a:pt x="97" y="140"/>
                      </a:lnTo>
                      <a:lnTo>
                        <a:pt x="97" y="155"/>
                      </a:lnTo>
                      <a:lnTo>
                        <a:pt x="83" y="166"/>
                      </a:lnTo>
                      <a:lnTo>
                        <a:pt x="75" y="183"/>
                      </a:lnTo>
                      <a:lnTo>
                        <a:pt x="65" y="190"/>
                      </a:lnTo>
                      <a:lnTo>
                        <a:pt x="63" y="203"/>
                      </a:lnTo>
                      <a:lnTo>
                        <a:pt x="58" y="209"/>
                      </a:lnTo>
                      <a:lnTo>
                        <a:pt x="49" y="215"/>
                      </a:lnTo>
                      <a:lnTo>
                        <a:pt x="48" y="215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72" name="Freeform 214"/>
                <p:cNvSpPr>
                  <a:spLocks/>
                </p:cNvSpPr>
                <p:nvPr/>
              </p:nvSpPr>
              <p:spPr bwMode="gray">
                <a:xfrm>
                  <a:off x="4713266" y="2022114"/>
                  <a:ext cx="85388" cy="118229"/>
                </a:xfrm>
                <a:custGeom>
                  <a:avLst/>
                  <a:gdLst>
                    <a:gd name="T0" fmla="*/ 2218 w 241"/>
                    <a:gd name="T1" fmla="*/ 2913 h 331"/>
                    <a:gd name="T2" fmla="*/ 2218 w 241"/>
                    <a:gd name="T3" fmla="*/ 3745 h 331"/>
                    <a:gd name="T4" fmla="*/ 2218 w 241"/>
                    <a:gd name="T5" fmla="*/ 4162 h 331"/>
                    <a:gd name="T6" fmla="*/ 2662 w 241"/>
                    <a:gd name="T7" fmla="*/ 4162 h 331"/>
                    <a:gd name="T8" fmla="*/ 2662 w 241"/>
                    <a:gd name="T9" fmla="*/ 4578 h 331"/>
                    <a:gd name="T10" fmla="*/ 2218 w 241"/>
                    <a:gd name="T11" fmla="*/ 4994 h 331"/>
                    <a:gd name="T12" fmla="*/ 2662 w 241"/>
                    <a:gd name="T13" fmla="*/ 5410 h 331"/>
                    <a:gd name="T14" fmla="*/ 3549 w 241"/>
                    <a:gd name="T15" fmla="*/ 5826 h 331"/>
                    <a:gd name="T16" fmla="*/ 4436 w 241"/>
                    <a:gd name="T17" fmla="*/ 5826 h 331"/>
                    <a:gd name="T18" fmla="*/ 3992 w 241"/>
                    <a:gd name="T19" fmla="*/ 6242 h 331"/>
                    <a:gd name="T20" fmla="*/ 3105 w 241"/>
                    <a:gd name="T21" fmla="*/ 6659 h 331"/>
                    <a:gd name="T22" fmla="*/ 3549 w 241"/>
                    <a:gd name="T23" fmla="*/ 7907 h 331"/>
                    <a:gd name="T24" fmla="*/ 4436 w 241"/>
                    <a:gd name="T25" fmla="*/ 8323 h 331"/>
                    <a:gd name="T26" fmla="*/ 3992 w 241"/>
                    <a:gd name="T27" fmla="*/ 9572 h 331"/>
                    <a:gd name="T28" fmla="*/ 3549 w 241"/>
                    <a:gd name="T29" fmla="*/ 10820 h 331"/>
                    <a:gd name="T30" fmla="*/ 3549 w 241"/>
                    <a:gd name="T31" fmla="*/ 12069 h 331"/>
                    <a:gd name="T32" fmla="*/ 4436 w 241"/>
                    <a:gd name="T33" fmla="*/ 12485 h 331"/>
                    <a:gd name="T34" fmla="*/ 4879 w 241"/>
                    <a:gd name="T35" fmla="*/ 13317 h 331"/>
                    <a:gd name="T36" fmla="*/ 5323 w 241"/>
                    <a:gd name="T37" fmla="*/ 13317 h 331"/>
                    <a:gd name="T38" fmla="*/ 5767 w 241"/>
                    <a:gd name="T39" fmla="*/ 14150 h 331"/>
                    <a:gd name="T40" fmla="*/ 4436 w 241"/>
                    <a:gd name="T41" fmla="*/ 14150 h 331"/>
                    <a:gd name="T42" fmla="*/ 3992 w 241"/>
                    <a:gd name="T43" fmla="*/ 14566 h 331"/>
                    <a:gd name="T44" fmla="*/ 5323 w 241"/>
                    <a:gd name="T45" fmla="*/ 15814 h 331"/>
                    <a:gd name="T46" fmla="*/ 4879 w 241"/>
                    <a:gd name="T47" fmla="*/ 16647 h 331"/>
                    <a:gd name="T48" fmla="*/ 4436 w 241"/>
                    <a:gd name="T49" fmla="*/ 17063 h 331"/>
                    <a:gd name="T50" fmla="*/ 3105 w 241"/>
                    <a:gd name="T51" fmla="*/ 17063 h 331"/>
                    <a:gd name="T52" fmla="*/ 2662 w 241"/>
                    <a:gd name="T53" fmla="*/ 17063 h 331"/>
                    <a:gd name="T54" fmla="*/ 2662 w 241"/>
                    <a:gd name="T55" fmla="*/ 17895 h 331"/>
                    <a:gd name="T56" fmla="*/ 3105 w 241"/>
                    <a:gd name="T57" fmla="*/ 18727 h 331"/>
                    <a:gd name="T58" fmla="*/ 2662 w 241"/>
                    <a:gd name="T59" fmla="*/ 18727 h 331"/>
                    <a:gd name="T60" fmla="*/ 2218 w 241"/>
                    <a:gd name="T61" fmla="*/ 18311 h 331"/>
                    <a:gd name="T62" fmla="*/ 887 w 241"/>
                    <a:gd name="T63" fmla="*/ 19560 h 331"/>
                    <a:gd name="T64" fmla="*/ 444 w 241"/>
                    <a:gd name="T65" fmla="*/ 20392 h 331"/>
                    <a:gd name="T66" fmla="*/ 0 w 241"/>
                    <a:gd name="T67" fmla="*/ 21224 h 331"/>
                    <a:gd name="T68" fmla="*/ 444 w 241"/>
                    <a:gd name="T69" fmla="*/ 22473 h 331"/>
                    <a:gd name="T70" fmla="*/ 0 w 241"/>
                    <a:gd name="T71" fmla="*/ 24138 h 331"/>
                    <a:gd name="T72" fmla="*/ 3105 w 241"/>
                    <a:gd name="T73" fmla="*/ 26635 h 331"/>
                    <a:gd name="T74" fmla="*/ 4879 w 241"/>
                    <a:gd name="T75" fmla="*/ 26635 h 331"/>
                    <a:gd name="T76" fmla="*/ 5767 w 241"/>
                    <a:gd name="T77" fmla="*/ 24138 h 331"/>
                    <a:gd name="T78" fmla="*/ 7985 w 241"/>
                    <a:gd name="T79" fmla="*/ 23721 h 331"/>
                    <a:gd name="T80" fmla="*/ 10646 w 241"/>
                    <a:gd name="T81" fmla="*/ 26635 h 331"/>
                    <a:gd name="T82" fmla="*/ 11533 w 241"/>
                    <a:gd name="T83" fmla="*/ 26635 h 331"/>
                    <a:gd name="T84" fmla="*/ 13308 w 241"/>
                    <a:gd name="T85" fmla="*/ 25386 h 331"/>
                    <a:gd name="T86" fmla="*/ 14195 w 241"/>
                    <a:gd name="T87" fmla="*/ 25386 h 331"/>
                    <a:gd name="T88" fmla="*/ 16413 w 241"/>
                    <a:gd name="T89" fmla="*/ 24970 h 331"/>
                    <a:gd name="T90" fmla="*/ 19074 w 241"/>
                    <a:gd name="T91" fmla="*/ 25386 h 331"/>
                    <a:gd name="T92" fmla="*/ 21292 w 241"/>
                    <a:gd name="T93" fmla="*/ 20392 h 331"/>
                    <a:gd name="T94" fmla="*/ 19074 w 241"/>
                    <a:gd name="T95" fmla="*/ 15814 h 331"/>
                    <a:gd name="T96" fmla="*/ 19962 w 241"/>
                    <a:gd name="T97" fmla="*/ 13317 h 331"/>
                    <a:gd name="T98" fmla="*/ 19518 w 241"/>
                    <a:gd name="T99" fmla="*/ 9988 h 331"/>
                    <a:gd name="T100" fmla="*/ 14638 w 241"/>
                    <a:gd name="T101" fmla="*/ 8739 h 331"/>
                    <a:gd name="T102" fmla="*/ 13751 w 241"/>
                    <a:gd name="T103" fmla="*/ 6242 h 331"/>
                    <a:gd name="T104" fmla="*/ 11533 w 241"/>
                    <a:gd name="T105" fmla="*/ 3745 h 331"/>
                    <a:gd name="T106" fmla="*/ 8872 w 241"/>
                    <a:gd name="T107" fmla="*/ 832 h 331"/>
                    <a:gd name="T108" fmla="*/ 7097 w 241"/>
                    <a:gd name="T109" fmla="*/ 416 h 331"/>
                    <a:gd name="T110" fmla="*/ 3105 w 241"/>
                    <a:gd name="T111" fmla="*/ 1248 h 331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241"/>
                    <a:gd name="T169" fmla="*/ 0 h 331"/>
                    <a:gd name="T170" fmla="*/ 241 w 241"/>
                    <a:gd name="T171" fmla="*/ 331 h 331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241" h="331">
                      <a:moveTo>
                        <a:pt x="14" y="22"/>
                      </a:moveTo>
                      <a:lnTo>
                        <a:pt x="23" y="29"/>
                      </a:lnTo>
                      <a:lnTo>
                        <a:pt x="23" y="33"/>
                      </a:lnTo>
                      <a:lnTo>
                        <a:pt x="21" y="35"/>
                      </a:lnTo>
                      <a:lnTo>
                        <a:pt x="24" y="38"/>
                      </a:lnTo>
                      <a:lnTo>
                        <a:pt x="24" y="42"/>
                      </a:lnTo>
                      <a:lnTo>
                        <a:pt x="21" y="45"/>
                      </a:lnTo>
                      <a:lnTo>
                        <a:pt x="21" y="48"/>
                      </a:lnTo>
                      <a:lnTo>
                        <a:pt x="25" y="49"/>
                      </a:lnTo>
                      <a:lnTo>
                        <a:pt x="27" y="46"/>
                      </a:lnTo>
                      <a:lnTo>
                        <a:pt x="29" y="46"/>
                      </a:lnTo>
                      <a:lnTo>
                        <a:pt x="32" y="49"/>
                      </a:lnTo>
                      <a:lnTo>
                        <a:pt x="32" y="51"/>
                      </a:lnTo>
                      <a:lnTo>
                        <a:pt x="30" y="53"/>
                      </a:lnTo>
                      <a:lnTo>
                        <a:pt x="29" y="53"/>
                      </a:lnTo>
                      <a:lnTo>
                        <a:pt x="27" y="55"/>
                      </a:lnTo>
                      <a:lnTo>
                        <a:pt x="29" y="56"/>
                      </a:lnTo>
                      <a:lnTo>
                        <a:pt x="27" y="60"/>
                      </a:lnTo>
                      <a:lnTo>
                        <a:pt x="27" y="61"/>
                      </a:lnTo>
                      <a:lnTo>
                        <a:pt x="29" y="64"/>
                      </a:lnTo>
                      <a:lnTo>
                        <a:pt x="32" y="64"/>
                      </a:lnTo>
                      <a:lnTo>
                        <a:pt x="34" y="65"/>
                      </a:lnTo>
                      <a:lnTo>
                        <a:pt x="37" y="67"/>
                      </a:lnTo>
                      <a:lnTo>
                        <a:pt x="42" y="67"/>
                      </a:lnTo>
                      <a:lnTo>
                        <a:pt x="46" y="70"/>
                      </a:lnTo>
                      <a:lnTo>
                        <a:pt x="50" y="69"/>
                      </a:lnTo>
                      <a:lnTo>
                        <a:pt x="52" y="70"/>
                      </a:lnTo>
                      <a:lnTo>
                        <a:pt x="52" y="72"/>
                      </a:lnTo>
                      <a:lnTo>
                        <a:pt x="48" y="75"/>
                      </a:lnTo>
                      <a:lnTo>
                        <a:pt x="45" y="73"/>
                      </a:lnTo>
                      <a:lnTo>
                        <a:pt x="41" y="72"/>
                      </a:lnTo>
                      <a:lnTo>
                        <a:pt x="39" y="73"/>
                      </a:lnTo>
                      <a:lnTo>
                        <a:pt x="37" y="78"/>
                      </a:lnTo>
                      <a:lnTo>
                        <a:pt x="35" y="81"/>
                      </a:lnTo>
                      <a:lnTo>
                        <a:pt x="37" y="91"/>
                      </a:lnTo>
                      <a:lnTo>
                        <a:pt x="39" y="92"/>
                      </a:lnTo>
                      <a:lnTo>
                        <a:pt x="37" y="97"/>
                      </a:lnTo>
                      <a:lnTo>
                        <a:pt x="50" y="97"/>
                      </a:lnTo>
                      <a:lnTo>
                        <a:pt x="52" y="100"/>
                      </a:lnTo>
                      <a:lnTo>
                        <a:pt x="51" y="104"/>
                      </a:lnTo>
                      <a:lnTo>
                        <a:pt x="51" y="108"/>
                      </a:lnTo>
                      <a:lnTo>
                        <a:pt x="46" y="115"/>
                      </a:lnTo>
                      <a:lnTo>
                        <a:pt x="41" y="126"/>
                      </a:lnTo>
                      <a:lnTo>
                        <a:pt x="39" y="128"/>
                      </a:lnTo>
                      <a:lnTo>
                        <a:pt x="39" y="130"/>
                      </a:lnTo>
                      <a:lnTo>
                        <a:pt x="40" y="132"/>
                      </a:lnTo>
                      <a:lnTo>
                        <a:pt x="36" y="137"/>
                      </a:lnTo>
                      <a:lnTo>
                        <a:pt x="39" y="145"/>
                      </a:lnTo>
                      <a:lnTo>
                        <a:pt x="42" y="145"/>
                      </a:lnTo>
                      <a:lnTo>
                        <a:pt x="45" y="147"/>
                      </a:lnTo>
                      <a:lnTo>
                        <a:pt x="48" y="146"/>
                      </a:lnTo>
                      <a:lnTo>
                        <a:pt x="50" y="148"/>
                      </a:lnTo>
                      <a:lnTo>
                        <a:pt x="51" y="152"/>
                      </a:lnTo>
                      <a:lnTo>
                        <a:pt x="54" y="156"/>
                      </a:lnTo>
                      <a:lnTo>
                        <a:pt x="58" y="156"/>
                      </a:lnTo>
                      <a:lnTo>
                        <a:pt x="58" y="157"/>
                      </a:lnTo>
                      <a:lnTo>
                        <a:pt x="58" y="159"/>
                      </a:lnTo>
                      <a:lnTo>
                        <a:pt x="63" y="162"/>
                      </a:lnTo>
                      <a:lnTo>
                        <a:pt x="66" y="163"/>
                      </a:lnTo>
                      <a:lnTo>
                        <a:pt x="66" y="166"/>
                      </a:lnTo>
                      <a:lnTo>
                        <a:pt x="62" y="171"/>
                      </a:lnTo>
                      <a:lnTo>
                        <a:pt x="53" y="171"/>
                      </a:lnTo>
                      <a:lnTo>
                        <a:pt x="48" y="167"/>
                      </a:lnTo>
                      <a:lnTo>
                        <a:pt x="46" y="167"/>
                      </a:lnTo>
                      <a:lnTo>
                        <a:pt x="45" y="169"/>
                      </a:lnTo>
                      <a:lnTo>
                        <a:pt x="46" y="171"/>
                      </a:lnTo>
                      <a:lnTo>
                        <a:pt x="52" y="178"/>
                      </a:lnTo>
                      <a:lnTo>
                        <a:pt x="58" y="186"/>
                      </a:lnTo>
                      <a:lnTo>
                        <a:pt x="61" y="188"/>
                      </a:lnTo>
                      <a:lnTo>
                        <a:pt x="59" y="195"/>
                      </a:lnTo>
                      <a:lnTo>
                        <a:pt x="58" y="198"/>
                      </a:lnTo>
                      <a:lnTo>
                        <a:pt x="56" y="199"/>
                      </a:lnTo>
                      <a:lnTo>
                        <a:pt x="53" y="198"/>
                      </a:lnTo>
                      <a:lnTo>
                        <a:pt x="51" y="198"/>
                      </a:lnTo>
                      <a:lnTo>
                        <a:pt x="48" y="201"/>
                      </a:lnTo>
                      <a:lnTo>
                        <a:pt x="43" y="204"/>
                      </a:lnTo>
                      <a:lnTo>
                        <a:pt x="40" y="204"/>
                      </a:lnTo>
                      <a:lnTo>
                        <a:pt x="37" y="205"/>
                      </a:lnTo>
                      <a:lnTo>
                        <a:pt x="35" y="205"/>
                      </a:lnTo>
                      <a:lnTo>
                        <a:pt x="34" y="202"/>
                      </a:lnTo>
                      <a:lnTo>
                        <a:pt x="31" y="202"/>
                      </a:lnTo>
                      <a:lnTo>
                        <a:pt x="27" y="206"/>
                      </a:lnTo>
                      <a:lnTo>
                        <a:pt x="29" y="209"/>
                      </a:lnTo>
                      <a:lnTo>
                        <a:pt x="32" y="210"/>
                      </a:lnTo>
                      <a:lnTo>
                        <a:pt x="34" y="215"/>
                      </a:lnTo>
                      <a:lnTo>
                        <a:pt x="35" y="218"/>
                      </a:lnTo>
                      <a:lnTo>
                        <a:pt x="35" y="223"/>
                      </a:lnTo>
                      <a:lnTo>
                        <a:pt x="34" y="226"/>
                      </a:lnTo>
                      <a:lnTo>
                        <a:pt x="31" y="226"/>
                      </a:lnTo>
                      <a:lnTo>
                        <a:pt x="30" y="223"/>
                      </a:lnTo>
                      <a:lnTo>
                        <a:pt x="29" y="218"/>
                      </a:lnTo>
                      <a:lnTo>
                        <a:pt x="26" y="217"/>
                      </a:lnTo>
                      <a:lnTo>
                        <a:pt x="23" y="217"/>
                      </a:lnTo>
                      <a:lnTo>
                        <a:pt x="14" y="225"/>
                      </a:lnTo>
                      <a:lnTo>
                        <a:pt x="13" y="229"/>
                      </a:lnTo>
                      <a:lnTo>
                        <a:pt x="11" y="232"/>
                      </a:lnTo>
                      <a:lnTo>
                        <a:pt x="11" y="239"/>
                      </a:lnTo>
                      <a:lnTo>
                        <a:pt x="9" y="242"/>
                      </a:lnTo>
                      <a:lnTo>
                        <a:pt x="4" y="242"/>
                      </a:lnTo>
                      <a:lnTo>
                        <a:pt x="2" y="244"/>
                      </a:lnTo>
                      <a:lnTo>
                        <a:pt x="2" y="253"/>
                      </a:lnTo>
                      <a:lnTo>
                        <a:pt x="0" y="254"/>
                      </a:lnTo>
                      <a:lnTo>
                        <a:pt x="0" y="258"/>
                      </a:lnTo>
                      <a:lnTo>
                        <a:pt x="3" y="263"/>
                      </a:lnTo>
                      <a:lnTo>
                        <a:pt x="5" y="265"/>
                      </a:lnTo>
                      <a:lnTo>
                        <a:pt x="5" y="270"/>
                      </a:lnTo>
                      <a:lnTo>
                        <a:pt x="0" y="277"/>
                      </a:lnTo>
                      <a:lnTo>
                        <a:pt x="0" y="285"/>
                      </a:lnTo>
                      <a:lnTo>
                        <a:pt x="16" y="297"/>
                      </a:lnTo>
                      <a:lnTo>
                        <a:pt x="27" y="308"/>
                      </a:lnTo>
                      <a:lnTo>
                        <a:pt x="36" y="314"/>
                      </a:lnTo>
                      <a:lnTo>
                        <a:pt x="42" y="326"/>
                      </a:lnTo>
                      <a:lnTo>
                        <a:pt x="48" y="331"/>
                      </a:lnTo>
                      <a:lnTo>
                        <a:pt x="53" y="315"/>
                      </a:lnTo>
                      <a:lnTo>
                        <a:pt x="51" y="304"/>
                      </a:lnTo>
                      <a:lnTo>
                        <a:pt x="56" y="290"/>
                      </a:lnTo>
                      <a:lnTo>
                        <a:pt x="63" y="285"/>
                      </a:lnTo>
                      <a:lnTo>
                        <a:pt x="69" y="275"/>
                      </a:lnTo>
                      <a:lnTo>
                        <a:pt x="77" y="282"/>
                      </a:lnTo>
                      <a:lnTo>
                        <a:pt x="91" y="284"/>
                      </a:lnTo>
                      <a:lnTo>
                        <a:pt x="97" y="295"/>
                      </a:lnTo>
                      <a:lnTo>
                        <a:pt x="107" y="299"/>
                      </a:lnTo>
                      <a:lnTo>
                        <a:pt x="120" y="315"/>
                      </a:lnTo>
                      <a:lnTo>
                        <a:pt x="121" y="317"/>
                      </a:lnTo>
                      <a:lnTo>
                        <a:pt x="126" y="317"/>
                      </a:lnTo>
                      <a:lnTo>
                        <a:pt x="129" y="314"/>
                      </a:lnTo>
                      <a:lnTo>
                        <a:pt x="129" y="306"/>
                      </a:lnTo>
                      <a:lnTo>
                        <a:pt x="147" y="299"/>
                      </a:lnTo>
                      <a:lnTo>
                        <a:pt x="150" y="301"/>
                      </a:lnTo>
                      <a:lnTo>
                        <a:pt x="156" y="308"/>
                      </a:lnTo>
                      <a:lnTo>
                        <a:pt x="159" y="308"/>
                      </a:lnTo>
                      <a:lnTo>
                        <a:pt x="159" y="303"/>
                      </a:lnTo>
                      <a:lnTo>
                        <a:pt x="166" y="298"/>
                      </a:lnTo>
                      <a:lnTo>
                        <a:pt x="182" y="302"/>
                      </a:lnTo>
                      <a:lnTo>
                        <a:pt x="186" y="298"/>
                      </a:lnTo>
                      <a:lnTo>
                        <a:pt x="201" y="301"/>
                      </a:lnTo>
                      <a:lnTo>
                        <a:pt x="212" y="299"/>
                      </a:lnTo>
                      <a:lnTo>
                        <a:pt x="218" y="302"/>
                      </a:lnTo>
                      <a:lnTo>
                        <a:pt x="218" y="277"/>
                      </a:lnTo>
                      <a:lnTo>
                        <a:pt x="230" y="253"/>
                      </a:lnTo>
                      <a:lnTo>
                        <a:pt x="241" y="241"/>
                      </a:lnTo>
                      <a:lnTo>
                        <a:pt x="226" y="225"/>
                      </a:lnTo>
                      <a:lnTo>
                        <a:pt x="218" y="210"/>
                      </a:lnTo>
                      <a:lnTo>
                        <a:pt x="215" y="188"/>
                      </a:lnTo>
                      <a:lnTo>
                        <a:pt x="218" y="167"/>
                      </a:lnTo>
                      <a:lnTo>
                        <a:pt x="235" y="159"/>
                      </a:lnTo>
                      <a:lnTo>
                        <a:pt x="225" y="157"/>
                      </a:lnTo>
                      <a:lnTo>
                        <a:pt x="218" y="141"/>
                      </a:lnTo>
                      <a:lnTo>
                        <a:pt x="228" y="130"/>
                      </a:lnTo>
                      <a:lnTo>
                        <a:pt x="220" y="119"/>
                      </a:lnTo>
                      <a:lnTo>
                        <a:pt x="209" y="128"/>
                      </a:lnTo>
                      <a:lnTo>
                        <a:pt x="181" y="118"/>
                      </a:lnTo>
                      <a:lnTo>
                        <a:pt x="166" y="105"/>
                      </a:lnTo>
                      <a:lnTo>
                        <a:pt x="165" y="91"/>
                      </a:lnTo>
                      <a:lnTo>
                        <a:pt x="163" y="81"/>
                      </a:lnTo>
                      <a:lnTo>
                        <a:pt x="154" y="76"/>
                      </a:lnTo>
                      <a:lnTo>
                        <a:pt x="143" y="73"/>
                      </a:lnTo>
                      <a:lnTo>
                        <a:pt x="134" y="60"/>
                      </a:lnTo>
                      <a:lnTo>
                        <a:pt x="129" y="42"/>
                      </a:lnTo>
                      <a:lnTo>
                        <a:pt x="124" y="29"/>
                      </a:lnTo>
                      <a:lnTo>
                        <a:pt x="113" y="17"/>
                      </a:lnTo>
                      <a:lnTo>
                        <a:pt x="99" y="11"/>
                      </a:lnTo>
                      <a:lnTo>
                        <a:pt x="94" y="7"/>
                      </a:lnTo>
                      <a:lnTo>
                        <a:pt x="90" y="0"/>
                      </a:lnTo>
                      <a:lnTo>
                        <a:pt x="78" y="5"/>
                      </a:lnTo>
                      <a:lnTo>
                        <a:pt x="66" y="5"/>
                      </a:lnTo>
                      <a:lnTo>
                        <a:pt x="50" y="16"/>
                      </a:lnTo>
                      <a:lnTo>
                        <a:pt x="35" y="16"/>
                      </a:lnTo>
                      <a:lnTo>
                        <a:pt x="29" y="21"/>
                      </a:lnTo>
                      <a:lnTo>
                        <a:pt x="14" y="22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73" name="Freeform 215"/>
                <p:cNvSpPr>
                  <a:spLocks/>
                </p:cNvSpPr>
                <p:nvPr/>
              </p:nvSpPr>
              <p:spPr bwMode="gray">
                <a:xfrm>
                  <a:off x="4684385" y="1926987"/>
                  <a:ext cx="105479" cy="52999"/>
                </a:xfrm>
                <a:custGeom>
                  <a:avLst/>
                  <a:gdLst>
                    <a:gd name="T0" fmla="*/ 24616 w 304"/>
                    <a:gd name="T1" fmla="*/ 7865 h 149"/>
                    <a:gd name="T2" fmla="*/ 23737 w 304"/>
                    <a:gd name="T3" fmla="*/ 8279 h 149"/>
                    <a:gd name="T4" fmla="*/ 22418 w 304"/>
                    <a:gd name="T5" fmla="*/ 7451 h 149"/>
                    <a:gd name="T6" fmla="*/ 21100 w 304"/>
                    <a:gd name="T7" fmla="*/ 7037 h 149"/>
                    <a:gd name="T8" fmla="*/ 19781 w 304"/>
                    <a:gd name="T9" fmla="*/ 7451 h 149"/>
                    <a:gd name="T10" fmla="*/ 18462 w 304"/>
                    <a:gd name="T11" fmla="*/ 7037 h 149"/>
                    <a:gd name="T12" fmla="*/ 17143 w 304"/>
                    <a:gd name="T13" fmla="*/ 7865 h 149"/>
                    <a:gd name="T14" fmla="*/ 16704 w 304"/>
                    <a:gd name="T15" fmla="*/ 8693 h 149"/>
                    <a:gd name="T16" fmla="*/ 15825 w 304"/>
                    <a:gd name="T17" fmla="*/ 9107 h 149"/>
                    <a:gd name="T18" fmla="*/ 14506 w 304"/>
                    <a:gd name="T19" fmla="*/ 9521 h 149"/>
                    <a:gd name="T20" fmla="*/ 13187 w 304"/>
                    <a:gd name="T21" fmla="*/ 9107 h 149"/>
                    <a:gd name="T22" fmla="*/ 11429 w 304"/>
                    <a:gd name="T23" fmla="*/ 9935 h 149"/>
                    <a:gd name="T24" fmla="*/ 8792 w 304"/>
                    <a:gd name="T25" fmla="*/ 10763 h 149"/>
                    <a:gd name="T26" fmla="*/ 7912 w 304"/>
                    <a:gd name="T27" fmla="*/ 12419 h 149"/>
                    <a:gd name="T28" fmla="*/ 7473 w 304"/>
                    <a:gd name="T29" fmla="*/ 12419 h 149"/>
                    <a:gd name="T30" fmla="*/ 4396 w 304"/>
                    <a:gd name="T31" fmla="*/ 12419 h 149"/>
                    <a:gd name="T32" fmla="*/ 2198 w 304"/>
                    <a:gd name="T33" fmla="*/ 10763 h 149"/>
                    <a:gd name="T34" fmla="*/ 879 w 304"/>
                    <a:gd name="T35" fmla="*/ 10349 h 149"/>
                    <a:gd name="T36" fmla="*/ 440 w 304"/>
                    <a:gd name="T37" fmla="*/ 9107 h 149"/>
                    <a:gd name="T38" fmla="*/ 0 w 304"/>
                    <a:gd name="T39" fmla="*/ 7451 h 149"/>
                    <a:gd name="T40" fmla="*/ 440 w 304"/>
                    <a:gd name="T41" fmla="*/ 6209 h 149"/>
                    <a:gd name="T42" fmla="*/ 879 w 304"/>
                    <a:gd name="T43" fmla="*/ 5381 h 149"/>
                    <a:gd name="T44" fmla="*/ 1758 w 304"/>
                    <a:gd name="T45" fmla="*/ 5381 h 149"/>
                    <a:gd name="T46" fmla="*/ 2198 w 304"/>
                    <a:gd name="T47" fmla="*/ 5795 h 149"/>
                    <a:gd name="T48" fmla="*/ 3517 w 304"/>
                    <a:gd name="T49" fmla="*/ 5795 h 149"/>
                    <a:gd name="T50" fmla="*/ 4396 w 304"/>
                    <a:gd name="T51" fmla="*/ 4968 h 149"/>
                    <a:gd name="T52" fmla="*/ 4396 w 304"/>
                    <a:gd name="T53" fmla="*/ 4554 h 149"/>
                    <a:gd name="T54" fmla="*/ 5275 w 304"/>
                    <a:gd name="T55" fmla="*/ 4140 h 149"/>
                    <a:gd name="T56" fmla="*/ 5714 w 304"/>
                    <a:gd name="T57" fmla="*/ 3312 h 149"/>
                    <a:gd name="T58" fmla="*/ 5714 w 304"/>
                    <a:gd name="T59" fmla="*/ 2484 h 149"/>
                    <a:gd name="T60" fmla="*/ 6154 w 304"/>
                    <a:gd name="T61" fmla="*/ 2070 h 149"/>
                    <a:gd name="T62" fmla="*/ 7033 w 304"/>
                    <a:gd name="T63" fmla="*/ 1656 h 149"/>
                    <a:gd name="T64" fmla="*/ 7473 w 304"/>
                    <a:gd name="T65" fmla="*/ 1242 h 149"/>
                    <a:gd name="T66" fmla="*/ 7912 w 304"/>
                    <a:gd name="T67" fmla="*/ 828 h 149"/>
                    <a:gd name="T68" fmla="*/ 8792 w 304"/>
                    <a:gd name="T69" fmla="*/ 828 h 149"/>
                    <a:gd name="T70" fmla="*/ 9231 w 304"/>
                    <a:gd name="T71" fmla="*/ 0 h 149"/>
                    <a:gd name="T72" fmla="*/ 10110 w 304"/>
                    <a:gd name="T73" fmla="*/ 828 h 149"/>
                    <a:gd name="T74" fmla="*/ 10989 w 304"/>
                    <a:gd name="T75" fmla="*/ 414 h 149"/>
                    <a:gd name="T76" fmla="*/ 11869 w 304"/>
                    <a:gd name="T77" fmla="*/ 0 h 149"/>
                    <a:gd name="T78" fmla="*/ 12748 w 304"/>
                    <a:gd name="T79" fmla="*/ 414 h 149"/>
                    <a:gd name="T80" fmla="*/ 13627 w 304"/>
                    <a:gd name="T81" fmla="*/ 1242 h 149"/>
                    <a:gd name="T82" fmla="*/ 14506 w 304"/>
                    <a:gd name="T83" fmla="*/ 2070 h 149"/>
                    <a:gd name="T84" fmla="*/ 14946 w 304"/>
                    <a:gd name="T85" fmla="*/ 2070 h 149"/>
                    <a:gd name="T86" fmla="*/ 15825 w 304"/>
                    <a:gd name="T87" fmla="*/ 1656 h 149"/>
                    <a:gd name="T88" fmla="*/ 16704 w 304"/>
                    <a:gd name="T89" fmla="*/ 1242 h 149"/>
                    <a:gd name="T90" fmla="*/ 18023 w 304"/>
                    <a:gd name="T91" fmla="*/ 1242 h 149"/>
                    <a:gd name="T92" fmla="*/ 18902 w 304"/>
                    <a:gd name="T93" fmla="*/ 1656 h 149"/>
                    <a:gd name="T94" fmla="*/ 19781 w 304"/>
                    <a:gd name="T95" fmla="*/ 1242 h 149"/>
                    <a:gd name="T96" fmla="*/ 20660 w 304"/>
                    <a:gd name="T97" fmla="*/ 828 h 149"/>
                    <a:gd name="T98" fmla="*/ 21979 w 304"/>
                    <a:gd name="T99" fmla="*/ 828 h 149"/>
                    <a:gd name="T100" fmla="*/ 22858 w 304"/>
                    <a:gd name="T101" fmla="*/ 828 h 149"/>
                    <a:gd name="T102" fmla="*/ 23737 w 304"/>
                    <a:gd name="T103" fmla="*/ 1656 h 149"/>
                    <a:gd name="T104" fmla="*/ 24616 w 304"/>
                    <a:gd name="T105" fmla="*/ 2070 h 149"/>
                    <a:gd name="T106" fmla="*/ 25495 w 304"/>
                    <a:gd name="T107" fmla="*/ 2898 h 149"/>
                    <a:gd name="T108" fmla="*/ 26375 w 304"/>
                    <a:gd name="T109" fmla="*/ 2898 h 149"/>
                    <a:gd name="T110" fmla="*/ 26375 w 304"/>
                    <a:gd name="T111" fmla="*/ 3726 h 149"/>
                    <a:gd name="T112" fmla="*/ 25056 w 304"/>
                    <a:gd name="T113" fmla="*/ 6209 h 149"/>
                    <a:gd name="T114" fmla="*/ 24616 w 304"/>
                    <a:gd name="T115" fmla="*/ 7865 h 149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304"/>
                    <a:gd name="T175" fmla="*/ 0 h 149"/>
                    <a:gd name="T176" fmla="*/ 304 w 304"/>
                    <a:gd name="T177" fmla="*/ 149 h 149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304" h="149">
                      <a:moveTo>
                        <a:pt x="285" y="96"/>
                      </a:moveTo>
                      <a:lnTo>
                        <a:pt x="273" y="100"/>
                      </a:lnTo>
                      <a:lnTo>
                        <a:pt x="256" y="89"/>
                      </a:lnTo>
                      <a:lnTo>
                        <a:pt x="241" y="84"/>
                      </a:lnTo>
                      <a:lnTo>
                        <a:pt x="229" y="88"/>
                      </a:lnTo>
                      <a:lnTo>
                        <a:pt x="211" y="85"/>
                      </a:lnTo>
                      <a:lnTo>
                        <a:pt x="196" y="94"/>
                      </a:lnTo>
                      <a:lnTo>
                        <a:pt x="191" y="106"/>
                      </a:lnTo>
                      <a:lnTo>
                        <a:pt x="181" y="108"/>
                      </a:lnTo>
                      <a:lnTo>
                        <a:pt x="167" y="116"/>
                      </a:lnTo>
                      <a:lnTo>
                        <a:pt x="150" y="110"/>
                      </a:lnTo>
                      <a:lnTo>
                        <a:pt x="134" y="119"/>
                      </a:lnTo>
                      <a:lnTo>
                        <a:pt x="103" y="128"/>
                      </a:lnTo>
                      <a:lnTo>
                        <a:pt x="90" y="148"/>
                      </a:lnTo>
                      <a:lnTo>
                        <a:pt x="84" y="148"/>
                      </a:lnTo>
                      <a:lnTo>
                        <a:pt x="51" y="149"/>
                      </a:lnTo>
                      <a:lnTo>
                        <a:pt x="27" y="131"/>
                      </a:lnTo>
                      <a:lnTo>
                        <a:pt x="12" y="123"/>
                      </a:lnTo>
                      <a:lnTo>
                        <a:pt x="6" y="110"/>
                      </a:lnTo>
                      <a:lnTo>
                        <a:pt x="0" y="88"/>
                      </a:lnTo>
                      <a:lnTo>
                        <a:pt x="5" y="76"/>
                      </a:lnTo>
                      <a:lnTo>
                        <a:pt x="12" y="67"/>
                      </a:lnTo>
                      <a:lnTo>
                        <a:pt x="20" y="67"/>
                      </a:lnTo>
                      <a:lnTo>
                        <a:pt x="25" y="72"/>
                      </a:lnTo>
                      <a:lnTo>
                        <a:pt x="40" y="69"/>
                      </a:lnTo>
                      <a:lnTo>
                        <a:pt x="53" y="59"/>
                      </a:lnTo>
                      <a:lnTo>
                        <a:pt x="53" y="53"/>
                      </a:lnTo>
                      <a:lnTo>
                        <a:pt x="62" y="51"/>
                      </a:lnTo>
                      <a:lnTo>
                        <a:pt x="67" y="42"/>
                      </a:lnTo>
                      <a:lnTo>
                        <a:pt x="68" y="30"/>
                      </a:lnTo>
                      <a:lnTo>
                        <a:pt x="70" y="25"/>
                      </a:lnTo>
                      <a:lnTo>
                        <a:pt x="79" y="22"/>
                      </a:lnTo>
                      <a:lnTo>
                        <a:pt x="84" y="15"/>
                      </a:lnTo>
                      <a:lnTo>
                        <a:pt x="89" y="8"/>
                      </a:lnTo>
                      <a:lnTo>
                        <a:pt x="100" y="9"/>
                      </a:lnTo>
                      <a:lnTo>
                        <a:pt x="107" y="2"/>
                      </a:lnTo>
                      <a:lnTo>
                        <a:pt x="118" y="8"/>
                      </a:lnTo>
                      <a:lnTo>
                        <a:pt x="129" y="5"/>
                      </a:lnTo>
                      <a:lnTo>
                        <a:pt x="139" y="0"/>
                      </a:lnTo>
                      <a:lnTo>
                        <a:pt x="148" y="6"/>
                      </a:lnTo>
                      <a:lnTo>
                        <a:pt x="157" y="16"/>
                      </a:lnTo>
                      <a:lnTo>
                        <a:pt x="165" y="25"/>
                      </a:lnTo>
                      <a:lnTo>
                        <a:pt x="172" y="27"/>
                      </a:lnTo>
                      <a:lnTo>
                        <a:pt x="182" y="22"/>
                      </a:lnTo>
                      <a:lnTo>
                        <a:pt x="191" y="14"/>
                      </a:lnTo>
                      <a:lnTo>
                        <a:pt x="210" y="14"/>
                      </a:lnTo>
                      <a:lnTo>
                        <a:pt x="220" y="21"/>
                      </a:lnTo>
                      <a:lnTo>
                        <a:pt x="227" y="15"/>
                      </a:lnTo>
                      <a:lnTo>
                        <a:pt x="239" y="10"/>
                      </a:lnTo>
                      <a:lnTo>
                        <a:pt x="251" y="9"/>
                      </a:lnTo>
                      <a:lnTo>
                        <a:pt x="264" y="10"/>
                      </a:lnTo>
                      <a:lnTo>
                        <a:pt x="274" y="18"/>
                      </a:lnTo>
                      <a:lnTo>
                        <a:pt x="283" y="25"/>
                      </a:lnTo>
                      <a:lnTo>
                        <a:pt x="294" y="33"/>
                      </a:lnTo>
                      <a:lnTo>
                        <a:pt x="304" y="37"/>
                      </a:lnTo>
                      <a:lnTo>
                        <a:pt x="302" y="43"/>
                      </a:lnTo>
                      <a:lnTo>
                        <a:pt x="291" y="73"/>
                      </a:lnTo>
                      <a:lnTo>
                        <a:pt x="285" y="96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74" name="Freeform 216"/>
                <p:cNvSpPr>
                  <a:spLocks/>
                </p:cNvSpPr>
                <p:nvPr/>
              </p:nvSpPr>
              <p:spPr bwMode="gray">
                <a:xfrm>
                  <a:off x="4616577" y="2004446"/>
                  <a:ext cx="60274" cy="44846"/>
                </a:xfrm>
                <a:custGeom>
                  <a:avLst/>
                  <a:gdLst>
                    <a:gd name="T0" fmla="*/ 11818 w 173"/>
                    <a:gd name="T1" fmla="*/ 418 h 123"/>
                    <a:gd name="T2" fmla="*/ 10067 w 173"/>
                    <a:gd name="T3" fmla="*/ 836 h 123"/>
                    <a:gd name="T4" fmla="*/ 9192 w 173"/>
                    <a:gd name="T5" fmla="*/ 1672 h 123"/>
                    <a:gd name="T6" fmla="*/ 6566 w 173"/>
                    <a:gd name="T7" fmla="*/ 1254 h 123"/>
                    <a:gd name="T8" fmla="*/ 4815 w 173"/>
                    <a:gd name="T9" fmla="*/ 2925 h 123"/>
                    <a:gd name="T10" fmla="*/ 1313 w 173"/>
                    <a:gd name="T11" fmla="*/ 2507 h 123"/>
                    <a:gd name="T12" fmla="*/ 0 w 173"/>
                    <a:gd name="T13" fmla="*/ 4179 h 123"/>
                    <a:gd name="T14" fmla="*/ 0 w 173"/>
                    <a:gd name="T15" fmla="*/ 4597 h 123"/>
                    <a:gd name="T16" fmla="*/ 438 w 173"/>
                    <a:gd name="T17" fmla="*/ 5015 h 123"/>
                    <a:gd name="T18" fmla="*/ 875 w 173"/>
                    <a:gd name="T19" fmla="*/ 6268 h 123"/>
                    <a:gd name="T20" fmla="*/ 875 w 173"/>
                    <a:gd name="T21" fmla="*/ 7104 h 123"/>
                    <a:gd name="T22" fmla="*/ 1751 w 173"/>
                    <a:gd name="T23" fmla="*/ 7940 h 123"/>
                    <a:gd name="T24" fmla="*/ 2189 w 173"/>
                    <a:gd name="T25" fmla="*/ 8358 h 123"/>
                    <a:gd name="T26" fmla="*/ 1751 w 173"/>
                    <a:gd name="T27" fmla="*/ 9193 h 123"/>
                    <a:gd name="T28" fmla="*/ 875 w 173"/>
                    <a:gd name="T29" fmla="*/ 9193 h 123"/>
                    <a:gd name="T30" fmla="*/ 1313 w 173"/>
                    <a:gd name="T31" fmla="*/ 10029 h 123"/>
                    <a:gd name="T32" fmla="*/ 2626 w 173"/>
                    <a:gd name="T33" fmla="*/ 9611 h 123"/>
                    <a:gd name="T34" fmla="*/ 4377 w 173"/>
                    <a:gd name="T35" fmla="*/ 10029 h 123"/>
                    <a:gd name="T36" fmla="*/ 5253 w 173"/>
                    <a:gd name="T37" fmla="*/ 8358 h 123"/>
                    <a:gd name="T38" fmla="*/ 7003 w 173"/>
                    <a:gd name="T39" fmla="*/ 10029 h 123"/>
                    <a:gd name="T40" fmla="*/ 7003 w 173"/>
                    <a:gd name="T41" fmla="*/ 9611 h 123"/>
                    <a:gd name="T42" fmla="*/ 7441 w 173"/>
                    <a:gd name="T43" fmla="*/ 10029 h 123"/>
                    <a:gd name="T44" fmla="*/ 8317 w 173"/>
                    <a:gd name="T45" fmla="*/ 10447 h 123"/>
                    <a:gd name="T46" fmla="*/ 8754 w 173"/>
                    <a:gd name="T47" fmla="*/ 9193 h 123"/>
                    <a:gd name="T48" fmla="*/ 8754 w 173"/>
                    <a:gd name="T49" fmla="*/ 8358 h 123"/>
                    <a:gd name="T50" fmla="*/ 10067 w 173"/>
                    <a:gd name="T51" fmla="*/ 7522 h 123"/>
                    <a:gd name="T52" fmla="*/ 10505 w 173"/>
                    <a:gd name="T53" fmla="*/ 5850 h 123"/>
                    <a:gd name="T54" fmla="*/ 10067 w 173"/>
                    <a:gd name="T55" fmla="*/ 5015 h 123"/>
                    <a:gd name="T56" fmla="*/ 12256 w 173"/>
                    <a:gd name="T57" fmla="*/ 3761 h 123"/>
                    <a:gd name="T58" fmla="*/ 12256 w 173"/>
                    <a:gd name="T59" fmla="*/ 3343 h 123"/>
                    <a:gd name="T60" fmla="*/ 13131 w 173"/>
                    <a:gd name="T61" fmla="*/ 3343 h 123"/>
                    <a:gd name="T62" fmla="*/ 13131 w 173"/>
                    <a:gd name="T63" fmla="*/ 2925 h 123"/>
                    <a:gd name="T64" fmla="*/ 13569 w 173"/>
                    <a:gd name="T65" fmla="*/ 2089 h 123"/>
                    <a:gd name="T66" fmla="*/ 14444 w 173"/>
                    <a:gd name="T67" fmla="*/ 2507 h 123"/>
                    <a:gd name="T68" fmla="*/ 14882 w 173"/>
                    <a:gd name="T69" fmla="*/ 2507 h 123"/>
                    <a:gd name="T70" fmla="*/ 13569 w 173"/>
                    <a:gd name="T71" fmla="*/ 418 h 123"/>
                    <a:gd name="T72" fmla="*/ 12256 w 173"/>
                    <a:gd name="T73" fmla="*/ 0 h 123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173"/>
                    <a:gd name="T112" fmla="*/ 0 h 123"/>
                    <a:gd name="T113" fmla="*/ 173 w 173"/>
                    <a:gd name="T114" fmla="*/ 123 h 123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173" h="123">
                      <a:moveTo>
                        <a:pt x="145" y="0"/>
                      </a:moveTo>
                      <a:lnTo>
                        <a:pt x="136" y="4"/>
                      </a:lnTo>
                      <a:lnTo>
                        <a:pt x="134" y="12"/>
                      </a:lnTo>
                      <a:lnTo>
                        <a:pt x="117" y="10"/>
                      </a:lnTo>
                      <a:lnTo>
                        <a:pt x="113" y="10"/>
                      </a:lnTo>
                      <a:lnTo>
                        <a:pt x="108" y="19"/>
                      </a:lnTo>
                      <a:lnTo>
                        <a:pt x="88" y="15"/>
                      </a:lnTo>
                      <a:lnTo>
                        <a:pt x="75" y="17"/>
                      </a:lnTo>
                      <a:lnTo>
                        <a:pt x="66" y="28"/>
                      </a:lnTo>
                      <a:lnTo>
                        <a:pt x="58" y="33"/>
                      </a:lnTo>
                      <a:lnTo>
                        <a:pt x="30" y="31"/>
                      </a:lnTo>
                      <a:lnTo>
                        <a:pt x="14" y="31"/>
                      </a:lnTo>
                      <a:lnTo>
                        <a:pt x="2" y="41"/>
                      </a:lnTo>
                      <a:lnTo>
                        <a:pt x="0" y="48"/>
                      </a:lnTo>
                      <a:lnTo>
                        <a:pt x="0" y="53"/>
                      </a:lnTo>
                      <a:lnTo>
                        <a:pt x="2" y="54"/>
                      </a:lnTo>
                      <a:lnTo>
                        <a:pt x="7" y="53"/>
                      </a:lnTo>
                      <a:lnTo>
                        <a:pt x="5" y="60"/>
                      </a:lnTo>
                      <a:lnTo>
                        <a:pt x="4" y="68"/>
                      </a:lnTo>
                      <a:lnTo>
                        <a:pt x="9" y="74"/>
                      </a:lnTo>
                      <a:lnTo>
                        <a:pt x="9" y="82"/>
                      </a:lnTo>
                      <a:lnTo>
                        <a:pt x="11" y="85"/>
                      </a:lnTo>
                      <a:lnTo>
                        <a:pt x="18" y="89"/>
                      </a:lnTo>
                      <a:lnTo>
                        <a:pt x="21" y="94"/>
                      </a:lnTo>
                      <a:lnTo>
                        <a:pt x="25" y="95"/>
                      </a:lnTo>
                      <a:lnTo>
                        <a:pt x="27" y="98"/>
                      </a:lnTo>
                      <a:lnTo>
                        <a:pt x="26" y="103"/>
                      </a:lnTo>
                      <a:lnTo>
                        <a:pt x="22" y="106"/>
                      </a:lnTo>
                      <a:lnTo>
                        <a:pt x="17" y="107"/>
                      </a:lnTo>
                      <a:lnTo>
                        <a:pt x="12" y="106"/>
                      </a:lnTo>
                      <a:lnTo>
                        <a:pt x="6" y="111"/>
                      </a:lnTo>
                      <a:lnTo>
                        <a:pt x="14" y="117"/>
                      </a:lnTo>
                      <a:lnTo>
                        <a:pt x="27" y="116"/>
                      </a:lnTo>
                      <a:lnTo>
                        <a:pt x="30" y="111"/>
                      </a:lnTo>
                      <a:lnTo>
                        <a:pt x="36" y="116"/>
                      </a:lnTo>
                      <a:lnTo>
                        <a:pt x="53" y="116"/>
                      </a:lnTo>
                      <a:lnTo>
                        <a:pt x="60" y="100"/>
                      </a:lnTo>
                      <a:lnTo>
                        <a:pt x="63" y="100"/>
                      </a:lnTo>
                      <a:lnTo>
                        <a:pt x="74" y="119"/>
                      </a:lnTo>
                      <a:lnTo>
                        <a:pt x="79" y="118"/>
                      </a:lnTo>
                      <a:lnTo>
                        <a:pt x="79" y="114"/>
                      </a:lnTo>
                      <a:lnTo>
                        <a:pt x="81" y="114"/>
                      </a:lnTo>
                      <a:lnTo>
                        <a:pt x="84" y="117"/>
                      </a:lnTo>
                      <a:lnTo>
                        <a:pt x="87" y="117"/>
                      </a:lnTo>
                      <a:lnTo>
                        <a:pt x="92" y="123"/>
                      </a:lnTo>
                      <a:lnTo>
                        <a:pt x="96" y="123"/>
                      </a:lnTo>
                      <a:lnTo>
                        <a:pt x="101" y="119"/>
                      </a:lnTo>
                      <a:lnTo>
                        <a:pt x="100" y="107"/>
                      </a:lnTo>
                      <a:lnTo>
                        <a:pt x="103" y="102"/>
                      </a:lnTo>
                      <a:lnTo>
                        <a:pt x="100" y="97"/>
                      </a:lnTo>
                      <a:lnTo>
                        <a:pt x="111" y="89"/>
                      </a:lnTo>
                      <a:lnTo>
                        <a:pt x="119" y="87"/>
                      </a:lnTo>
                      <a:lnTo>
                        <a:pt x="124" y="80"/>
                      </a:lnTo>
                      <a:lnTo>
                        <a:pt x="124" y="69"/>
                      </a:lnTo>
                      <a:lnTo>
                        <a:pt x="118" y="62"/>
                      </a:lnTo>
                      <a:lnTo>
                        <a:pt x="117" y="58"/>
                      </a:lnTo>
                      <a:lnTo>
                        <a:pt x="120" y="53"/>
                      </a:lnTo>
                      <a:lnTo>
                        <a:pt x="140" y="46"/>
                      </a:lnTo>
                      <a:lnTo>
                        <a:pt x="144" y="43"/>
                      </a:lnTo>
                      <a:lnTo>
                        <a:pt x="144" y="38"/>
                      </a:lnTo>
                      <a:lnTo>
                        <a:pt x="151" y="38"/>
                      </a:lnTo>
                      <a:lnTo>
                        <a:pt x="155" y="39"/>
                      </a:lnTo>
                      <a:lnTo>
                        <a:pt x="155" y="38"/>
                      </a:lnTo>
                      <a:lnTo>
                        <a:pt x="154" y="32"/>
                      </a:lnTo>
                      <a:lnTo>
                        <a:pt x="154" y="27"/>
                      </a:lnTo>
                      <a:lnTo>
                        <a:pt x="157" y="24"/>
                      </a:lnTo>
                      <a:lnTo>
                        <a:pt x="161" y="25"/>
                      </a:lnTo>
                      <a:lnTo>
                        <a:pt x="170" y="31"/>
                      </a:lnTo>
                      <a:lnTo>
                        <a:pt x="173" y="28"/>
                      </a:lnTo>
                      <a:lnTo>
                        <a:pt x="173" y="31"/>
                      </a:lnTo>
                      <a:lnTo>
                        <a:pt x="165" y="17"/>
                      </a:lnTo>
                      <a:lnTo>
                        <a:pt x="160" y="4"/>
                      </a:lnTo>
                      <a:lnTo>
                        <a:pt x="152" y="0"/>
                      </a:lnTo>
                      <a:lnTo>
                        <a:pt x="145" y="0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75" name="Freeform 217"/>
                <p:cNvSpPr>
                  <a:spLocks/>
                </p:cNvSpPr>
                <p:nvPr/>
              </p:nvSpPr>
              <p:spPr bwMode="gray">
                <a:xfrm>
                  <a:off x="4754703" y="2128112"/>
                  <a:ext cx="45205" cy="36692"/>
                </a:xfrm>
                <a:custGeom>
                  <a:avLst/>
                  <a:gdLst>
                    <a:gd name="T0" fmla="*/ 2193 w 132"/>
                    <a:gd name="T1" fmla="*/ 8474 h 107"/>
                    <a:gd name="T2" fmla="*/ 877 w 132"/>
                    <a:gd name="T3" fmla="*/ 7263 h 107"/>
                    <a:gd name="T4" fmla="*/ 0 w 132"/>
                    <a:gd name="T5" fmla="*/ 5649 h 107"/>
                    <a:gd name="T6" fmla="*/ 0 w 132"/>
                    <a:gd name="T7" fmla="*/ 4035 h 107"/>
                    <a:gd name="T8" fmla="*/ 439 w 132"/>
                    <a:gd name="T9" fmla="*/ 1211 h 107"/>
                    <a:gd name="T10" fmla="*/ 439 w 132"/>
                    <a:gd name="T11" fmla="*/ 1614 h 107"/>
                    <a:gd name="T12" fmla="*/ 877 w 132"/>
                    <a:gd name="T13" fmla="*/ 1614 h 107"/>
                    <a:gd name="T14" fmla="*/ 1316 w 132"/>
                    <a:gd name="T15" fmla="*/ 1211 h 107"/>
                    <a:gd name="T16" fmla="*/ 1316 w 132"/>
                    <a:gd name="T17" fmla="*/ 807 h 107"/>
                    <a:gd name="T18" fmla="*/ 2632 w 132"/>
                    <a:gd name="T19" fmla="*/ 0 h 107"/>
                    <a:gd name="T20" fmla="*/ 3071 w 132"/>
                    <a:gd name="T21" fmla="*/ 404 h 107"/>
                    <a:gd name="T22" fmla="*/ 3510 w 132"/>
                    <a:gd name="T23" fmla="*/ 807 h 107"/>
                    <a:gd name="T24" fmla="*/ 3948 w 132"/>
                    <a:gd name="T25" fmla="*/ 807 h 107"/>
                    <a:gd name="T26" fmla="*/ 3948 w 132"/>
                    <a:gd name="T27" fmla="*/ 404 h 107"/>
                    <a:gd name="T28" fmla="*/ 4387 w 132"/>
                    <a:gd name="T29" fmla="*/ 0 h 107"/>
                    <a:gd name="T30" fmla="*/ 5703 w 132"/>
                    <a:gd name="T31" fmla="*/ 404 h 107"/>
                    <a:gd name="T32" fmla="*/ 6142 w 132"/>
                    <a:gd name="T33" fmla="*/ 0 h 107"/>
                    <a:gd name="T34" fmla="*/ 7458 w 132"/>
                    <a:gd name="T35" fmla="*/ 404 h 107"/>
                    <a:gd name="T36" fmla="*/ 8335 w 132"/>
                    <a:gd name="T37" fmla="*/ 0 h 107"/>
                    <a:gd name="T38" fmla="*/ 8774 w 132"/>
                    <a:gd name="T39" fmla="*/ 404 h 107"/>
                    <a:gd name="T40" fmla="*/ 10967 w 132"/>
                    <a:gd name="T41" fmla="*/ 2018 h 107"/>
                    <a:gd name="T42" fmla="*/ 11406 w 132"/>
                    <a:gd name="T43" fmla="*/ 4035 h 107"/>
                    <a:gd name="T44" fmla="*/ 11406 w 132"/>
                    <a:gd name="T45" fmla="*/ 5649 h 107"/>
                    <a:gd name="T46" fmla="*/ 10967 w 132"/>
                    <a:gd name="T47" fmla="*/ 5649 h 107"/>
                    <a:gd name="T48" fmla="*/ 9651 w 132"/>
                    <a:gd name="T49" fmla="*/ 6860 h 107"/>
                    <a:gd name="T50" fmla="*/ 7896 w 132"/>
                    <a:gd name="T51" fmla="*/ 6860 h 107"/>
                    <a:gd name="T52" fmla="*/ 6142 w 132"/>
                    <a:gd name="T53" fmla="*/ 7263 h 107"/>
                    <a:gd name="T54" fmla="*/ 5264 w 132"/>
                    <a:gd name="T55" fmla="*/ 8070 h 107"/>
                    <a:gd name="T56" fmla="*/ 2193 w 132"/>
                    <a:gd name="T57" fmla="*/ 8474 h 107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32"/>
                    <a:gd name="T88" fmla="*/ 0 h 107"/>
                    <a:gd name="T89" fmla="*/ 132 w 132"/>
                    <a:gd name="T90" fmla="*/ 107 h 107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32" h="107">
                      <a:moveTo>
                        <a:pt x="25" y="107"/>
                      </a:moveTo>
                      <a:lnTo>
                        <a:pt x="8" y="90"/>
                      </a:lnTo>
                      <a:lnTo>
                        <a:pt x="0" y="70"/>
                      </a:lnTo>
                      <a:lnTo>
                        <a:pt x="0" y="53"/>
                      </a:lnTo>
                      <a:lnTo>
                        <a:pt x="5" y="17"/>
                      </a:lnTo>
                      <a:lnTo>
                        <a:pt x="6" y="19"/>
                      </a:lnTo>
                      <a:lnTo>
                        <a:pt x="11" y="19"/>
                      </a:lnTo>
                      <a:lnTo>
                        <a:pt x="14" y="16"/>
                      </a:lnTo>
                      <a:lnTo>
                        <a:pt x="14" y="8"/>
                      </a:lnTo>
                      <a:lnTo>
                        <a:pt x="32" y="1"/>
                      </a:lnTo>
                      <a:lnTo>
                        <a:pt x="35" y="3"/>
                      </a:lnTo>
                      <a:lnTo>
                        <a:pt x="41" y="10"/>
                      </a:lnTo>
                      <a:lnTo>
                        <a:pt x="44" y="10"/>
                      </a:lnTo>
                      <a:lnTo>
                        <a:pt x="44" y="5"/>
                      </a:lnTo>
                      <a:lnTo>
                        <a:pt x="51" y="0"/>
                      </a:lnTo>
                      <a:lnTo>
                        <a:pt x="67" y="4"/>
                      </a:lnTo>
                      <a:lnTo>
                        <a:pt x="71" y="0"/>
                      </a:lnTo>
                      <a:lnTo>
                        <a:pt x="86" y="3"/>
                      </a:lnTo>
                      <a:lnTo>
                        <a:pt x="97" y="1"/>
                      </a:lnTo>
                      <a:lnTo>
                        <a:pt x="103" y="4"/>
                      </a:lnTo>
                      <a:lnTo>
                        <a:pt x="126" y="24"/>
                      </a:lnTo>
                      <a:lnTo>
                        <a:pt x="131" y="53"/>
                      </a:lnTo>
                      <a:lnTo>
                        <a:pt x="132" y="69"/>
                      </a:lnTo>
                      <a:lnTo>
                        <a:pt x="126" y="71"/>
                      </a:lnTo>
                      <a:lnTo>
                        <a:pt x="111" y="85"/>
                      </a:lnTo>
                      <a:lnTo>
                        <a:pt x="91" y="85"/>
                      </a:lnTo>
                      <a:lnTo>
                        <a:pt x="72" y="92"/>
                      </a:lnTo>
                      <a:lnTo>
                        <a:pt x="61" y="102"/>
                      </a:lnTo>
                      <a:lnTo>
                        <a:pt x="25" y="107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76" name="Freeform 218"/>
                <p:cNvSpPr>
                  <a:spLocks/>
                </p:cNvSpPr>
                <p:nvPr/>
              </p:nvSpPr>
              <p:spPr bwMode="gray">
                <a:xfrm>
                  <a:off x="4747170" y="1963678"/>
                  <a:ext cx="183332" cy="129102"/>
                </a:xfrm>
                <a:custGeom>
                  <a:avLst/>
                  <a:gdLst>
                    <a:gd name="T0" fmla="*/ 39416 w 523"/>
                    <a:gd name="T1" fmla="*/ 29275 h 364"/>
                    <a:gd name="T2" fmla="*/ 34988 w 523"/>
                    <a:gd name="T3" fmla="*/ 27626 h 364"/>
                    <a:gd name="T4" fmla="*/ 32773 w 523"/>
                    <a:gd name="T5" fmla="*/ 27214 h 364"/>
                    <a:gd name="T6" fmla="*/ 28787 w 523"/>
                    <a:gd name="T7" fmla="*/ 28863 h 364"/>
                    <a:gd name="T8" fmla="*/ 25687 w 523"/>
                    <a:gd name="T9" fmla="*/ 30100 h 364"/>
                    <a:gd name="T10" fmla="*/ 18158 w 523"/>
                    <a:gd name="T11" fmla="*/ 29275 h 364"/>
                    <a:gd name="T12" fmla="*/ 13729 w 523"/>
                    <a:gd name="T13" fmla="*/ 28863 h 364"/>
                    <a:gd name="T14" fmla="*/ 13286 w 523"/>
                    <a:gd name="T15" fmla="*/ 27214 h 364"/>
                    <a:gd name="T16" fmla="*/ 11515 w 523"/>
                    <a:gd name="T17" fmla="*/ 26801 h 364"/>
                    <a:gd name="T18" fmla="*/ 11958 w 523"/>
                    <a:gd name="T19" fmla="*/ 24327 h 364"/>
                    <a:gd name="T20" fmla="*/ 10186 w 523"/>
                    <a:gd name="T21" fmla="*/ 24327 h 364"/>
                    <a:gd name="T22" fmla="*/ 6200 w 523"/>
                    <a:gd name="T23" fmla="*/ 22266 h 364"/>
                    <a:gd name="T24" fmla="*/ 6200 w 523"/>
                    <a:gd name="T25" fmla="*/ 20204 h 364"/>
                    <a:gd name="T26" fmla="*/ 4429 w 523"/>
                    <a:gd name="T27" fmla="*/ 19792 h 364"/>
                    <a:gd name="T28" fmla="*/ 3100 w 523"/>
                    <a:gd name="T29" fmla="*/ 17318 h 364"/>
                    <a:gd name="T30" fmla="*/ 1772 w 523"/>
                    <a:gd name="T31" fmla="*/ 15256 h 364"/>
                    <a:gd name="T32" fmla="*/ 0 w 523"/>
                    <a:gd name="T33" fmla="*/ 14019 h 364"/>
                    <a:gd name="T34" fmla="*/ 3100 w 523"/>
                    <a:gd name="T35" fmla="*/ 13194 h 364"/>
                    <a:gd name="T36" fmla="*/ 5315 w 523"/>
                    <a:gd name="T37" fmla="*/ 11545 h 364"/>
                    <a:gd name="T38" fmla="*/ 6643 w 523"/>
                    <a:gd name="T39" fmla="*/ 9071 h 364"/>
                    <a:gd name="T40" fmla="*/ 7972 w 523"/>
                    <a:gd name="T41" fmla="*/ 7010 h 364"/>
                    <a:gd name="T42" fmla="*/ 8858 w 523"/>
                    <a:gd name="T43" fmla="*/ 5360 h 364"/>
                    <a:gd name="T44" fmla="*/ 9743 w 523"/>
                    <a:gd name="T45" fmla="*/ 3711 h 364"/>
                    <a:gd name="T46" fmla="*/ 11515 w 523"/>
                    <a:gd name="T47" fmla="*/ 3299 h 364"/>
                    <a:gd name="T48" fmla="*/ 12844 w 523"/>
                    <a:gd name="T49" fmla="*/ 2062 h 364"/>
                    <a:gd name="T50" fmla="*/ 14615 w 523"/>
                    <a:gd name="T51" fmla="*/ 1649 h 364"/>
                    <a:gd name="T52" fmla="*/ 18601 w 523"/>
                    <a:gd name="T53" fmla="*/ 2062 h 364"/>
                    <a:gd name="T54" fmla="*/ 21258 w 523"/>
                    <a:gd name="T55" fmla="*/ 1649 h 364"/>
                    <a:gd name="T56" fmla="*/ 23030 w 523"/>
                    <a:gd name="T57" fmla="*/ 2886 h 364"/>
                    <a:gd name="T58" fmla="*/ 26130 w 523"/>
                    <a:gd name="T59" fmla="*/ 1649 h 364"/>
                    <a:gd name="T60" fmla="*/ 30559 w 523"/>
                    <a:gd name="T61" fmla="*/ 0 h 364"/>
                    <a:gd name="T62" fmla="*/ 31887 w 523"/>
                    <a:gd name="T63" fmla="*/ 0 h 364"/>
                    <a:gd name="T64" fmla="*/ 34102 w 523"/>
                    <a:gd name="T65" fmla="*/ 2062 h 364"/>
                    <a:gd name="T66" fmla="*/ 34988 w 523"/>
                    <a:gd name="T67" fmla="*/ 4536 h 364"/>
                    <a:gd name="T68" fmla="*/ 37202 w 523"/>
                    <a:gd name="T69" fmla="*/ 7834 h 364"/>
                    <a:gd name="T70" fmla="*/ 38531 w 523"/>
                    <a:gd name="T71" fmla="*/ 11957 h 364"/>
                    <a:gd name="T72" fmla="*/ 38531 w 523"/>
                    <a:gd name="T73" fmla="*/ 15256 h 364"/>
                    <a:gd name="T74" fmla="*/ 38531 w 523"/>
                    <a:gd name="T75" fmla="*/ 17318 h 364"/>
                    <a:gd name="T76" fmla="*/ 38531 w 523"/>
                    <a:gd name="T77" fmla="*/ 18555 h 364"/>
                    <a:gd name="T78" fmla="*/ 40745 w 523"/>
                    <a:gd name="T79" fmla="*/ 19792 h 364"/>
                    <a:gd name="T80" fmla="*/ 42517 w 523"/>
                    <a:gd name="T81" fmla="*/ 19379 h 364"/>
                    <a:gd name="T82" fmla="*/ 44731 w 523"/>
                    <a:gd name="T83" fmla="*/ 18555 h 364"/>
                    <a:gd name="T84" fmla="*/ 46060 w 523"/>
                    <a:gd name="T85" fmla="*/ 18967 h 364"/>
                    <a:gd name="T86" fmla="*/ 46060 w 523"/>
                    <a:gd name="T87" fmla="*/ 21029 h 364"/>
                    <a:gd name="T88" fmla="*/ 45617 w 523"/>
                    <a:gd name="T89" fmla="*/ 22266 h 364"/>
                    <a:gd name="T90" fmla="*/ 44288 w 523"/>
                    <a:gd name="T91" fmla="*/ 23090 h 364"/>
                    <a:gd name="T92" fmla="*/ 42517 w 523"/>
                    <a:gd name="T93" fmla="*/ 24327 h 364"/>
                    <a:gd name="T94" fmla="*/ 41631 w 523"/>
                    <a:gd name="T95" fmla="*/ 24327 h 364"/>
                    <a:gd name="T96" fmla="*/ 42960 w 523"/>
                    <a:gd name="T97" fmla="*/ 23090 h 364"/>
                    <a:gd name="T98" fmla="*/ 42074 w 523"/>
                    <a:gd name="T99" fmla="*/ 21853 h 364"/>
                    <a:gd name="T100" fmla="*/ 41631 w 523"/>
                    <a:gd name="T101" fmla="*/ 24740 h 364"/>
                    <a:gd name="T102" fmla="*/ 41188 w 523"/>
                    <a:gd name="T103" fmla="*/ 26389 h 364"/>
                    <a:gd name="T104" fmla="*/ 40745 w 523"/>
                    <a:gd name="T105" fmla="*/ 28451 h 364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523"/>
                    <a:gd name="T160" fmla="*/ 0 h 364"/>
                    <a:gd name="T161" fmla="*/ 523 w 523"/>
                    <a:gd name="T162" fmla="*/ 364 h 364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523" h="364">
                      <a:moveTo>
                        <a:pt x="467" y="355"/>
                      </a:moveTo>
                      <a:lnTo>
                        <a:pt x="449" y="356"/>
                      </a:lnTo>
                      <a:lnTo>
                        <a:pt x="429" y="343"/>
                      </a:lnTo>
                      <a:lnTo>
                        <a:pt x="399" y="334"/>
                      </a:lnTo>
                      <a:lnTo>
                        <a:pt x="393" y="329"/>
                      </a:lnTo>
                      <a:lnTo>
                        <a:pt x="373" y="328"/>
                      </a:lnTo>
                      <a:lnTo>
                        <a:pt x="347" y="337"/>
                      </a:lnTo>
                      <a:lnTo>
                        <a:pt x="327" y="347"/>
                      </a:lnTo>
                      <a:lnTo>
                        <a:pt x="308" y="359"/>
                      </a:lnTo>
                      <a:lnTo>
                        <a:pt x="291" y="364"/>
                      </a:lnTo>
                      <a:lnTo>
                        <a:pt x="247" y="356"/>
                      </a:lnTo>
                      <a:lnTo>
                        <a:pt x="206" y="355"/>
                      </a:lnTo>
                      <a:lnTo>
                        <a:pt x="172" y="351"/>
                      </a:lnTo>
                      <a:lnTo>
                        <a:pt x="158" y="351"/>
                      </a:lnTo>
                      <a:lnTo>
                        <a:pt x="147" y="343"/>
                      </a:lnTo>
                      <a:lnTo>
                        <a:pt x="153" y="328"/>
                      </a:lnTo>
                      <a:lnTo>
                        <a:pt x="141" y="324"/>
                      </a:lnTo>
                      <a:lnTo>
                        <a:pt x="131" y="322"/>
                      </a:lnTo>
                      <a:lnTo>
                        <a:pt x="124" y="306"/>
                      </a:lnTo>
                      <a:lnTo>
                        <a:pt x="134" y="295"/>
                      </a:lnTo>
                      <a:lnTo>
                        <a:pt x="126" y="284"/>
                      </a:lnTo>
                      <a:lnTo>
                        <a:pt x="115" y="293"/>
                      </a:lnTo>
                      <a:lnTo>
                        <a:pt x="87" y="283"/>
                      </a:lnTo>
                      <a:lnTo>
                        <a:pt x="72" y="270"/>
                      </a:lnTo>
                      <a:lnTo>
                        <a:pt x="71" y="256"/>
                      </a:lnTo>
                      <a:lnTo>
                        <a:pt x="69" y="246"/>
                      </a:lnTo>
                      <a:lnTo>
                        <a:pt x="60" y="241"/>
                      </a:lnTo>
                      <a:lnTo>
                        <a:pt x="49" y="238"/>
                      </a:lnTo>
                      <a:lnTo>
                        <a:pt x="40" y="225"/>
                      </a:lnTo>
                      <a:lnTo>
                        <a:pt x="35" y="207"/>
                      </a:lnTo>
                      <a:lnTo>
                        <a:pt x="30" y="194"/>
                      </a:lnTo>
                      <a:lnTo>
                        <a:pt x="19" y="182"/>
                      </a:lnTo>
                      <a:lnTo>
                        <a:pt x="5" y="176"/>
                      </a:lnTo>
                      <a:lnTo>
                        <a:pt x="0" y="172"/>
                      </a:lnTo>
                      <a:lnTo>
                        <a:pt x="3" y="172"/>
                      </a:lnTo>
                      <a:lnTo>
                        <a:pt x="35" y="162"/>
                      </a:lnTo>
                      <a:lnTo>
                        <a:pt x="51" y="155"/>
                      </a:lnTo>
                      <a:lnTo>
                        <a:pt x="59" y="138"/>
                      </a:lnTo>
                      <a:lnTo>
                        <a:pt x="66" y="128"/>
                      </a:lnTo>
                      <a:lnTo>
                        <a:pt x="73" y="112"/>
                      </a:lnTo>
                      <a:lnTo>
                        <a:pt x="78" y="98"/>
                      </a:lnTo>
                      <a:lnTo>
                        <a:pt x="91" y="85"/>
                      </a:lnTo>
                      <a:lnTo>
                        <a:pt x="93" y="74"/>
                      </a:lnTo>
                      <a:lnTo>
                        <a:pt x="99" y="63"/>
                      </a:lnTo>
                      <a:lnTo>
                        <a:pt x="101" y="55"/>
                      </a:lnTo>
                      <a:lnTo>
                        <a:pt x="110" y="46"/>
                      </a:lnTo>
                      <a:lnTo>
                        <a:pt x="125" y="39"/>
                      </a:lnTo>
                      <a:lnTo>
                        <a:pt x="132" y="39"/>
                      </a:lnTo>
                      <a:lnTo>
                        <a:pt x="140" y="32"/>
                      </a:lnTo>
                      <a:lnTo>
                        <a:pt x="144" y="25"/>
                      </a:lnTo>
                      <a:lnTo>
                        <a:pt x="151" y="22"/>
                      </a:lnTo>
                      <a:lnTo>
                        <a:pt x="168" y="22"/>
                      </a:lnTo>
                      <a:lnTo>
                        <a:pt x="187" y="25"/>
                      </a:lnTo>
                      <a:lnTo>
                        <a:pt x="210" y="27"/>
                      </a:lnTo>
                      <a:lnTo>
                        <a:pt x="225" y="24"/>
                      </a:lnTo>
                      <a:lnTo>
                        <a:pt x="241" y="22"/>
                      </a:lnTo>
                      <a:lnTo>
                        <a:pt x="252" y="32"/>
                      </a:lnTo>
                      <a:lnTo>
                        <a:pt x="261" y="37"/>
                      </a:lnTo>
                      <a:lnTo>
                        <a:pt x="277" y="26"/>
                      </a:lnTo>
                      <a:lnTo>
                        <a:pt x="295" y="21"/>
                      </a:lnTo>
                      <a:lnTo>
                        <a:pt x="312" y="21"/>
                      </a:lnTo>
                      <a:lnTo>
                        <a:pt x="346" y="0"/>
                      </a:lnTo>
                      <a:lnTo>
                        <a:pt x="352" y="1"/>
                      </a:lnTo>
                      <a:lnTo>
                        <a:pt x="360" y="1"/>
                      </a:lnTo>
                      <a:lnTo>
                        <a:pt x="372" y="11"/>
                      </a:lnTo>
                      <a:lnTo>
                        <a:pt x="386" y="25"/>
                      </a:lnTo>
                      <a:lnTo>
                        <a:pt x="394" y="38"/>
                      </a:lnTo>
                      <a:lnTo>
                        <a:pt x="397" y="55"/>
                      </a:lnTo>
                      <a:lnTo>
                        <a:pt x="409" y="76"/>
                      </a:lnTo>
                      <a:lnTo>
                        <a:pt x="422" y="97"/>
                      </a:lnTo>
                      <a:lnTo>
                        <a:pt x="433" y="117"/>
                      </a:lnTo>
                      <a:lnTo>
                        <a:pt x="438" y="146"/>
                      </a:lnTo>
                      <a:lnTo>
                        <a:pt x="438" y="166"/>
                      </a:lnTo>
                      <a:lnTo>
                        <a:pt x="436" y="182"/>
                      </a:lnTo>
                      <a:lnTo>
                        <a:pt x="438" y="194"/>
                      </a:lnTo>
                      <a:lnTo>
                        <a:pt x="440" y="207"/>
                      </a:lnTo>
                      <a:lnTo>
                        <a:pt x="440" y="221"/>
                      </a:lnTo>
                      <a:lnTo>
                        <a:pt x="440" y="225"/>
                      </a:lnTo>
                      <a:lnTo>
                        <a:pt x="448" y="224"/>
                      </a:lnTo>
                      <a:lnTo>
                        <a:pt x="462" y="241"/>
                      </a:lnTo>
                      <a:lnTo>
                        <a:pt x="472" y="240"/>
                      </a:lnTo>
                      <a:lnTo>
                        <a:pt x="483" y="232"/>
                      </a:lnTo>
                      <a:lnTo>
                        <a:pt x="497" y="230"/>
                      </a:lnTo>
                      <a:lnTo>
                        <a:pt x="506" y="226"/>
                      </a:lnTo>
                      <a:lnTo>
                        <a:pt x="515" y="226"/>
                      </a:lnTo>
                      <a:lnTo>
                        <a:pt x="521" y="230"/>
                      </a:lnTo>
                      <a:lnTo>
                        <a:pt x="523" y="237"/>
                      </a:lnTo>
                      <a:lnTo>
                        <a:pt x="523" y="254"/>
                      </a:lnTo>
                      <a:lnTo>
                        <a:pt x="521" y="265"/>
                      </a:lnTo>
                      <a:lnTo>
                        <a:pt x="518" y="270"/>
                      </a:lnTo>
                      <a:lnTo>
                        <a:pt x="513" y="277"/>
                      </a:lnTo>
                      <a:lnTo>
                        <a:pt x="502" y="279"/>
                      </a:lnTo>
                      <a:lnTo>
                        <a:pt x="492" y="286"/>
                      </a:lnTo>
                      <a:lnTo>
                        <a:pt x="485" y="296"/>
                      </a:lnTo>
                      <a:lnTo>
                        <a:pt x="478" y="302"/>
                      </a:lnTo>
                      <a:lnTo>
                        <a:pt x="475" y="296"/>
                      </a:lnTo>
                      <a:lnTo>
                        <a:pt x="481" y="289"/>
                      </a:lnTo>
                      <a:lnTo>
                        <a:pt x="487" y="277"/>
                      </a:lnTo>
                      <a:lnTo>
                        <a:pt x="487" y="263"/>
                      </a:lnTo>
                      <a:lnTo>
                        <a:pt x="480" y="263"/>
                      </a:lnTo>
                      <a:lnTo>
                        <a:pt x="476" y="286"/>
                      </a:lnTo>
                      <a:lnTo>
                        <a:pt x="472" y="299"/>
                      </a:lnTo>
                      <a:lnTo>
                        <a:pt x="469" y="310"/>
                      </a:lnTo>
                      <a:lnTo>
                        <a:pt x="467" y="317"/>
                      </a:lnTo>
                      <a:lnTo>
                        <a:pt x="467" y="336"/>
                      </a:lnTo>
                      <a:lnTo>
                        <a:pt x="465" y="344"/>
                      </a:lnTo>
                      <a:lnTo>
                        <a:pt x="467" y="355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77" name="Freeform 219"/>
                <p:cNvSpPr>
                  <a:spLocks/>
                </p:cNvSpPr>
                <p:nvPr/>
              </p:nvSpPr>
              <p:spPr bwMode="gray">
                <a:xfrm>
                  <a:off x="4808699" y="1591324"/>
                  <a:ext cx="95433" cy="77461"/>
                </a:xfrm>
                <a:custGeom>
                  <a:avLst/>
                  <a:gdLst>
                    <a:gd name="T0" fmla="*/ 11261 w 267"/>
                    <a:gd name="T1" fmla="*/ 0 h 220"/>
                    <a:gd name="T2" fmla="*/ 12612 w 267"/>
                    <a:gd name="T3" fmla="*/ 411 h 220"/>
                    <a:gd name="T4" fmla="*/ 14414 w 267"/>
                    <a:gd name="T5" fmla="*/ 1234 h 220"/>
                    <a:gd name="T6" fmla="*/ 16666 w 267"/>
                    <a:gd name="T7" fmla="*/ 1645 h 220"/>
                    <a:gd name="T8" fmla="*/ 21621 w 267"/>
                    <a:gd name="T9" fmla="*/ 2056 h 220"/>
                    <a:gd name="T10" fmla="*/ 22973 w 267"/>
                    <a:gd name="T11" fmla="*/ 1234 h 220"/>
                    <a:gd name="T12" fmla="*/ 24324 w 267"/>
                    <a:gd name="T13" fmla="*/ 1645 h 220"/>
                    <a:gd name="T14" fmla="*/ 23873 w 267"/>
                    <a:gd name="T15" fmla="*/ 3290 h 220"/>
                    <a:gd name="T16" fmla="*/ 22072 w 267"/>
                    <a:gd name="T17" fmla="*/ 5346 h 220"/>
                    <a:gd name="T18" fmla="*/ 22072 w 267"/>
                    <a:gd name="T19" fmla="*/ 7402 h 220"/>
                    <a:gd name="T20" fmla="*/ 22072 w 267"/>
                    <a:gd name="T21" fmla="*/ 9458 h 220"/>
                    <a:gd name="T22" fmla="*/ 22072 w 267"/>
                    <a:gd name="T23" fmla="*/ 10280 h 220"/>
                    <a:gd name="T24" fmla="*/ 21171 w 267"/>
                    <a:gd name="T25" fmla="*/ 11925 h 220"/>
                    <a:gd name="T26" fmla="*/ 20270 w 267"/>
                    <a:gd name="T27" fmla="*/ 12747 h 220"/>
                    <a:gd name="T28" fmla="*/ 21621 w 267"/>
                    <a:gd name="T29" fmla="*/ 13158 h 220"/>
                    <a:gd name="T30" fmla="*/ 23873 w 267"/>
                    <a:gd name="T31" fmla="*/ 14803 h 220"/>
                    <a:gd name="T32" fmla="*/ 22973 w 267"/>
                    <a:gd name="T33" fmla="*/ 16037 h 220"/>
                    <a:gd name="T34" fmla="*/ 21171 w 267"/>
                    <a:gd name="T35" fmla="*/ 14392 h 220"/>
                    <a:gd name="T36" fmla="*/ 20720 w 267"/>
                    <a:gd name="T37" fmla="*/ 16448 h 220"/>
                    <a:gd name="T38" fmla="*/ 20270 w 267"/>
                    <a:gd name="T39" fmla="*/ 18093 h 220"/>
                    <a:gd name="T40" fmla="*/ 18919 w 267"/>
                    <a:gd name="T41" fmla="*/ 17682 h 220"/>
                    <a:gd name="T42" fmla="*/ 16666 w 267"/>
                    <a:gd name="T43" fmla="*/ 18093 h 220"/>
                    <a:gd name="T44" fmla="*/ 13964 w 267"/>
                    <a:gd name="T45" fmla="*/ 16448 h 220"/>
                    <a:gd name="T46" fmla="*/ 12162 w 267"/>
                    <a:gd name="T47" fmla="*/ 15214 h 220"/>
                    <a:gd name="T48" fmla="*/ 9459 w 267"/>
                    <a:gd name="T49" fmla="*/ 13981 h 220"/>
                    <a:gd name="T50" fmla="*/ 5856 w 267"/>
                    <a:gd name="T51" fmla="*/ 15214 h 220"/>
                    <a:gd name="T52" fmla="*/ 4504 w 267"/>
                    <a:gd name="T53" fmla="*/ 15626 h 220"/>
                    <a:gd name="T54" fmla="*/ 4955 w 267"/>
                    <a:gd name="T55" fmla="*/ 12747 h 220"/>
                    <a:gd name="T56" fmla="*/ 5405 w 267"/>
                    <a:gd name="T57" fmla="*/ 11514 h 220"/>
                    <a:gd name="T58" fmla="*/ 4054 w 267"/>
                    <a:gd name="T59" fmla="*/ 11925 h 220"/>
                    <a:gd name="T60" fmla="*/ 2703 w 267"/>
                    <a:gd name="T61" fmla="*/ 11514 h 220"/>
                    <a:gd name="T62" fmla="*/ 1351 w 267"/>
                    <a:gd name="T63" fmla="*/ 11514 h 220"/>
                    <a:gd name="T64" fmla="*/ 450 w 267"/>
                    <a:gd name="T65" fmla="*/ 9869 h 220"/>
                    <a:gd name="T66" fmla="*/ 450 w 267"/>
                    <a:gd name="T67" fmla="*/ 8224 h 220"/>
                    <a:gd name="T68" fmla="*/ 1351 w 267"/>
                    <a:gd name="T69" fmla="*/ 7813 h 220"/>
                    <a:gd name="T70" fmla="*/ 450 w 267"/>
                    <a:gd name="T71" fmla="*/ 6579 h 220"/>
                    <a:gd name="T72" fmla="*/ 450 w 267"/>
                    <a:gd name="T73" fmla="*/ 5757 h 220"/>
                    <a:gd name="T74" fmla="*/ 450 w 267"/>
                    <a:gd name="T75" fmla="*/ 4112 h 220"/>
                    <a:gd name="T76" fmla="*/ 3153 w 267"/>
                    <a:gd name="T77" fmla="*/ 3290 h 220"/>
                    <a:gd name="T78" fmla="*/ 3604 w 267"/>
                    <a:gd name="T79" fmla="*/ 2467 h 220"/>
                    <a:gd name="T80" fmla="*/ 4955 w 267"/>
                    <a:gd name="T81" fmla="*/ 1645 h 220"/>
                    <a:gd name="T82" fmla="*/ 7207 w 267"/>
                    <a:gd name="T83" fmla="*/ 1234 h 220"/>
                    <a:gd name="T84" fmla="*/ 9910 w 267"/>
                    <a:gd name="T85" fmla="*/ 1234 h 220"/>
                    <a:gd name="T86" fmla="*/ 9910 w 267"/>
                    <a:gd name="T87" fmla="*/ 411 h 220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267"/>
                    <a:gd name="T133" fmla="*/ 0 h 220"/>
                    <a:gd name="T134" fmla="*/ 267 w 267"/>
                    <a:gd name="T135" fmla="*/ 220 h 220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267" h="220">
                      <a:moveTo>
                        <a:pt x="121" y="5"/>
                      </a:moveTo>
                      <a:lnTo>
                        <a:pt x="124" y="0"/>
                      </a:lnTo>
                      <a:lnTo>
                        <a:pt x="131" y="9"/>
                      </a:lnTo>
                      <a:lnTo>
                        <a:pt x="140" y="5"/>
                      </a:lnTo>
                      <a:lnTo>
                        <a:pt x="147" y="6"/>
                      </a:lnTo>
                      <a:lnTo>
                        <a:pt x="159" y="13"/>
                      </a:lnTo>
                      <a:lnTo>
                        <a:pt x="179" y="15"/>
                      </a:lnTo>
                      <a:lnTo>
                        <a:pt x="184" y="21"/>
                      </a:lnTo>
                      <a:lnTo>
                        <a:pt x="196" y="25"/>
                      </a:lnTo>
                      <a:lnTo>
                        <a:pt x="239" y="26"/>
                      </a:lnTo>
                      <a:lnTo>
                        <a:pt x="250" y="22"/>
                      </a:lnTo>
                      <a:lnTo>
                        <a:pt x="253" y="15"/>
                      </a:lnTo>
                      <a:lnTo>
                        <a:pt x="260" y="16"/>
                      </a:lnTo>
                      <a:lnTo>
                        <a:pt x="265" y="22"/>
                      </a:lnTo>
                      <a:lnTo>
                        <a:pt x="267" y="30"/>
                      </a:lnTo>
                      <a:lnTo>
                        <a:pt x="264" y="38"/>
                      </a:lnTo>
                      <a:lnTo>
                        <a:pt x="253" y="49"/>
                      </a:lnTo>
                      <a:lnTo>
                        <a:pt x="244" y="64"/>
                      </a:lnTo>
                      <a:lnTo>
                        <a:pt x="238" y="78"/>
                      </a:lnTo>
                      <a:lnTo>
                        <a:pt x="242" y="91"/>
                      </a:lnTo>
                      <a:lnTo>
                        <a:pt x="239" y="110"/>
                      </a:lnTo>
                      <a:lnTo>
                        <a:pt x="240" y="116"/>
                      </a:lnTo>
                      <a:lnTo>
                        <a:pt x="243" y="121"/>
                      </a:lnTo>
                      <a:lnTo>
                        <a:pt x="243" y="127"/>
                      </a:lnTo>
                      <a:lnTo>
                        <a:pt x="240" y="134"/>
                      </a:lnTo>
                      <a:lnTo>
                        <a:pt x="232" y="143"/>
                      </a:lnTo>
                      <a:lnTo>
                        <a:pt x="227" y="146"/>
                      </a:lnTo>
                      <a:lnTo>
                        <a:pt x="224" y="154"/>
                      </a:lnTo>
                      <a:lnTo>
                        <a:pt x="228" y="161"/>
                      </a:lnTo>
                      <a:lnTo>
                        <a:pt x="237" y="162"/>
                      </a:lnTo>
                      <a:lnTo>
                        <a:pt x="250" y="161"/>
                      </a:lnTo>
                      <a:lnTo>
                        <a:pt x="261" y="178"/>
                      </a:lnTo>
                      <a:lnTo>
                        <a:pt x="260" y="194"/>
                      </a:lnTo>
                      <a:lnTo>
                        <a:pt x="250" y="194"/>
                      </a:lnTo>
                      <a:lnTo>
                        <a:pt x="242" y="183"/>
                      </a:lnTo>
                      <a:lnTo>
                        <a:pt x="233" y="176"/>
                      </a:lnTo>
                      <a:lnTo>
                        <a:pt x="233" y="191"/>
                      </a:lnTo>
                      <a:lnTo>
                        <a:pt x="229" y="198"/>
                      </a:lnTo>
                      <a:lnTo>
                        <a:pt x="223" y="213"/>
                      </a:lnTo>
                      <a:lnTo>
                        <a:pt x="224" y="220"/>
                      </a:lnTo>
                      <a:lnTo>
                        <a:pt x="223" y="219"/>
                      </a:lnTo>
                      <a:lnTo>
                        <a:pt x="206" y="215"/>
                      </a:lnTo>
                      <a:lnTo>
                        <a:pt x="191" y="217"/>
                      </a:lnTo>
                      <a:lnTo>
                        <a:pt x="183" y="220"/>
                      </a:lnTo>
                      <a:lnTo>
                        <a:pt x="175" y="220"/>
                      </a:lnTo>
                      <a:lnTo>
                        <a:pt x="153" y="201"/>
                      </a:lnTo>
                      <a:lnTo>
                        <a:pt x="148" y="191"/>
                      </a:lnTo>
                      <a:lnTo>
                        <a:pt x="134" y="186"/>
                      </a:lnTo>
                      <a:lnTo>
                        <a:pt x="120" y="175"/>
                      </a:lnTo>
                      <a:lnTo>
                        <a:pt x="104" y="171"/>
                      </a:lnTo>
                      <a:lnTo>
                        <a:pt x="78" y="175"/>
                      </a:lnTo>
                      <a:lnTo>
                        <a:pt x="65" y="185"/>
                      </a:lnTo>
                      <a:lnTo>
                        <a:pt x="56" y="186"/>
                      </a:lnTo>
                      <a:lnTo>
                        <a:pt x="50" y="192"/>
                      </a:lnTo>
                      <a:lnTo>
                        <a:pt x="54" y="180"/>
                      </a:lnTo>
                      <a:lnTo>
                        <a:pt x="56" y="155"/>
                      </a:lnTo>
                      <a:lnTo>
                        <a:pt x="60" y="144"/>
                      </a:lnTo>
                      <a:lnTo>
                        <a:pt x="60" y="139"/>
                      </a:lnTo>
                      <a:lnTo>
                        <a:pt x="45" y="137"/>
                      </a:lnTo>
                      <a:lnTo>
                        <a:pt x="43" y="144"/>
                      </a:lnTo>
                      <a:lnTo>
                        <a:pt x="34" y="149"/>
                      </a:lnTo>
                      <a:lnTo>
                        <a:pt x="28" y="140"/>
                      </a:lnTo>
                      <a:lnTo>
                        <a:pt x="22" y="142"/>
                      </a:lnTo>
                      <a:lnTo>
                        <a:pt x="14" y="139"/>
                      </a:lnTo>
                      <a:lnTo>
                        <a:pt x="11" y="128"/>
                      </a:lnTo>
                      <a:lnTo>
                        <a:pt x="5" y="119"/>
                      </a:lnTo>
                      <a:lnTo>
                        <a:pt x="3" y="110"/>
                      </a:lnTo>
                      <a:lnTo>
                        <a:pt x="7" y="100"/>
                      </a:lnTo>
                      <a:lnTo>
                        <a:pt x="18" y="97"/>
                      </a:lnTo>
                      <a:lnTo>
                        <a:pt x="16" y="94"/>
                      </a:lnTo>
                      <a:lnTo>
                        <a:pt x="2" y="92"/>
                      </a:lnTo>
                      <a:lnTo>
                        <a:pt x="3" y="79"/>
                      </a:lnTo>
                      <a:lnTo>
                        <a:pt x="6" y="75"/>
                      </a:lnTo>
                      <a:lnTo>
                        <a:pt x="5" y="72"/>
                      </a:lnTo>
                      <a:lnTo>
                        <a:pt x="0" y="70"/>
                      </a:lnTo>
                      <a:lnTo>
                        <a:pt x="3" y="49"/>
                      </a:lnTo>
                      <a:lnTo>
                        <a:pt x="8" y="46"/>
                      </a:lnTo>
                      <a:lnTo>
                        <a:pt x="35" y="38"/>
                      </a:lnTo>
                      <a:lnTo>
                        <a:pt x="35" y="33"/>
                      </a:lnTo>
                      <a:lnTo>
                        <a:pt x="39" y="30"/>
                      </a:lnTo>
                      <a:lnTo>
                        <a:pt x="48" y="27"/>
                      </a:lnTo>
                      <a:lnTo>
                        <a:pt x="54" y="21"/>
                      </a:lnTo>
                      <a:lnTo>
                        <a:pt x="75" y="22"/>
                      </a:lnTo>
                      <a:lnTo>
                        <a:pt x="77" y="13"/>
                      </a:lnTo>
                      <a:lnTo>
                        <a:pt x="87" y="19"/>
                      </a:lnTo>
                      <a:lnTo>
                        <a:pt x="108" y="16"/>
                      </a:lnTo>
                      <a:lnTo>
                        <a:pt x="113" y="13"/>
                      </a:lnTo>
                      <a:lnTo>
                        <a:pt x="111" y="5"/>
                      </a:lnTo>
                      <a:lnTo>
                        <a:pt x="121" y="5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78" name="Freeform 220"/>
                <p:cNvSpPr>
                  <a:spLocks/>
                </p:cNvSpPr>
                <p:nvPr/>
              </p:nvSpPr>
              <p:spPr bwMode="gray">
                <a:xfrm>
                  <a:off x="4754703" y="1110253"/>
                  <a:ext cx="209703" cy="471558"/>
                </a:xfrm>
                <a:custGeom>
                  <a:avLst/>
                  <a:gdLst>
                    <a:gd name="T0" fmla="*/ 4022 w 593"/>
                    <a:gd name="T1" fmla="*/ 16872 h 1339"/>
                    <a:gd name="T2" fmla="*/ 14749 w 593"/>
                    <a:gd name="T3" fmla="*/ 26336 h 1339"/>
                    <a:gd name="T4" fmla="*/ 14302 w 593"/>
                    <a:gd name="T5" fmla="*/ 31274 h 1339"/>
                    <a:gd name="T6" fmla="*/ 14302 w 593"/>
                    <a:gd name="T7" fmla="*/ 35801 h 1339"/>
                    <a:gd name="T8" fmla="*/ 16537 w 593"/>
                    <a:gd name="T9" fmla="*/ 42797 h 1339"/>
                    <a:gd name="T10" fmla="*/ 16984 w 593"/>
                    <a:gd name="T11" fmla="*/ 49792 h 1339"/>
                    <a:gd name="T12" fmla="*/ 18771 w 593"/>
                    <a:gd name="T13" fmla="*/ 51438 h 1339"/>
                    <a:gd name="T14" fmla="*/ 21453 w 593"/>
                    <a:gd name="T15" fmla="*/ 53496 h 1339"/>
                    <a:gd name="T16" fmla="*/ 24135 w 593"/>
                    <a:gd name="T17" fmla="*/ 60491 h 1339"/>
                    <a:gd name="T18" fmla="*/ 22347 w 593"/>
                    <a:gd name="T19" fmla="*/ 61314 h 1339"/>
                    <a:gd name="T20" fmla="*/ 17878 w 593"/>
                    <a:gd name="T21" fmla="*/ 65841 h 1339"/>
                    <a:gd name="T22" fmla="*/ 10727 w 593"/>
                    <a:gd name="T23" fmla="*/ 75717 h 1339"/>
                    <a:gd name="T24" fmla="*/ 8045 w 593"/>
                    <a:gd name="T25" fmla="*/ 78186 h 1339"/>
                    <a:gd name="T26" fmla="*/ 5810 w 593"/>
                    <a:gd name="T27" fmla="*/ 80243 h 1339"/>
                    <a:gd name="T28" fmla="*/ 3576 w 593"/>
                    <a:gd name="T29" fmla="*/ 81478 h 1339"/>
                    <a:gd name="T30" fmla="*/ 1788 w 593"/>
                    <a:gd name="T31" fmla="*/ 83947 h 1339"/>
                    <a:gd name="T32" fmla="*/ 3129 w 593"/>
                    <a:gd name="T33" fmla="*/ 87651 h 1339"/>
                    <a:gd name="T34" fmla="*/ 4022 w 593"/>
                    <a:gd name="T35" fmla="*/ 92177 h 1339"/>
                    <a:gd name="T36" fmla="*/ 4916 w 593"/>
                    <a:gd name="T37" fmla="*/ 95058 h 1339"/>
                    <a:gd name="T38" fmla="*/ 4022 w 593"/>
                    <a:gd name="T39" fmla="*/ 95469 h 1339"/>
                    <a:gd name="T40" fmla="*/ 3576 w 593"/>
                    <a:gd name="T41" fmla="*/ 99173 h 1339"/>
                    <a:gd name="T42" fmla="*/ 3129 w 593"/>
                    <a:gd name="T43" fmla="*/ 100819 h 1339"/>
                    <a:gd name="T44" fmla="*/ 4022 w 593"/>
                    <a:gd name="T45" fmla="*/ 102053 h 1339"/>
                    <a:gd name="T46" fmla="*/ 5810 w 593"/>
                    <a:gd name="T47" fmla="*/ 103699 h 1339"/>
                    <a:gd name="T48" fmla="*/ 8939 w 593"/>
                    <a:gd name="T49" fmla="*/ 105345 h 1339"/>
                    <a:gd name="T50" fmla="*/ 10727 w 593"/>
                    <a:gd name="T51" fmla="*/ 106168 h 1339"/>
                    <a:gd name="T52" fmla="*/ 12067 w 593"/>
                    <a:gd name="T53" fmla="*/ 109049 h 1339"/>
                    <a:gd name="T54" fmla="*/ 12514 w 593"/>
                    <a:gd name="T55" fmla="*/ 109872 h 1339"/>
                    <a:gd name="T56" fmla="*/ 14302 w 593"/>
                    <a:gd name="T57" fmla="*/ 109460 h 1339"/>
                    <a:gd name="T58" fmla="*/ 17878 w 593"/>
                    <a:gd name="T59" fmla="*/ 108226 h 1339"/>
                    <a:gd name="T60" fmla="*/ 20559 w 593"/>
                    <a:gd name="T61" fmla="*/ 106991 h 1339"/>
                    <a:gd name="T62" fmla="*/ 24135 w 593"/>
                    <a:gd name="T63" fmla="*/ 104934 h 1339"/>
                    <a:gd name="T64" fmla="*/ 25922 w 593"/>
                    <a:gd name="T65" fmla="*/ 104934 h 1339"/>
                    <a:gd name="T66" fmla="*/ 29498 w 593"/>
                    <a:gd name="T67" fmla="*/ 104522 h 1339"/>
                    <a:gd name="T68" fmla="*/ 33967 w 593"/>
                    <a:gd name="T69" fmla="*/ 104111 h 1339"/>
                    <a:gd name="T70" fmla="*/ 37990 w 593"/>
                    <a:gd name="T71" fmla="*/ 101230 h 1339"/>
                    <a:gd name="T72" fmla="*/ 51845 w 593"/>
                    <a:gd name="T73" fmla="*/ 86416 h 1339"/>
                    <a:gd name="T74" fmla="*/ 51845 w 593"/>
                    <a:gd name="T75" fmla="*/ 79420 h 1339"/>
                    <a:gd name="T76" fmla="*/ 47376 w 593"/>
                    <a:gd name="T77" fmla="*/ 73248 h 1339"/>
                    <a:gd name="T78" fmla="*/ 49163 w 593"/>
                    <a:gd name="T79" fmla="*/ 67898 h 1339"/>
                    <a:gd name="T80" fmla="*/ 46482 w 593"/>
                    <a:gd name="T81" fmla="*/ 62137 h 1339"/>
                    <a:gd name="T82" fmla="*/ 45588 w 593"/>
                    <a:gd name="T83" fmla="*/ 57611 h 1339"/>
                    <a:gd name="T84" fmla="*/ 46929 w 593"/>
                    <a:gd name="T85" fmla="*/ 52673 h 1339"/>
                    <a:gd name="T86" fmla="*/ 44247 w 593"/>
                    <a:gd name="T87" fmla="*/ 44854 h 1339"/>
                    <a:gd name="T88" fmla="*/ 42459 w 593"/>
                    <a:gd name="T89" fmla="*/ 38681 h 1339"/>
                    <a:gd name="T90" fmla="*/ 46035 w 593"/>
                    <a:gd name="T91" fmla="*/ 29217 h 1339"/>
                    <a:gd name="T92" fmla="*/ 41118 w 593"/>
                    <a:gd name="T93" fmla="*/ 23867 h 1339"/>
                    <a:gd name="T94" fmla="*/ 38884 w 593"/>
                    <a:gd name="T95" fmla="*/ 18929 h 1339"/>
                    <a:gd name="T96" fmla="*/ 38884 w 593"/>
                    <a:gd name="T97" fmla="*/ 15226 h 1339"/>
                    <a:gd name="T98" fmla="*/ 41118 w 593"/>
                    <a:gd name="T99" fmla="*/ 10288 h 1339"/>
                    <a:gd name="T100" fmla="*/ 40671 w 593"/>
                    <a:gd name="T101" fmla="*/ 3292 h 1339"/>
                    <a:gd name="T102" fmla="*/ 36649 w 593"/>
                    <a:gd name="T103" fmla="*/ 0 h 1339"/>
                    <a:gd name="T104" fmla="*/ 27710 w 593"/>
                    <a:gd name="T105" fmla="*/ 2469 h 1339"/>
                    <a:gd name="T106" fmla="*/ 25476 w 593"/>
                    <a:gd name="T107" fmla="*/ 10699 h 1339"/>
                    <a:gd name="T108" fmla="*/ 22347 w 593"/>
                    <a:gd name="T109" fmla="*/ 16460 h 1339"/>
                    <a:gd name="T110" fmla="*/ 18771 w 593"/>
                    <a:gd name="T111" fmla="*/ 16872 h 1339"/>
                    <a:gd name="T112" fmla="*/ 13855 w 593"/>
                    <a:gd name="T113" fmla="*/ 17695 h 1339"/>
                    <a:gd name="T114" fmla="*/ 8939 w 593"/>
                    <a:gd name="T115" fmla="*/ 16049 h 1339"/>
                    <a:gd name="T116" fmla="*/ 3129 w 593"/>
                    <a:gd name="T117" fmla="*/ 9465 h 1339"/>
                    <a:gd name="T118" fmla="*/ 1788 w 593"/>
                    <a:gd name="T119" fmla="*/ 12345 h 1339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593"/>
                    <a:gd name="T181" fmla="*/ 0 h 1339"/>
                    <a:gd name="T182" fmla="*/ 593 w 593"/>
                    <a:gd name="T183" fmla="*/ 1339 h 1339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593" h="1339">
                      <a:moveTo>
                        <a:pt x="0" y="156"/>
                      </a:moveTo>
                      <a:lnTo>
                        <a:pt x="3" y="156"/>
                      </a:lnTo>
                      <a:lnTo>
                        <a:pt x="5" y="161"/>
                      </a:lnTo>
                      <a:lnTo>
                        <a:pt x="46" y="207"/>
                      </a:lnTo>
                      <a:lnTo>
                        <a:pt x="76" y="237"/>
                      </a:lnTo>
                      <a:lnTo>
                        <a:pt x="112" y="248"/>
                      </a:lnTo>
                      <a:lnTo>
                        <a:pt x="130" y="266"/>
                      </a:lnTo>
                      <a:lnTo>
                        <a:pt x="162" y="322"/>
                      </a:lnTo>
                      <a:lnTo>
                        <a:pt x="165" y="329"/>
                      </a:lnTo>
                      <a:lnTo>
                        <a:pt x="160" y="342"/>
                      </a:lnTo>
                      <a:lnTo>
                        <a:pt x="159" y="358"/>
                      </a:lnTo>
                      <a:lnTo>
                        <a:pt x="159" y="379"/>
                      </a:lnTo>
                      <a:lnTo>
                        <a:pt x="160" y="393"/>
                      </a:lnTo>
                      <a:lnTo>
                        <a:pt x="165" y="399"/>
                      </a:lnTo>
                      <a:lnTo>
                        <a:pt x="167" y="414"/>
                      </a:lnTo>
                      <a:lnTo>
                        <a:pt x="161" y="435"/>
                      </a:lnTo>
                      <a:lnTo>
                        <a:pt x="164" y="452"/>
                      </a:lnTo>
                      <a:lnTo>
                        <a:pt x="184" y="498"/>
                      </a:lnTo>
                      <a:lnTo>
                        <a:pt x="184" y="510"/>
                      </a:lnTo>
                      <a:lnTo>
                        <a:pt x="183" y="520"/>
                      </a:lnTo>
                      <a:lnTo>
                        <a:pt x="175" y="533"/>
                      </a:lnTo>
                      <a:lnTo>
                        <a:pt x="171" y="551"/>
                      </a:lnTo>
                      <a:lnTo>
                        <a:pt x="175" y="571"/>
                      </a:lnTo>
                      <a:lnTo>
                        <a:pt x="189" y="605"/>
                      </a:lnTo>
                      <a:lnTo>
                        <a:pt x="197" y="613"/>
                      </a:lnTo>
                      <a:lnTo>
                        <a:pt x="202" y="614"/>
                      </a:lnTo>
                      <a:lnTo>
                        <a:pt x="205" y="622"/>
                      </a:lnTo>
                      <a:lnTo>
                        <a:pt x="211" y="625"/>
                      </a:lnTo>
                      <a:lnTo>
                        <a:pt x="216" y="619"/>
                      </a:lnTo>
                      <a:lnTo>
                        <a:pt x="220" y="623"/>
                      </a:lnTo>
                      <a:lnTo>
                        <a:pt x="224" y="637"/>
                      </a:lnTo>
                      <a:lnTo>
                        <a:pt x="240" y="648"/>
                      </a:lnTo>
                      <a:lnTo>
                        <a:pt x="257" y="671"/>
                      </a:lnTo>
                      <a:lnTo>
                        <a:pt x="262" y="684"/>
                      </a:lnTo>
                      <a:lnTo>
                        <a:pt x="259" y="714"/>
                      </a:lnTo>
                      <a:lnTo>
                        <a:pt x="270" y="734"/>
                      </a:lnTo>
                      <a:lnTo>
                        <a:pt x="262" y="732"/>
                      </a:lnTo>
                      <a:lnTo>
                        <a:pt x="258" y="740"/>
                      </a:lnTo>
                      <a:lnTo>
                        <a:pt x="262" y="750"/>
                      </a:lnTo>
                      <a:lnTo>
                        <a:pt x="251" y="743"/>
                      </a:lnTo>
                      <a:lnTo>
                        <a:pt x="241" y="745"/>
                      </a:lnTo>
                      <a:lnTo>
                        <a:pt x="222" y="752"/>
                      </a:lnTo>
                      <a:lnTo>
                        <a:pt x="214" y="788"/>
                      </a:lnTo>
                      <a:lnTo>
                        <a:pt x="200" y="801"/>
                      </a:lnTo>
                      <a:lnTo>
                        <a:pt x="181" y="828"/>
                      </a:lnTo>
                      <a:lnTo>
                        <a:pt x="156" y="855"/>
                      </a:lnTo>
                      <a:lnTo>
                        <a:pt x="140" y="879"/>
                      </a:lnTo>
                      <a:lnTo>
                        <a:pt x="118" y="918"/>
                      </a:lnTo>
                      <a:lnTo>
                        <a:pt x="108" y="925"/>
                      </a:lnTo>
                      <a:lnTo>
                        <a:pt x="102" y="935"/>
                      </a:lnTo>
                      <a:lnTo>
                        <a:pt x="97" y="940"/>
                      </a:lnTo>
                      <a:lnTo>
                        <a:pt x="90" y="949"/>
                      </a:lnTo>
                      <a:lnTo>
                        <a:pt x="70" y="952"/>
                      </a:lnTo>
                      <a:lnTo>
                        <a:pt x="62" y="949"/>
                      </a:lnTo>
                      <a:lnTo>
                        <a:pt x="55" y="962"/>
                      </a:lnTo>
                      <a:lnTo>
                        <a:pt x="63" y="972"/>
                      </a:lnTo>
                      <a:lnTo>
                        <a:pt x="59" y="974"/>
                      </a:lnTo>
                      <a:lnTo>
                        <a:pt x="42" y="976"/>
                      </a:lnTo>
                      <a:lnTo>
                        <a:pt x="43" y="982"/>
                      </a:lnTo>
                      <a:lnTo>
                        <a:pt x="39" y="990"/>
                      </a:lnTo>
                      <a:lnTo>
                        <a:pt x="33" y="990"/>
                      </a:lnTo>
                      <a:lnTo>
                        <a:pt x="30" y="993"/>
                      </a:lnTo>
                      <a:lnTo>
                        <a:pt x="26" y="1000"/>
                      </a:lnTo>
                      <a:lnTo>
                        <a:pt x="21" y="1019"/>
                      </a:lnTo>
                      <a:lnTo>
                        <a:pt x="23" y="1039"/>
                      </a:lnTo>
                      <a:lnTo>
                        <a:pt x="26" y="1047"/>
                      </a:lnTo>
                      <a:lnTo>
                        <a:pt x="30" y="1053"/>
                      </a:lnTo>
                      <a:lnTo>
                        <a:pt x="33" y="1065"/>
                      </a:lnTo>
                      <a:lnTo>
                        <a:pt x="30" y="1091"/>
                      </a:lnTo>
                      <a:lnTo>
                        <a:pt x="35" y="1101"/>
                      </a:lnTo>
                      <a:lnTo>
                        <a:pt x="42" y="1109"/>
                      </a:lnTo>
                      <a:lnTo>
                        <a:pt x="43" y="1120"/>
                      </a:lnTo>
                      <a:lnTo>
                        <a:pt x="47" y="1135"/>
                      </a:lnTo>
                      <a:lnTo>
                        <a:pt x="50" y="1144"/>
                      </a:lnTo>
                      <a:lnTo>
                        <a:pt x="55" y="1150"/>
                      </a:lnTo>
                      <a:lnTo>
                        <a:pt x="57" y="1152"/>
                      </a:lnTo>
                      <a:lnTo>
                        <a:pt x="52" y="1148"/>
                      </a:lnTo>
                      <a:lnTo>
                        <a:pt x="47" y="1148"/>
                      </a:lnTo>
                      <a:lnTo>
                        <a:pt x="43" y="1152"/>
                      </a:lnTo>
                      <a:lnTo>
                        <a:pt x="44" y="1159"/>
                      </a:lnTo>
                      <a:lnTo>
                        <a:pt x="43" y="1165"/>
                      </a:lnTo>
                      <a:lnTo>
                        <a:pt x="44" y="1173"/>
                      </a:lnTo>
                      <a:lnTo>
                        <a:pt x="44" y="1188"/>
                      </a:lnTo>
                      <a:lnTo>
                        <a:pt x="39" y="1202"/>
                      </a:lnTo>
                      <a:lnTo>
                        <a:pt x="36" y="1202"/>
                      </a:lnTo>
                      <a:lnTo>
                        <a:pt x="33" y="1211"/>
                      </a:lnTo>
                      <a:lnTo>
                        <a:pt x="37" y="1218"/>
                      </a:lnTo>
                      <a:lnTo>
                        <a:pt x="37" y="1224"/>
                      </a:lnTo>
                      <a:lnTo>
                        <a:pt x="36" y="1229"/>
                      </a:lnTo>
                      <a:lnTo>
                        <a:pt x="37" y="1234"/>
                      </a:lnTo>
                      <a:lnTo>
                        <a:pt x="44" y="1237"/>
                      </a:lnTo>
                      <a:lnTo>
                        <a:pt x="43" y="1241"/>
                      </a:lnTo>
                      <a:lnTo>
                        <a:pt x="38" y="1242"/>
                      </a:lnTo>
                      <a:lnTo>
                        <a:pt x="39" y="1249"/>
                      </a:lnTo>
                      <a:lnTo>
                        <a:pt x="53" y="1249"/>
                      </a:lnTo>
                      <a:lnTo>
                        <a:pt x="64" y="1257"/>
                      </a:lnTo>
                      <a:lnTo>
                        <a:pt x="69" y="1264"/>
                      </a:lnTo>
                      <a:lnTo>
                        <a:pt x="80" y="1269"/>
                      </a:lnTo>
                      <a:lnTo>
                        <a:pt x="97" y="1274"/>
                      </a:lnTo>
                      <a:lnTo>
                        <a:pt x="100" y="1278"/>
                      </a:lnTo>
                      <a:lnTo>
                        <a:pt x="97" y="1285"/>
                      </a:lnTo>
                      <a:lnTo>
                        <a:pt x="106" y="1291"/>
                      </a:lnTo>
                      <a:lnTo>
                        <a:pt x="121" y="1283"/>
                      </a:lnTo>
                      <a:lnTo>
                        <a:pt x="122" y="1288"/>
                      </a:lnTo>
                      <a:lnTo>
                        <a:pt x="122" y="1300"/>
                      </a:lnTo>
                      <a:lnTo>
                        <a:pt x="130" y="1313"/>
                      </a:lnTo>
                      <a:lnTo>
                        <a:pt x="129" y="1321"/>
                      </a:lnTo>
                      <a:lnTo>
                        <a:pt x="136" y="1324"/>
                      </a:lnTo>
                      <a:lnTo>
                        <a:pt x="134" y="1331"/>
                      </a:lnTo>
                      <a:lnTo>
                        <a:pt x="124" y="1338"/>
                      </a:lnTo>
                      <a:lnTo>
                        <a:pt x="129" y="1339"/>
                      </a:lnTo>
                      <a:lnTo>
                        <a:pt x="139" y="1333"/>
                      </a:lnTo>
                      <a:lnTo>
                        <a:pt x="150" y="1313"/>
                      </a:lnTo>
                      <a:lnTo>
                        <a:pt x="152" y="1316"/>
                      </a:lnTo>
                      <a:lnTo>
                        <a:pt x="152" y="1326"/>
                      </a:lnTo>
                      <a:lnTo>
                        <a:pt x="157" y="1327"/>
                      </a:lnTo>
                      <a:lnTo>
                        <a:pt x="181" y="1315"/>
                      </a:lnTo>
                      <a:lnTo>
                        <a:pt x="189" y="1315"/>
                      </a:lnTo>
                      <a:lnTo>
                        <a:pt x="197" y="1311"/>
                      </a:lnTo>
                      <a:lnTo>
                        <a:pt x="200" y="1316"/>
                      </a:lnTo>
                      <a:lnTo>
                        <a:pt x="203" y="1316"/>
                      </a:lnTo>
                      <a:lnTo>
                        <a:pt x="213" y="1306"/>
                      </a:lnTo>
                      <a:lnTo>
                        <a:pt x="221" y="1300"/>
                      </a:lnTo>
                      <a:lnTo>
                        <a:pt x="229" y="1299"/>
                      </a:lnTo>
                      <a:lnTo>
                        <a:pt x="235" y="1301"/>
                      </a:lnTo>
                      <a:lnTo>
                        <a:pt x="251" y="1291"/>
                      </a:lnTo>
                      <a:lnTo>
                        <a:pt x="261" y="1290"/>
                      </a:lnTo>
                      <a:lnTo>
                        <a:pt x="268" y="1276"/>
                      </a:lnTo>
                      <a:lnTo>
                        <a:pt x="273" y="1286"/>
                      </a:lnTo>
                      <a:lnTo>
                        <a:pt x="291" y="1279"/>
                      </a:lnTo>
                      <a:lnTo>
                        <a:pt x="289" y="1269"/>
                      </a:lnTo>
                      <a:lnTo>
                        <a:pt x="290" y="1272"/>
                      </a:lnTo>
                      <a:lnTo>
                        <a:pt x="299" y="1275"/>
                      </a:lnTo>
                      <a:lnTo>
                        <a:pt x="305" y="1275"/>
                      </a:lnTo>
                      <a:lnTo>
                        <a:pt x="311" y="1269"/>
                      </a:lnTo>
                      <a:lnTo>
                        <a:pt x="329" y="1268"/>
                      </a:lnTo>
                      <a:lnTo>
                        <a:pt x="342" y="1263"/>
                      </a:lnTo>
                      <a:lnTo>
                        <a:pt x="351" y="1258"/>
                      </a:lnTo>
                      <a:lnTo>
                        <a:pt x="359" y="1263"/>
                      </a:lnTo>
                      <a:lnTo>
                        <a:pt x="377" y="1265"/>
                      </a:lnTo>
                      <a:lnTo>
                        <a:pt x="382" y="1262"/>
                      </a:lnTo>
                      <a:lnTo>
                        <a:pt x="386" y="1257"/>
                      </a:lnTo>
                      <a:lnTo>
                        <a:pt x="387" y="1258"/>
                      </a:lnTo>
                      <a:lnTo>
                        <a:pt x="423" y="1231"/>
                      </a:lnTo>
                      <a:lnTo>
                        <a:pt x="473" y="1182"/>
                      </a:lnTo>
                      <a:lnTo>
                        <a:pt x="511" y="1139"/>
                      </a:lnTo>
                      <a:lnTo>
                        <a:pt x="563" y="1070"/>
                      </a:lnTo>
                      <a:lnTo>
                        <a:pt x="576" y="1050"/>
                      </a:lnTo>
                      <a:lnTo>
                        <a:pt x="592" y="1012"/>
                      </a:lnTo>
                      <a:lnTo>
                        <a:pt x="593" y="973"/>
                      </a:lnTo>
                      <a:lnTo>
                        <a:pt x="589" y="979"/>
                      </a:lnTo>
                      <a:lnTo>
                        <a:pt x="579" y="962"/>
                      </a:lnTo>
                      <a:lnTo>
                        <a:pt x="574" y="945"/>
                      </a:lnTo>
                      <a:lnTo>
                        <a:pt x="544" y="922"/>
                      </a:lnTo>
                      <a:lnTo>
                        <a:pt x="536" y="909"/>
                      </a:lnTo>
                      <a:lnTo>
                        <a:pt x="530" y="891"/>
                      </a:lnTo>
                      <a:lnTo>
                        <a:pt x="534" y="875"/>
                      </a:lnTo>
                      <a:lnTo>
                        <a:pt x="544" y="860"/>
                      </a:lnTo>
                      <a:lnTo>
                        <a:pt x="550" y="842"/>
                      </a:lnTo>
                      <a:lnTo>
                        <a:pt x="549" y="822"/>
                      </a:lnTo>
                      <a:lnTo>
                        <a:pt x="533" y="807"/>
                      </a:lnTo>
                      <a:lnTo>
                        <a:pt x="526" y="791"/>
                      </a:lnTo>
                      <a:lnTo>
                        <a:pt x="528" y="770"/>
                      </a:lnTo>
                      <a:lnTo>
                        <a:pt x="520" y="753"/>
                      </a:lnTo>
                      <a:lnTo>
                        <a:pt x="504" y="750"/>
                      </a:lnTo>
                      <a:lnTo>
                        <a:pt x="503" y="729"/>
                      </a:lnTo>
                      <a:lnTo>
                        <a:pt x="509" y="718"/>
                      </a:lnTo>
                      <a:lnTo>
                        <a:pt x="507" y="699"/>
                      </a:lnTo>
                      <a:lnTo>
                        <a:pt x="504" y="689"/>
                      </a:lnTo>
                      <a:lnTo>
                        <a:pt x="509" y="673"/>
                      </a:lnTo>
                      <a:lnTo>
                        <a:pt x="511" y="651"/>
                      </a:lnTo>
                      <a:lnTo>
                        <a:pt x="525" y="639"/>
                      </a:lnTo>
                      <a:lnTo>
                        <a:pt x="523" y="624"/>
                      </a:lnTo>
                      <a:lnTo>
                        <a:pt x="521" y="607"/>
                      </a:lnTo>
                      <a:lnTo>
                        <a:pt x="510" y="573"/>
                      </a:lnTo>
                      <a:lnTo>
                        <a:pt x="495" y="546"/>
                      </a:lnTo>
                      <a:lnTo>
                        <a:pt x="493" y="527"/>
                      </a:lnTo>
                      <a:lnTo>
                        <a:pt x="485" y="510"/>
                      </a:lnTo>
                      <a:lnTo>
                        <a:pt x="476" y="490"/>
                      </a:lnTo>
                      <a:lnTo>
                        <a:pt x="474" y="469"/>
                      </a:lnTo>
                      <a:lnTo>
                        <a:pt x="480" y="456"/>
                      </a:lnTo>
                      <a:lnTo>
                        <a:pt x="499" y="413"/>
                      </a:lnTo>
                      <a:lnTo>
                        <a:pt x="517" y="376"/>
                      </a:lnTo>
                      <a:lnTo>
                        <a:pt x="514" y="354"/>
                      </a:lnTo>
                      <a:lnTo>
                        <a:pt x="504" y="339"/>
                      </a:lnTo>
                      <a:lnTo>
                        <a:pt x="484" y="301"/>
                      </a:lnTo>
                      <a:lnTo>
                        <a:pt x="469" y="294"/>
                      </a:lnTo>
                      <a:lnTo>
                        <a:pt x="456" y="291"/>
                      </a:lnTo>
                      <a:lnTo>
                        <a:pt x="446" y="285"/>
                      </a:lnTo>
                      <a:lnTo>
                        <a:pt x="441" y="278"/>
                      </a:lnTo>
                      <a:lnTo>
                        <a:pt x="436" y="258"/>
                      </a:lnTo>
                      <a:lnTo>
                        <a:pt x="434" y="232"/>
                      </a:lnTo>
                      <a:lnTo>
                        <a:pt x="435" y="223"/>
                      </a:lnTo>
                      <a:lnTo>
                        <a:pt x="446" y="194"/>
                      </a:lnTo>
                      <a:lnTo>
                        <a:pt x="446" y="189"/>
                      </a:lnTo>
                      <a:lnTo>
                        <a:pt x="436" y="185"/>
                      </a:lnTo>
                      <a:lnTo>
                        <a:pt x="467" y="158"/>
                      </a:lnTo>
                      <a:lnTo>
                        <a:pt x="457" y="150"/>
                      </a:lnTo>
                      <a:lnTo>
                        <a:pt x="456" y="139"/>
                      </a:lnTo>
                      <a:lnTo>
                        <a:pt x="460" y="126"/>
                      </a:lnTo>
                      <a:lnTo>
                        <a:pt x="479" y="102"/>
                      </a:lnTo>
                      <a:lnTo>
                        <a:pt x="478" y="86"/>
                      </a:lnTo>
                      <a:lnTo>
                        <a:pt x="471" y="58"/>
                      </a:lnTo>
                      <a:lnTo>
                        <a:pt x="453" y="41"/>
                      </a:lnTo>
                      <a:lnTo>
                        <a:pt x="435" y="35"/>
                      </a:lnTo>
                      <a:lnTo>
                        <a:pt x="425" y="26"/>
                      </a:lnTo>
                      <a:lnTo>
                        <a:pt x="415" y="5"/>
                      </a:lnTo>
                      <a:lnTo>
                        <a:pt x="409" y="0"/>
                      </a:lnTo>
                      <a:lnTo>
                        <a:pt x="386" y="5"/>
                      </a:lnTo>
                      <a:lnTo>
                        <a:pt x="348" y="22"/>
                      </a:lnTo>
                      <a:lnTo>
                        <a:pt x="323" y="25"/>
                      </a:lnTo>
                      <a:lnTo>
                        <a:pt x="310" y="32"/>
                      </a:lnTo>
                      <a:lnTo>
                        <a:pt x="300" y="45"/>
                      </a:lnTo>
                      <a:lnTo>
                        <a:pt x="286" y="76"/>
                      </a:lnTo>
                      <a:lnTo>
                        <a:pt x="283" y="118"/>
                      </a:lnTo>
                      <a:lnTo>
                        <a:pt x="283" y="132"/>
                      </a:lnTo>
                      <a:lnTo>
                        <a:pt x="285" y="155"/>
                      </a:lnTo>
                      <a:lnTo>
                        <a:pt x="283" y="167"/>
                      </a:lnTo>
                      <a:lnTo>
                        <a:pt x="257" y="187"/>
                      </a:lnTo>
                      <a:lnTo>
                        <a:pt x="248" y="201"/>
                      </a:lnTo>
                      <a:lnTo>
                        <a:pt x="236" y="210"/>
                      </a:lnTo>
                      <a:lnTo>
                        <a:pt x="220" y="218"/>
                      </a:lnTo>
                      <a:lnTo>
                        <a:pt x="210" y="214"/>
                      </a:lnTo>
                      <a:lnTo>
                        <a:pt x="207" y="205"/>
                      </a:lnTo>
                      <a:lnTo>
                        <a:pt x="198" y="193"/>
                      </a:lnTo>
                      <a:lnTo>
                        <a:pt x="188" y="186"/>
                      </a:lnTo>
                      <a:lnTo>
                        <a:pt x="171" y="205"/>
                      </a:lnTo>
                      <a:lnTo>
                        <a:pt x="156" y="214"/>
                      </a:lnTo>
                      <a:lnTo>
                        <a:pt x="144" y="215"/>
                      </a:lnTo>
                      <a:lnTo>
                        <a:pt x="129" y="208"/>
                      </a:lnTo>
                      <a:lnTo>
                        <a:pt x="103" y="204"/>
                      </a:lnTo>
                      <a:lnTo>
                        <a:pt x="98" y="196"/>
                      </a:lnTo>
                      <a:lnTo>
                        <a:pt x="93" y="177"/>
                      </a:lnTo>
                      <a:lnTo>
                        <a:pt x="63" y="133"/>
                      </a:lnTo>
                      <a:lnTo>
                        <a:pt x="52" y="122"/>
                      </a:lnTo>
                      <a:lnTo>
                        <a:pt x="37" y="116"/>
                      </a:lnTo>
                      <a:lnTo>
                        <a:pt x="25" y="122"/>
                      </a:lnTo>
                      <a:lnTo>
                        <a:pt x="26" y="134"/>
                      </a:lnTo>
                      <a:lnTo>
                        <a:pt x="28" y="146"/>
                      </a:lnTo>
                      <a:lnTo>
                        <a:pt x="20" y="150"/>
                      </a:lnTo>
                      <a:lnTo>
                        <a:pt x="11" y="145"/>
                      </a:lnTo>
                      <a:lnTo>
                        <a:pt x="3" y="149"/>
                      </a:lnTo>
                      <a:lnTo>
                        <a:pt x="0" y="156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79" name="Freeform 221"/>
                <p:cNvSpPr>
                  <a:spLocks/>
                </p:cNvSpPr>
                <p:nvPr/>
              </p:nvSpPr>
              <p:spPr bwMode="gray">
                <a:xfrm>
                  <a:off x="4513609" y="1661990"/>
                  <a:ext cx="53995" cy="99204"/>
                </a:xfrm>
                <a:custGeom>
                  <a:avLst/>
                  <a:gdLst>
                    <a:gd name="T0" fmla="*/ 4035 w 154"/>
                    <a:gd name="T1" fmla="*/ 23108 h 284"/>
                    <a:gd name="T2" fmla="*/ 6725 w 154"/>
                    <a:gd name="T3" fmla="*/ 23108 h 284"/>
                    <a:gd name="T4" fmla="*/ 7173 w 154"/>
                    <a:gd name="T5" fmla="*/ 22695 h 284"/>
                    <a:gd name="T6" fmla="*/ 7622 w 154"/>
                    <a:gd name="T7" fmla="*/ 23108 h 284"/>
                    <a:gd name="T8" fmla="*/ 8070 w 154"/>
                    <a:gd name="T9" fmla="*/ 22695 h 284"/>
                    <a:gd name="T10" fmla="*/ 7622 w 154"/>
                    <a:gd name="T11" fmla="*/ 21870 h 284"/>
                    <a:gd name="T12" fmla="*/ 6725 w 154"/>
                    <a:gd name="T13" fmla="*/ 21870 h 284"/>
                    <a:gd name="T14" fmla="*/ 7622 w 154"/>
                    <a:gd name="T15" fmla="*/ 20632 h 284"/>
                    <a:gd name="T16" fmla="*/ 7622 w 154"/>
                    <a:gd name="T17" fmla="*/ 20220 h 284"/>
                    <a:gd name="T18" fmla="*/ 7622 w 154"/>
                    <a:gd name="T19" fmla="*/ 18569 h 284"/>
                    <a:gd name="T20" fmla="*/ 8070 w 154"/>
                    <a:gd name="T21" fmla="*/ 17331 h 284"/>
                    <a:gd name="T22" fmla="*/ 7622 w 154"/>
                    <a:gd name="T23" fmla="*/ 16506 h 284"/>
                    <a:gd name="T24" fmla="*/ 9415 w 154"/>
                    <a:gd name="T25" fmla="*/ 16506 h 284"/>
                    <a:gd name="T26" fmla="*/ 8967 w 154"/>
                    <a:gd name="T27" fmla="*/ 15268 h 284"/>
                    <a:gd name="T28" fmla="*/ 10312 w 154"/>
                    <a:gd name="T29" fmla="*/ 15268 h 284"/>
                    <a:gd name="T30" fmla="*/ 10760 w 154"/>
                    <a:gd name="T31" fmla="*/ 13617 h 284"/>
                    <a:gd name="T32" fmla="*/ 11657 w 154"/>
                    <a:gd name="T33" fmla="*/ 12379 h 284"/>
                    <a:gd name="T34" fmla="*/ 11657 w 154"/>
                    <a:gd name="T35" fmla="*/ 13205 h 284"/>
                    <a:gd name="T36" fmla="*/ 12553 w 154"/>
                    <a:gd name="T37" fmla="*/ 12792 h 284"/>
                    <a:gd name="T38" fmla="*/ 13898 w 154"/>
                    <a:gd name="T39" fmla="*/ 11141 h 284"/>
                    <a:gd name="T40" fmla="*/ 13002 w 154"/>
                    <a:gd name="T41" fmla="*/ 10316 h 284"/>
                    <a:gd name="T42" fmla="*/ 11657 w 154"/>
                    <a:gd name="T43" fmla="*/ 10316 h 284"/>
                    <a:gd name="T44" fmla="*/ 10760 w 154"/>
                    <a:gd name="T45" fmla="*/ 9903 h 284"/>
                    <a:gd name="T46" fmla="*/ 10312 w 154"/>
                    <a:gd name="T47" fmla="*/ 10316 h 284"/>
                    <a:gd name="T48" fmla="*/ 10760 w 154"/>
                    <a:gd name="T49" fmla="*/ 9078 h 284"/>
                    <a:gd name="T50" fmla="*/ 9863 w 154"/>
                    <a:gd name="T51" fmla="*/ 9078 h 284"/>
                    <a:gd name="T52" fmla="*/ 10760 w 154"/>
                    <a:gd name="T53" fmla="*/ 8253 h 284"/>
                    <a:gd name="T54" fmla="*/ 10760 w 154"/>
                    <a:gd name="T55" fmla="*/ 7428 h 284"/>
                    <a:gd name="T56" fmla="*/ 11208 w 154"/>
                    <a:gd name="T57" fmla="*/ 5364 h 284"/>
                    <a:gd name="T58" fmla="*/ 12105 w 154"/>
                    <a:gd name="T59" fmla="*/ 3301 h 284"/>
                    <a:gd name="T60" fmla="*/ 11657 w 154"/>
                    <a:gd name="T61" fmla="*/ 825 h 284"/>
                    <a:gd name="T62" fmla="*/ 11657 w 154"/>
                    <a:gd name="T63" fmla="*/ 0 h 284"/>
                    <a:gd name="T64" fmla="*/ 8967 w 154"/>
                    <a:gd name="T65" fmla="*/ 1238 h 284"/>
                    <a:gd name="T66" fmla="*/ 7622 w 154"/>
                    <a:gd name="T67" fmla="*/ 3714 h 284"/>
                    <a:gd name="T68" fmla="*/ 2690 w 154"/>
                    <a:gd name="T69" fmla="*/ 5364 h 284"/>
                    <a:gd name="T70" fmla="*/ 1345 w 154"/>
                    <a:gd name="T71" fmla="*/ 6602 h 284"/>
                    <a:gd name="T72" fmla="*/ 448 w 154"/>
                    <a:gd name="T73" fmla="*/ 9903 h 284"/>
                    <a:gd name="T74" fmla="*/ 0 w 154"/>
                    <a:gd name="T75" fmla="*/ 11967 h 284"/>
                    <a:gd name="T76" fmla="*/ 448 w 154"/>
                    <a:gd name="T77" fmla="*/ 15268 h 284"/>
                    <a:gd name="T78" fmla="*/ 448 w 154"/>
                    <a:gd name="T79" fmla="*/ 17744 h 284"/>
                    <a:gd name="T80" fmla="*/ 897 w 154"/>
                    <a:gd name="T81" fmla="*/ 17744 h 284"/>
                    <a:gd name="T82" fmla="*/ 2690 w 154"/>
                    <a:gd name="T83" fmla="*/ 18569 h 284"/>
                    <a:gd name="T84" fmla="*/ 3138 w 154"/>
                    <a:gd name="T85" fmla="*/ 22283 h 284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54"/>
                    <a:gd name="T130" fmla="*/ 0 h 284"/>
                    <a:gd name="T131" fmla="*/ 154 w 154"/>
                    <a:gd name="T132" fmla="*/ 284 h 284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54" h="284">
                      <a:moveTo>
                        <a:pt x="35" y="279"/>
                      </a:moveTo>
                      <a:lnTo>
                        <a:pt x="43" y="278"/>
                      </a:lnTo>
                      <a:lnTo>
                        <a:pt x="67" y="284"/>
                      </a:lnTo>
                      <a:lnTo>
                        <a:pt x="75" y="280"/>
                      </a:lnTo>
                      <a:lnTo>
                        <a:pt x="79" y="279"/>
                      </a:lnTo>
                      <a:lnTo>
                        <a:pt x="80" y="276"/>
                      </a:lnTo>
                      <a:lnTo>
                        <a:pt x="83" y="276"/>
                      </a:lnTo>
                      <a:lnTo>
                        <a:pt x="84" y="279"/>
                      </a:lnTo>
                      <a:lnTo>
                        <a:pt x="89" y="279"/>
                      </a:lnTo>
                      <a:lnTo>
                        <a:pt x="89" y="275"/>
                      </a:lnTo>
                      <a:lnTo>
                        <a:pt x="86" y="270"/>
                      </a:lnTo>
                      <a:lnTo>
                        <a:pt x="83" y="266"/>
                      </a:lnTo>
                      <a:lnTo>
                        <a:pt x="75" y="266"/>
                      </a:lnTo>
                      <a:lnTo>
                        <a:pt x="75" y="262"/>
                      </a:lnTo>
                      <a:lnTo>
                        <a:pt x="75" y="253"/>
                      </a:lnTo>
                      <a:lnTo>
                        <a:pt x="85" y="247"/>
                      </a:lnTo>
                      <a:lnTo>
                        <a:pt x="85" y="243"/>
                      </a:lnTo>
                      <a:lnTo>
                        <a:pt x="83" y="243"/>
                      </a:lnTo>
                      <a:lnTo>
                        <a:pt x="81" y="235"/>
                      </a:lnTo>
                      <a:lnTo>
                        <a:pt x="84" y="223"/>
                      </a:lnTo>
                      <a:lnTo>
                        <a:pt x="81" y="220"/>
                      </a:lnTo>
                      <a:lnTo>
                        <a:pt x="91" y="210"/>
                      </a:lnTo>
                      <a:lnTo>
                        <a:pt x="90" y="206"/>
                      </a:lnTo>
                      <a:lnTo>
                        <a:pt x="84" y="200"/>
                      </a:lnTo>
                      <a:lnTo>
                        <a:pt x="90" y="198"/>
                      </a:lnTo>
                      <a:lnTo>
                        <a:pt x="102" y="199"/>
                      </a:lnTo>
                      <a:lnTo>
                        <a:pt x="103" y="193"/>
                      </a:lnTo>
                      <a:lnTo>
                        <a:pt x="98" y="185"/>
                      </a:lnTo>
                      <a:lnTo>
                        <a:pt x="102" y="180"/>
                      </a:lnTo>
                      <a:lnTo>
                        <a:pt x="116" y="182"/>
                      </a:lnTo>
                      <a:lnTo>
                        <a:pt x="121" y="176"/>
                      </a:lnTo>
                      <a:lnTo>
                        <a:pt x="118" y="163"/>
                      </a:lnTo>
                      <a:lnTo>
                        <a:pt x="122" y="151"/>
                      </a:lnTo>
                      <a:lnTo>
                        <a:pt x="127" y="149"/>
                      </a:lnTo>
                      <a:lnTo>
                        <a:pt x="127" y="153"/>
                      </a:lnTo>
                      <a:lnTo>
                        <a:pt x="130" y="161"/>
                      </a:lnTo>
                      <a:lnTo>
                        <a:pt x="137" y="152"/>
                      </a:lnTo>
                      <a:lnTo>
                        <a:pt x="138" y="156"/>
                      </a:lnTo>
                      <a:lnTo>
                        <a:pt x="153" y="144"/>
                      </a:lnTo>
                      <a:lnTo>
                        <a:pt x="154" y="133"/>
                      </a:lnTo>
                      <a:lnTo>
                        <a:pt x="151" y="125"/>
                      </a:lnTo>
                      <a:lnTo>
                        <a:pt x="146" y="123"/>
                      </a:lnTo>
                      <a:lnTo>
                        <a:pt x="137" y="124"/>
                      </a:lnTo>
                      <a:lnTo>
                        <a:pt x="129" y="126"/>
                      </a:lnTo>
                      <a:lnTo>
                        <a:pt x="126" y="120"/>
                      </a:lnTo>
                      <a:lnTo>
                        <a:pt x="119" y="120"/>
                      </a:lnTo>
                      <a:lnTo>
                        <a:pt x="114" y="128"/>
                      </a:lnTo>
                      <a:lnTo>
                        <a:pt x="112" y="123"/>
                      </a:lnTo>
                      <a:lnTo>
                        <a:pt x="113" y="117"/>
                      </a:lnTo>
                      <a:lnTo>
                        <a:pt x="119" y="109"/>
                      </a:lnTo>
                      <a:lnTo>
                        <a:pt x="118" y="107"/>
                      </a:lnTo>
                      <a:lnTo>
                        <a:pt x="108" y="109"/>
                      </a:lnTo>
                      <a:lnTo>
                        <a:pt x="108" y="106"/>
                      </a:lnTo>
                      <a:lnTo>
                        <a:pt x="117" y="102"/>
                      </a:lnTo>
                      <a:lnTo>
                        <a:pt x="117" y="93"/>
                      </a:lnTo>
                      <a:lnTo>
                        <a:pt x="118" y="92"/>
                      </a:lnTo>
                      <a:lnTo>
                        <a:pt x="118" y="80"/>
                      </a:lnTo>
                      <a:lnTo>
                        <a:pt x="122" y="66"/>
                      </a:lnTo>
                      <a:lnTo>
                        <a:pt x="132" y="48"/>
                      </a:lnTo>
                      <a:lnTo>
                        <a:pt x="132" y="39"/>
                      </a:lnTo>
                      <a:lnTo>
                        <a:pt x="126" y="20"/>
                      </a:lnTo>
                      <a:lnTo>
                        <a:pt x="128" y="10"/>
                      </a:lnTo>
                      <a:lnTo>
                        <a:pt x="130" y="2"/>
                      </a:lnTo>
                      <a:lnTo>
                        <a:pt x="129" y="0"/>
                      </a:lnTo>
                      <a:lnTo>
                        <a:pt x="123" y="6"/>
                      </a:lnTo>
                      <a:lnTo>
                        <a:pt x="101" y="17"/>
                      </a:lnTo>
                      <a:lnTo>
                        <a:pt x="85" y="34"/>
                      </a:lnTo>
                      <a:lnTo>
                        <a:pt x="83" y="45"/>
                      </a:lnTo>
                      <a:lnTo>
                        <a:pt x="71" y="54"/>
                      </a:lnTo>
                      <a:lnTo>
                        <a:pt x="28" y="63"/>
                      </a:lnTo>
                      <a:lnTo>
                        <a:pt x="20" y="71"/>
                      </a:lnTo>
                      <a:lnTo>
                        <a:pt x="15" y="82"/>
                      </a:lnTo>
                      <a:lnTo>
                        <a:pt x="8" y="107"/>
                      </a:lnTo>
                      <a:lnTo>
                        <a:pt x="6" y="119"/>
                      </a:lnTo>
                      <a:lnTo>
                        <a:pt x="0" y="134"/>
                      </a:lnTo>
                      <a:lnTo>
                        <a:pt x="0" y="146"/>
                      </a:lnTo>
                      <a:lnTo>
                        <a:pt x="3" y="174"/>
                      </a:lnTo>
                      <a:lnTo>
                        <a:pt x="6" y="185"/>
                      </a:lnTo>
                      <a:lnTo>
                        <a:pt x="6" y="199"/>
                      </a:lnTo>
                      <a:lnTo>
                        <a:pt x="4" y="216"/>
                      </a:lnTo>
                      <a:lnTo>
                        <a:pt x="9" y="216"/>
                      </a:lnTo>
                      <a:lnTo>
                        <a:pt x="12" y="214"/>
                      </a:lnTo>
                      <a:lnTo>
                        <a:pt x="21" y="219"/>
                      </a:lnTo>
                      <a:lnTo>
                        <a:pt x="28" y="226"/>
                      </a:lnTo>
                      <a:lnTo>
                        <a:pt x="33" y="236"/>
                      </a:lnTo>
                      <a:lnTo>
                        <a:pt x="33" y="269"/>
                      </a:lnTo>
                      <a:lnTo>
                        <a:pt x="35" y="279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80" name="Freeform 222"/>
                <p:cNvSpPr>
                  <a:spLocks/>
                </p:cNvSpPr>
                <p:nvPr/>
              </p:nvSpPr>
              <p:spPr bwMode="gray">
                <a:xfrm>
                  <a:off x="4454591" y="1053177"/>
                  <a:ext cx="502280" cy="597941"/>
                </a:xfrm>
                <a:custGeom>
                  <a:avLst/>
                  <a:gdLst>
                    <a:gd name="T0" fmla="*/ 120544 w 1427"/>
                    <a:gd name="T1" fmla="*/ 17671 h 1701"/>
                    <a:gd name="T2" fmla="*/ 117431 w 1427"/>
                    <a:gd name="T3" fmla="*/ 12740 h 1701"/>
                    <a:gd name="T4" fmla="*/ 120544 w 1427"/>
                    <a:gd name="T5" fmla="*/ 6164 h 1701"/>
                    <a:gd name="T6" fmla="*/ 114762 w 1427"/>
                    <a:gd name="T7" fmla="*/ 5753 h 1701"/>
                    <a:gd name="T8" fmla="*/ 112093 w 1427"/>
                    <a:gd name="T9" fmla="*/ 3699 h 1701"/>
                    <a:gd name="T10" fmla="*/ 108090 w 1427"/>
                    <a:gd name="T11" fmla="*/ 5342 h 1701"/>
                    <a:gd name="T12" fmla="*/ 104531 w 1427"/>
                    <a:gd name="T13" fmla="*/ 2466 h 1701"/>
                    <a:gd name="T14" fmla="*/ 98304 w 1427"/>
                    <a:gd name="T15" fmla="*/ 9041 h 1701"/>
                    <a:gd name="T16" fmla="*/ 95190 w 1427"/>
                    <a:gd name="T17" fmla="*/ 2055 h 1701"/>
                    <a:gd name="T18" fmla="*/ 88963 w 1427"/>
                    <a:gd name="T19" fmla="*/ 13151 h 1701"/>
                    <a:gd name="T20" fmla="*/ 84070 w 1427"/>
                    <a:gd name="T21" fmla="*/ 12329 h 1701"/>
                    <a:gd name="T22" fmla="*/ 82735 w 1427"/>
                    <a:gd name="T23" fmla="*/ 14794 h 1701"/>
                    <a:gd name="T24" fmla="*/ 77842 w 1427"/>
                    <a:gd name="T25" fmla="*/ 16438 h 1701"/>
                    <a:gd name="T26" fmla="*/ 74729 w 1427"/>
                    <a:gd name="T27" fmla="*/ 17260 h 1701"/>
                    <a:gd name="T28" fmla="*/ 70725 w 1427"/>
                    <a:gd name="T29" fmla="*/ 23835 h 1701"/>
                    <a:gd name="T30" fmla="*/ 64498 w 1427"/>
                    <a:gd name="T31" fmla="*/ 23424 h 1701"/>
                    <a:gd name="T32" fmla="*/ 62719 w 1427"/>
                    <a:gd name="T33" fmla="*/ 29178 h 1701"/>
                    <a:gd name="T34" fmla="*/ 56046 w 1427"/>
                    <a:gd name="T35" fmla="*/ 33287 h 1701"/>
                    <a:gd name="T36" fmla="*/ 56046 w 1427"/>
                    <a:gd name="T37" fmla="*/ 34520 h 1701"/>
                    <a:gd name="T38" fmla="*/ 52043 w 1427"/>
                    <a:gd name="T39" fmla="*/ 38630 h 1701"/>
                    <a:gd name="T40" fmla="*/ 49819 w 1427"/>
                    <a:gd name="T41" fmla="*/ 44383 h 1701"/>
                    <a:gd name="T42" fmla="*/ 46261 w 1427"/>
                    <a:gd name="T43" fmla="*/ 48493 h 1701"/>
                    <a:gd name="T44" fmla="*/ 40923 w 1427"/>
                    <a:gd name="T45" fmla="*/ 55479 h 1701"/>
                    <a:gd name="T46" fmla="*/ 38699 w 1427"/>
                    <a:gd name="T47" fmla="*/ 60411 h 1701"/>
                    <a:gd name="T48" fmla="*/ 37364 w 1427"/>
                    <a:gd name="T49" fmla="*/ 65342 h 1701"/>
                    <a:gd name="T50" fmla="*/ 34251 w 1427"/>
                    <a:gd name="T51" fmla="*/ 70273 h 1701"/>
                    <a:gd name="T52" fmla="*/ 32027 w 1427"/>
                    <a:gd name="T53" fmla="*/ 73972 h 1701"/>
                    <a:gd name="T54" fmla="*/ 27134 w 1427"/>
                    <a:gd name="T55" fmla="*/ 79725 h 1701"/>
                    <a:gd name="T56" fmla="*/ 28468 w 1427"/>
                    <a:gd name="T57" fmla="*/ 86301 h 1701"/>
                    <a:gd name="T58" fmla="*/ 25354 w 1427"/>
                    <a:gd name="T59" fmla="*/ 89999 h 1701"/>
                    <a:gd name="T60" fmla="*/ 20461 w 1427"/>
                    <a:gd name="T61" fmla="*/ 89999 h 1701"/>
                    <a:gd name="T62" fmla="*/ 14679 w 1427"/>
                    <a:gd name="T63" fmla="*/ 92054 h 1701"/>
                    <a:gd name="T64" fmla="*/ 12010 w 1427"/>
                    <a:gd name="T65" fmla="*/ 96986 h 1701"/>
                    <a:gd name="T66" fmla="*/ 6672 w 1427"/>
                    <a:gd name="T67" fmla="*/ 99862 h 1701"/>
                    <a:gd name="T68" fmla="*/ 4893 w 1427"/>
                    <a:gd name="T69" fmla="*/ 102739 h 1701"/>
                    <a:gd name="T70" fmla="*/ 4893 w 1427"/>
                    <a:gd name="T71" fmla="*/ 105205 h 1701"/>
                    <a:gd name="T72" fmla="*/ 1334 w 1427"/>
                    <a:gd name="T73" fmla="*/ 107670 h 1701"/>
                    <a:gd name="T74" fmla="*/ 6672 w 1427"/>
                    <a:gd name="T75" fmla="*/ 110958 h 1701"/>
                    <a:gd name="T76" fmla="*/ 11120 w 1427"/>
                    <a:gd name="T77" fmla="*/ 111369 h 1701"/>
                    <a:gd name="T78" fmla="*/ 4893 w 1427"/>
                    <a:gd name="T79" fmla="*/ 112602 h 1701"/>
                    <a:gd name="T80" fmla="*/ 0 w 1427"/>
                    <a:gd name="T81" fmla="*/ 115479 h 1701"/>
                    <a:gd name="T82" fmla="*/ 2669 w 1427"/>
                    <a:gd name="T83" fmla="*/ 119999 h 1701"/>
                    <a:gd name="T84" fmla="*/ 8007 w 1427"/>
                    <a:gd name="T85" fmla="*/ 117122 h 1701"/>
                    <a:gd name="T86" fmla="*/ 3559 w 1427"/>
                    <a:gd name="T87" fmla="*/ 123698 h 1701"/>
                    <a:gd name="T88" fmla="*/ 1334 w 1427"/>
                    <a:gd name="T89" fmla="*/ 128218 h 1701"/>
                    <a:gd name="T90" fmla="*/ 5783 w 1427"/>
                    <a:gd name="T91" fmla="*/ 129040 h 1701"/>
                    <a:gd name="T92" fmla="*/ 7562 w 1427"/>
                    <a:gd name="T93" fmla="*/ 137670 h 1701"/>
                    <a:gd name="T94" fmla="*/ 16903 w 1427"/>
                    <a:gd name="T95" fmla="*/ 137259 h 1701"/>
                    <a:gd name="T96" fmla="*/ 26244 w 1427"/>
                    <a:gd name="T97" fmla="*/ 127807 h 1701"/>
                    <a:gd name="T98" fmla="*/ 26689 w 1427"/>
                    <a:gd name="T99" fmla="*/ 123698 h 1701"/>
                    <a:gd name="T100" fmla="*/ 30247 w 1427"/>
                    <a:gd name="T101" fmla="*/ 132739 h 1701"/>
                    <a:gd name="T102" fmla="*/ 35585 w 1427"/>
                    <a:gd name="T103" fmla="*/ 114657 h 1701"/>
                    <a:gd name="T104" fmla="*/ 34251 w 1427"/>
                    <a:gd name="T105" fmla="*/ 97397 h 1701"/>
                    <a:gd name="T106" fmla="*/ 43147 w 1427"/>
                    <a:gd name="T107" fmla="*/ 83835 h 1701"/>
                    <a:gd name="T108" fmla="*/ 48040 w 1427"/>
                    <a:gd name="T109" fmla="*/ 61643 h 1701"/>
                    <a:gd name="T110" fmla="*/ 56046 w 1427"/>
                    <a:gd name="T111" fmla="*/ 43561 h 1701"/>
                    <a:gd name="T112" fmla="*/ 64943 w 1427"/>
                    <a:gd name="T113" fmla="*/ 33287 h 1701"/>
                    <a:gd name="T114" fmla="*/ 73394 w 1427"/>
                    <a:gd name="T115" fmla="*/ 26712 h 1701"/>
                    <a:gd name="T116" fmla="*/ 84959 w 1427"/>
                    <a:gd name="T117" fmla="*/ 30411 h 1701"/>
                    <a:gd name="T118" fmla="*/ 100973 w 1427"/>
                    <a:gd name="T119" fmla="*/ 26301 h 1701"/>
                    <a:gd name="T120" fmla="*/ 117875 w 1427"/>
                    <a:gd name="T121" fmla="*/ 18493 h 1701"/>
                    <a:gd name="T122" fmla="*/ 122768 w 1427"/>
                    <a:gd name="T123" fmla="*/ 19726 h 1701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427"/>
                    <a:gd name="T187" fmla="*/ 0 h 1701"/>
                    <a:gd name="T188" fmla="*/ 1427 w 1427"/>
                    <a:gd name="T189" fmla="*/ 1701 h 1701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427" h="1701">
                      <a:moveTo>
                        <a:pt x="1419" y="216"/>
                      </a:moveTo>
                      <a:lnTo>
                        <a:pt x="1397" y="212"/>
                      </a:lnTo>
                      <a:lnTo>
                        <a:pt x="1395" y="232"/>
                      </a:lnTo>
                      <a:lnTo>
                        <a:pt x="1388" y="232"/>
                      </a:lnTo>
                      <a:lnTo>
                        <a:pt x="1390" y="229"/>
                      </a:lnTo>
                      <a:lnTo>
                        <a:pt x="1380" y="225"/>
                      </a:lnTo>
                      <a:lnTo>
                        <a:pt x="1376" y="219"/>
                      </a:lnTo>
                      <a:lnTo>
                        <a:pt x="1376" y="231"/>
                      </a:lnTo>
                      <a:lnTo>
                        <a:pt x="1375" y="234"/>
                      </a:lnTo>
                      <a:lnTo>
                        <a:pt x="1370" y="224"/>
                      </a:lnTo>
                      <a:lnTo>
                        <a:pt x="1357" y="226"/>
                      </a:lnTo>
                      <a:lnTo>
                        <a:pt x="1347" y="232"/>
                      </a:lnTo>
                      <a:lnTo>
                        <a:pt x="1350" y="220"/>
                      </a:lnTo>
                      <a:lnTo>
                        <a:pt x="1358" y="214"/>
                      </a:lnTo>
                      <a:lnTo>
                        <a:pt x="1365" y="212"/>
                      </a:lnTo>
                      <a:lnTo>
                        <a:pt x="1368" y="205"/>
                      </a:lnTo>
                      <a:lnTo>
                        <a:pt x="1366" y="200"/>
                      </a:lnTo>
                      <a:lnTo>
                        <a:pt x="1361" y="193"/>
                      </a:lnTo>
                      <a:lnTo>
                        <a:pt x="1341" y="196"/>
                      </a:lnTo>
                      <a:lnTo>
                        <a:pt x="1344" y="189"/>
                      </a:lnTo>
                      <a:lnTo>
                        <a:pt x="1338" y="183"/>
                      </a:lnTo>
                      <a:lnTo>
                        <a:pt x="1326" y="177"/>
                      </a:lnTo>
                      <a:lnTo>
                        <a:pt x="1315" y="166"/>
                      </a:lnTo>
                      <a:lnTo>
                        <a:pt x="1301" y="162"/>
                      </a:lnTo>
                      <a:lnTo>
                        <a:pt x="1296" y="156"/>
                      </a:lnTo>
                      <a:lnTo>
                        <a:pt x="1299" y="153"/>
                      </a:lnTo>
                      <a:lnTo>
                        <a:pt x="1299" y="149"/>
                      </a:lnTo>
                      <a:lnTo>
                        <a:pt x="1321" y="157"/>
                      </a:lnTo>
                      <a:lnTo>
                        <a:pt x="1371" y="166"/>
                      </a:lnTo>
                      <a:lnTo>
                        <a:pt x="1407" y="137"/>
                      </a:lnTo>
                      <a:lnTo>
                        <a:pt x="1419" y="132"/>
                      </a:lnTo>
                      <a:lnTo>
                        <a:pt x="1427" y="126"/>
                      </a:lnTo>
                      <a:lnTo>
                        <a:pt x="1424" y="112"/>
                      </a:lnTo>
                      <a:lnTo>
                        <a:pt x="1412" y="106"/>
                      </a:lnTo>
                      <a:lnTo>
                        <a:pt x="1404" y="92"/>
                      </a:lnTo>
                      <a:lnTo>
                        <a:pt x="1388" y="91"/>
                      </a:lnTo>
                      <a:lnTo>
                        <a:pt x="1380" y="87"/>
                      </a:lnTo>
                      <a:lnTo>
                        <a:pt x="1388" y="80"/>
                      </a:lnTo>
                      <a:lnTo>
                        <a:pt x="1374" y="73"/>
                      </a:lnTo>
                      <a:lnTo>
                        <a:pt x="1369" y="63"/>
                      </a:lnTo>
                      <a:lnTo>
                        <a:pt x="1361" y="71"/>
                      </a:lnTo>
                      <a:lnTo>
                        <a:pt x="1355" y="75"/>
                      </a:lnTo>
                      <a:lnTo>
                        <a:pt x="1355" y="68"/>
                      </a:lnTo>
                      <a:lnTo>
                        <a:pt x="1353" y="63"/>
                      </a:lnTo>
                      <a:lnTo>
                        <a:pt x="1333" y="70"/>
                      </a:lnTo>
                      <a:lnTo>
                        <a:pt x="1332" y="68"/>
                      </a:lnTo>
                      <a:lnTo>
                        <a:pt x="1331" y="63"/>
                      </a:lnTo>
                      <a:lnTo>
                        <a:pt x="1332" y="59"/>
                      </a:lnTo>
                      <a:lnTo>
                        <a:pt x="1332" y="49"/>
                      </a:lnTo>
                      <a:lnTo>
                        <a:pt x="1327" y="46"/>
                      </a:lnTo>
                      <a:lnTo>
                        <a:pt x="1325" y="38"/>
                      </a:lnTo>
                      <a:lnTo>
                        <a:pt x="1316" y="42"/>
                      </a:lnTo>
                      <a:lnTo>
                        <a:pt x="1310" y="38"/>
                      </a:lnTo>
                      <a:lnTo>
                        <a:pt x="1301" y="41"/>
                      </a:lnTo>
                      <a:lnTo>
                        <a:pt x="1293" y="56"/>
                      </a:lnTo>
                      <a:lnTo>
                        <a:pt x="1290" y="70"/>
                      </a:lnTo>
                      <a:lnTo>
                        <a:pt x="1290" y="89"/>
                      </a:lnTo>
                      <a:lnTo>
                        <a:pt x="1293" y="103"/>
                      </a:lnTo>
                      <a:lnTo>
                        <a:pt x="1280" y="110"/>
                      </a:lnTo>
                      <a:lnTo>
                        <a:pt x="1271" y="102"/>
                      </a:lnTo>
                      <a:lnTo>
                        <a:pt x="1260" y="105"/>
                      </a:lnTo>
                      <a:lnTo>
                        <a:pt x="1257" y="101"/>
                      </a:lnTo>
                      <a:lnTo>
                        <a:pt x="1267" y="91"/>
                      </a:lnTo>
                      <a:lnTo>
                        <a:pt x="1277" y="76"/>
                      </a:lnTo>
                      <a:lnTo>
                        <a:pt x="1272" y="67"/>
                      </a:lnTo>
                      <a:lnTo>
                        <a:pt x="1257" y="78"/>
                      </a:lnTo>
                      <a:lnTo>
                        <a:pt x="1247" y="78"/>
                      </a:lnTo>
                      <a:lnTo>
                        <a:pt x="1262" y="67"/>
                      </a:lnTo>
                      <a:lnTo>
                        <a:pt x="1253" y="56"/>
                      </a:lnTo>
                      <a:lnTo>
                        <a:pt x="1260" y="47"/>
                      </a:lnTo>
                      <a:lnTo>
                        <a:pt x="1277" y="49"/>
                      </a:lnTo>
                      <a:lnTo>
                        <a:pt x="1284" y="35"/>
                      </a:lnTo>
                      <a:lnTo>
                        <a:pt x="1285" y="19"/>
                      </a:lnTo>
                      <a:lnTo>
                        <a:pt x="1273" y="19"/>
                      </a:lnTo>
                      <a:lnTo>
                        <a:pt x="1275" y="9"/>
                      </a:lnTo>
                      <a:lnTo>
                        <a:pt x="1268" y="3"/>
                      </a:lnTo>
                      <a:lnTo>
                        <a:pt x="1262" y="3"/>
                      </a:lnTo>
                      <a:lnTo>
                        <a:pt x="1250" y="13"/>
                      </a:lnTo>
                      <a:lnTo>
                        <a:pt x="1239" y="0"/>
                      </a:lnTo>
                      <a:lnTo>
                        <a:pt x="1236" y="17"/>
                      </a:lnTo>
                      <a:lnTo>
                        <a:pt x="1231" y="37"/>
                      </a:lnTo>
                      <a:lnTo>
                        <a:pt x="1226" y="49"/>
                      </a:lnTo>
                      <a:lnTo>
                        <a:pt x="1220" y="59"/>
                      </a:lnTo>
                      <a:lnTo>
                        <a:pt x="1218" y="67"/>
                      </a:lnTo>
                      <a:lnTo>
                        <a:pt x="1219" y="78"/>
                      </a:lnTo>
                      <a:lnTo>
                        <a:pt x="1212" y="79"/>
                      </a:lnTo>
                      <a:lnTo>
                        <a:pt x="1208" y="89"/>
                      </a:lnTo>
                      <a:lnTo>
                        <a:pt x="1208" y="103"/>
                      </a:lnTo>
                      <a:lnTo>
                        <a:pt x="1197" y="103"/>
                      </a:lnTo>
                      <a:lnTo>
                        <a:pt x="1182" y="118"/>
                      </a:lnTo>
                      <a:lnTo>
                        <a:pt x="1183" y="102"/>
                      </a:lnTo>
                      <a:lnTo>
                        <a:pt x="1188" y="85"/>
                      </a:lnTo>
                      <a:lnTo>
                        <a:pt x="1178" y="70"/>
                      </a:lnTo>
                      <a:lnTo>
                        <a:pt x="1188" y="62"/>
                      </a:lnTo>
                      <a:lnTo>
                        <a:pt x="1188" y="41"/>
                      </a:lnTo>
                      <a:lnTo>
                        <a:pt x="1187" y="28"/>
                      </a:lnTo>
                      <a:lnTo>
                        <a:pt x="1182" y="27"/>
                      </a:lnTo>
                      <a:lnTo>
                        <a:pt x="1176" y="31"/>
                      </a:lnTo>
                      <a:lnTo>
                        <a:pt x="1142" y="90"/>
                      </a:lnTo>
                      <a:lnTo>
                        <a:pt x="1135" y="96"/>
                      </a:lnTo>
                      <a:lnTo>
                        <a:pt x="1129" y="111"/>
                      </a:lnTo>
                      <a:lnTo>
                        <a:pt x="1121" y="122"/>
                      </a:lnTo>
                      <a:lnTo>
                        <a:pt x="1115" y="140"/>
                      </a:lnTo>
                      <a:lnTo>
                        <a:pt x="1123" y="132"/>
                      </a:lnTo>
                      <a:lnTo>
                        <a:pt x="1101" y="167"/>
                      </a:lnTo>
                      <a:lnTo>
                        <a:pt x="1092" y="172"/>
                      </a:lnTo>
                      <a:lnTo>
                        <a:pt x="1091" y="160"/>
                      </a:lnTo>
                      <a:lnTo>
                        <a:pt x="1092" y="148"/>
                      </a:lnTo>
                      <a:lnTo>
                        <a:pt x="1099" y="139"/>
                      </a:lnTo>
                      <a:lnTo>
                        <a:pt x="1104" y="137"/>
                      </a:lnTo>
                      <a:lnTo>
                        <a:pt x="1104" y="129"/>
                      </a:lnTo>
                      <a:lnTo>
                        <a:pt x="1106" y="112"/>
                      </a:lnTo>
                      <a:lnTo>
                        <a:pt x="1105" y="105"/>
                      </a:lnTo>
                      <a:lnTo>
                        <a:pt x="1111" y="87"/>
                      </a:lnTo>
                      <a:lnTo>
                        <a:pt x="1133" y="58"/>
                      </a:lnTo>
                      <a:lnTo>
                        <a:pt x="1140" y="42"/>
                      </a:lnTo>
                      <a:lnTo>
                        <a:pt x="1131" y="37"/>
                      </a:lnTo>
                      <a:lnTo>
                        <a:pt x="1116" y="48"/>
                      </a:lnTo>
                      <a:lnTo>
                        <a:pt x="1107" y="51"/>
                      </a:lnTo>
                      <a:lnTo>
                        <a:pt x="1106" y="37"/>
                      </a:lnTo>
                      <a:lnTo>
                        <a:pt x="1100" y="33"/>
                      </a:lnTo>
                      <a:lnTo>
                        <a:pt x="1096" y="27"/>
                      </a:lnTo>
                      <a:lnTo>
                        <a:pt x="1095" y="20"/>
                      </a:lnTo>
                      <a:lnTo>
                        <a:pt x="1085" y="32"/>
                      </a:lnTo>
                      <a:lnTo>
                        <a:pt x="1081" y="26"/>
                      </a:lnTo>
                      <a:lnTo>
                        <a:pt x="1074" y="26"/>
                      </a:lnTo>
                      <a:lnTo>
                        <a:pt x="1073" y="51"/>
                      </a:lnTo>
                      <a:lnTo>
                        <a:pt x="1059" y="46"/>
                      </a:lnTo>
                      <a:lnTo>
                        <a:pt x="1065" y="59"/>
                      </a:lnTo>
                      <a:lnTo>
                        <a:pt x="1073" y="67"/>
                      </a:lnTo>
                      <a:lnTo>
                        <a:pt x="1074" y="71"/>
                      </a:lnTo>
                      <a:lnTo>
                        <a:pt x="1061" y="79"/>
                      </a:lnTo>
                      <a:lnTo>
                        <a:pt x="1053" y="91"/>
                      </a:lnTo>
                      <a:lnTo>
                        <a:pt x="1057" y="105"/>
                      </a:lnTo>
                      <a:lnTo>
                        <a:pt x="1032" y="105"/>
                      </a:lnTo>
                      <a:lnTo>
                        <a:pt x="1020" y="118"/>
                      </a:lnTo>
                      <a:lnTo>
                        <a:pt x="1015" y="129"/>
                      </a:lnTo>
                      <a:lnTo>
                        <a:pt x="1002" y="144"/>
                      </a:lnTo>
                      <a:lnTo>
                        <a:pt x="1000" y="150"/>
                      </a:lnTo>
                      <a:lnTo>
                        <a:pt x="1003" y="159"/>
                      </a:lnTo>
                      <a:lnTo>
                        <a:pt x="1000" y="169"/>
                      </a:lnTo>
                      <a:lnTo>
                        <a:pt x="1000" y="183"/>
                      </a:lnTo>
                      <a:lnTo>
                        <a:pt x="992" y="184"/>
                      </a:lnTo>
                      <a:lnTo>
                        <a:pt x="987" y="178"/>
                      </a:lnTo>
                      <a:lnTo>
                        <a:pt x="987" y="170"/>
                      </a:lnTo>
                      <a:lnTo>
                        <a:pt x="992" y="166"/>
                      </a:lnTo>
                      <a:lnTo>
                        <a:pt x="978" y="162"/>
                      </a:lnTo>
                      <a:lnTo>
                        <a:pt x="986" y="151"/>
                      </a:lnTo>
                      <a:lnTo>
                        <a:pt x="984" y="150"/>
                      </a:lnTo>
                      <a:lnTo>
                        <a:pt x="954" y="145"/>
                      </a:lnTo>
                      <a:lnTo>
                        <a:pt x="956" y="159"/>
                      </a:lnTo>
                      <a:lnTo>
                        <a:pt x="952" y="160"/>
                      </a:lnTo>
                      <a:lnTo>
                        <a:pt x="944" y="156"/>
                      </a:lnTo>
                      <a:lnTo>
                        <a:pt x="944" y="150"/>
                      </a:lnTo>
                      <a:lnTo>
                        <a:pt x="941" y="140"/>
                      </a:lnTo>
                      <a:lnTo>
                        <a:pt x="938" y="143"/>
                      </a:lnTo>
                      <a:lnTo>
                        <a:pt x="935" y="133"/>
                      </a:lnTo>
                      <a:lnTo>
                        <a:pt x="929" y="138"/>
                      </a:lnTo>
                      <a:lnTo>
                        <a:pt x="927" y="133"/>
                      </a:lnTo>
                      <a:lnTo>
                        <a:pt x="922" y="138"/>
                      </a:lnTo>
                      <a:lnTo>
                        <a:pt x="920" y="155"/>
                      </a:lnTo>
                      <a:lnTo>
                        <a:pt x="916" y="146"/>
                      </a:lnTo>
                      <a:lnTo>
                        <a:pt x="911" y="135"/>
                      </a:lnTo>
                      <a:lnTo>
                        <a:pt x="907" y="132"/>
                      </a:lnTo>
                      <a:lnTo>
                        <a:pt x="907" y="157"/>
                      </a:lnTo>
                      <a:lnTo>
                        <a:pt x="924" y="167"/>
                      </a:lnTo>
                      <a:lnTo>
                        <a:pt x="930" y="167"/>
                      </a:lnTo>
                      <a:lnTo>
                        <a:pt x="930" y="178"/>
                      </a:lnTo>
                      <a:lnTo>
                        <a:pt x="928" y="188"/>
                      </a:lnTo>
                      <a:lnTo>
                        <a:pt x="928" y="199"/>
                      </a:lnTo>
                      <a:lnTo>
                        <a:pt x="933" y="210"/>
                      </a:lnTo>
                      <a:lnTo>
                        <a:pt x="933" y="225"/>
                      </a:lnTo>
                      <a:lnTo>
                        <a:pt x="925" y="219"/>
                      </a:lnTo>
                      <a:lnTo>
                        <a:pt x="907" y="191"/>
                      </a:lnTo>
                      <a:lnTo>
                        <a:pt x="891" y="175"/>
                      </a:lnTo>
                      <a:lnTo>
                        <a:pt x="895" y="194"/>
                      </a:lnTo>
                      <a:lnTo>
                        <a:pt x="890" y="194"/>
                      </a:lnTo>
                      <a:lnTo>
                        <a:pt x="886" y="205"/>
                      </a:lnTo>
                      <a:lnTo>
                        <a:pt x="881" y="204"/>
                      </a:lnTo>
                      <a:lnTo>
                        <a:pt x="877" y="212"/>
                      </a:lnTo>
                      <a:lnTo>
                        <a:pt x="874" y="208"/>
                      </a:lnTo>
                      <a:lnTo>
                        <a:pt x="874" y="202"/>
                      </a:lnTo>
                      <a:lnTo>
                        <a:pt x="877" y="191"/>
                      </a:lnTo>
                      <a:lnTo>
                        <a:pt x="870" y="194"/>
                      </a:lnTo>
                      <a:lnTo>
                        <a:pt x="863" y="204"/>
                      </a:lnTo>
                      <a:lnTo>
                        <a:pt x="859" y="218"/>
                      </a:lnTo>
                      <a:lnTo>
                        <a:pt x="853" y="220"/>
                      </a:lnTo>
                      <a:lnTo>
                        <a:pt x="855" y="235"/>
                      </a:lnTo>
                      <a:lnTo>
                        <a:pt x="857" y="241"/>
                      </a:lnTo>
                      <a:lnTo>
                        <a:pt x="841" y="256"/>
                      </a:lnTo>
                      <a:lnTo>
                        <a:pt x="834" y="275"/>
                      </a:lnTo>
                      <a:lnTo>
                        <a:pt x="827" y="285"/>
                      </a:lnTo>
                      <a:lnTo>
                        <a:pt x="837" y="264"/>
                      </a:lnTo>
                      <a:lnTo>
                        <a:pt x="838" y="252"/>
                      </a:lnTo>
                      <a:lnTo>
                        <a:pt x="839" y="229"/>
                      </a:lnTo>
                      <a:lnTo>
                        <a:pt x="841" y="212"/>
                      </a:lnTo>
                      <a:lnTo>
                        <a:pt x="838" y="191"/>
                      </a:lnTo>
                      <a:lnTo>
                        <a:pt x="828" y="194"/>
                      </a:lnTo>
                      <a:lnTo>
                        <a:pt x="822" y="208"/>
                      </a:lnTo>
                      <a:lnTo>
                        <a:pt x="812" y="223"/>
                      </a:lnTo>
                      <a:lnTo>
                        <a:pt x="809" y="246"/>
                      </a:lnTo>
                      <a:lnTo>
                        <a:pt x="804" y="266"/>
                      </a:lnTo>
                      <a:lnTo>
                        <a:pt x="803" y="214"/>
                      </a:lnTo>
                      <a:lnTo>
                        <a:pt x="777" y="218"/>
                      </a:lnTo>
                      <a:lnTo>
                        <a:pt x="768" y="235"/>
                      </a:lnTo>
                      <a:lnTo>
                        <a:pt x="767" y="240"/>
                      </a:lnTo>
                      <a:lnTo>
                        <a:pt x="769" y="261"/>
                      </a:lnTo>
                      <a:lnTo>
                        <a:pt x="779" y="274"/>
                      </a:lnTo>
                      <a:lnTo>
                        <a:pt x="788" y="278"/>
                      </a:lnTo>
                      <a:lnTo>
                        <a:pt x="795" y="291"/>
                      </a:lnTo>
                      <a:lnTo>
                        <a:pt x="794" y="301"/>
                      </a:lnTo>
                      <a:lnTo>
                        <a:pt x="785" y="300"/>
                      </a:lnTo>
                      <a:lnTo>
                        <a:pt x="779" y="284"/>
                      </a:lnTo>
                      <a:lnTo>
                        <a:pt x="768" y="277"/>
                      </a:lnTo>
                      <a:lnTo>
                        <a:pt x="760" y="261"/>
                      </a:lnTo>
                      <a:lnTo>
                        <a:pt x="751" y="252"/>
                      </a:lnTo>
                      <a:lnTo>
                        <a:pt x="739" y="254"/>
                      </a:lnTo>
                      <a:lnTo>
                        <a:pt x="746" y="272"/>
                      </a:lnTo>
                      <a:lnTo>
                        <a:pt x="760" y="284"/>
                      </a:lnTo>
                      <a:lnTo>
                        <a:pt x="750" y="294"/>
                      </a:lnTo>
                      <a:lnTo>
                        <a:pt x="741" y="286"/>
                      </a:lnTo>
                      <a:lnTo>
                        <a:pt x="737" y="293"/>
                      </a:lnTo>
                      <a:lnTo>
                        <a:pt x="735" y="280"/>
                      </a:lnTo>
                      <a:lnTo>
                        <a:pt x="726" y="285"/>
                      </a:lnTo>
                      <a:lnTo>
                        <a:pt x="726" y="280"/>
                      </a:lnTo>
                      <a:lnTo>
                        <a:pt x="729" y="267"/>
                      </a:lnTo>
                      <a:lnTo>
                        <a:pt x="724" y="261"/>
                      </a:lnTo>
                      <a:lnTo>
                        <a:pt x="721" y="266"/>
                      </a:lnTo>
                      <a:lnTo>
                        <a:pt x="714" y="290"/>
                      </a:lnTo>
                      <a:lnTo>
                        <a:pt x="715" y="299"/>
                      </a:lnTo>
                      <a:lnTo>
                        <a:pt x="720" y="306"/>
                      </a:lnTo>
                      <a:lnTo>
                        <a:pt x="697" y="318"/>
                      </a:lnTo>
                      <a:lnTo>
                        <a:pt x="691" y="325"/>
                      </a:lnTo>
                      <a:lnTo>
                        <a:pt x="688" y="332"/>
                      </a:lnTo>
                      <a:lnTo>
                        <a:pt x="687" y="343"/>
                      </a:lnTo>
                      <a:lnTo>
                        <a:pt x="690" y="350"/>
                      </a:lnTo>
                      <a:lnTo>
                        <a:pt x="698" y="347"/>
                      </a:lnTo>
                      <a:lnTo>
                        <a:pt x="704" y="355"/>
                      </a:lnTo>
                      <a:lnTo>
                        <a:pt x="692" y="355"/>
                      </a:lnTo>
                      <a:lnTo>
                        <a:pt x="696" y="365"/>
                      </a:lnTo>
                      <a:lnTo>
                        <a:pt x="696" y="372"/>
                      </a:lnTo>
                      <a:lnTo>
                        <a:pt x="683" y="368"/>
                      </a:lnTo>
                      <a:lnTo>
                        <a:pt x="678" y="370"/>
                      </a:lnTo>
                      <a:lnTo>
                        <a:pt x="686" y="377"/>
                      </a:lnTo>
                      <a:lnTo>
                        <a:pt x="681" y="383"/>
                      </a:lnTo>
                      <a:lnTo>
                        <a:pt x="670" y="380"/>
                      </a:lnTo>
                      <a:lnTo>
                        <a:pt x="667" y="386"/>
                      </a:lnTo>
                      <a:lnTo>
                        <a:pt x="659" y="383"/>
                      </a:lnTo>
                      <a:lnTo>
                        <a:pt x="643" y="390"/>
                      </a:lnTo>
                      <a:lnTo>
                        <a:pt x="639" y="399"/>
                      </a:lnTo>
                      <a:lnTo>
                        <a:pt x="633" y="403"/>
                      </a:lnTo>
                      <a:lnTo>
                        <a:pt x="632" y="407"/>
                      </a:lnTo>
                      <a:lnTo>
                        <a:pt x="642" y="414"/>
                      </a:lnTo>
                      <a:lnTo>
                        <a:pt x="651" y="410"/>
                      </a:lnTo>
                      <a:lnTo>
                        <a:pt x="656" y="404"/>
                      </a:lnTo>
                      <a:lnTo>
                        <a:pt x="672" y="414"/>
                      </a:lnTo>
                      <a:lnTo>
                        <a:pt x="685" y="406"/>
                      </a:lnTo>
                      <a:lnTo>
                        <a:pt x="687" y="409"/>
                      </a:lnTo>
                      <a:lnTo>
                        <a:pt x="691" y="418"/>
                      </a:lnTo>
                      <a:lnTo>
                        <a:pt x="681" y="418"/>
                      </a:lnTo>
                      <a:lnTo>
                        <a:pt x="676" y="425"/>
                      </a:lnTo>
                      <a:lnTo>
                        <a:pt x="674" y="439"/>
                      </a:lnTo>
                      <a:lnTo>
                        <a:pt x="659" y="430"/>
                      </a:lnTo>
                      <a:lnTo>
                        <a:pt x="648" y="430"/>
                      </a:lnTo>
                      <a:lnTo>
                        <a:pt x="645" y="424"/>
                      </a:lnTo>
                      <a:lnTo>
                        <a:pt x="633" y="422"/>
                      </a:lnTo>
                      <a:lnTo>
                        <a:pt x="619" y="430"/>
                      </a:lnTo>
                      <a:lnTo>
                        <a:pt x="616" y="438"/>
                      </a:lnTo>
                      <a:lnTo>
                        <a:pt x="626" y="453"/>
                      </a:lnTo>
                      <a:lnTo>
                        <a:pt x="626" y="462"/>
                      </a:lnTo>
                      <a:lnTo>
                        <a:pt x="619" y="461"/>
                      </a:lnTo>
                      <a:lnTo>
                        <a:pt x="624" y="476"/>
                      </a:lnTo>
                      <a:lnTo>
                        <a:pt x="626" y="487"/>
                      </a:lnTo>
                      <a:lnTo>
                        <a:pt x="617" y="483"/>
                      </a:lnTo>
                      <a:lnTo>
                        <a:pt x="617" y="494"/>
                      </a:lnTo>
                      <a:lnTo>
                        <a:pt x="610" y="495"/>
                      </a:lnTo>
                      <a:lnTo>
                        <a:pt x="605" y="457"/>
                      </a:lnTo>
                      <a:lnTo>
                        <a:pt x="597" y="460"/>
                      </a:lnTo>
                      <a:lnTo>
                        <a:pt x="594" y="473"/>
                      </a:lnTo>
                      <a:lnTo>
                        <a:pt x="586" y="471"/>
                      </a:lnTo>
                      <a:lnTo>
                        <a:pt x="583" y="474"/>
                      </a:lnTo>
                      <a:lnTo>
                        <a:pt x="594" y="479"/>
                      </a:lnTo>
                      <a:lnTo>
                        <a:pt x="591" y="483"/>
                      </a:lnTo>
                      <a:lnTo>
                        <a:pt x="583" y="485"/>
                      </a:lnTo>
                      <a:lnTo>
                        <a:pt x="575" y="490"/>
                      </a:lnTo>
                      <a:lnTo>
                        <a:pt x="573" y="499"/>
                      </a:lnTo>
                      <a:lnTo>
                        <a:pt x="574" y="509"/>
                      </a:lnTo>
                      <a:lnTo>
                        <a:pt x="583" y="516"/>
                      </a:lnTo>
                      <a:lnTo>
                        <a:pt x="575" y="520"/>
                      </a:lnTo>
                      <a:lnTo>
                        <a:pt x="580" y="525"/>
                      </a:lnTo>
                      <a:lnTo>
                        <a:pt x="574" y="527"/>
                      </a:lnTo>
                      <a:lnTo>
                        <a:pt x="570" y="539"/>
                      </a:lnTo>
                      <a:lnTo>
                        <a:pt x="567" y="542"/>
                      </a:lnTo>
                      <a:lnTo>
                        <a:pt x="561" y="542"/>
                      </a:lnTo>
                      <a:lnTo>
                        <a:pt x="562" y="546"/>
                      </a:lnTo>
                      <a:lnTo>
                        <a:pt x="572" y="549"/>
                      </a:lnTo>
                      <a:lnTo>
                        <a:pt x="591" y="542"/>
                      </a:lnTo>
                      <a:lnTo>
                        <a:pt x="578" y="558"/>
                      </a:lnTo>
                      <a:lnTo>
                        <a:pt x="572" y="562"/>
                      </a:lnTo>
                      <a:lnTo>
                        <a:pt x="553" y="558"/>
                      </a:lnTo>
                      <a:lnTo>
                        <a:pt x="548" y="553"/>
                      </a:lnTo>
                      <a:lnTo>
                        <a:pt x="547" y="546"/>
                      </a:lnTo>
                      <a:lnTo>
                        <a:pt x="540" y="547"/>
                      </a:lnTo>
                      <a:lnTo>
                        <a:pt x="529" y="557"/>
                      </a:lnTo>
                      <a:lnTo>
                        <a:pt x="524" y="574"/>
                      </a:lnTo>
                      <a:lnTo>
                        <a:pt x="514" y="581"/>
                      </a:lnTo>
                      <a:lnTo>
                        <a:pt x="513" y="591"/>
                      </a:lnTo>
                      <a:lnTo>
                        <a:pt x="520" y="591"/>
                      </a:lnTo>
                      <a:lnTo>
                        <a:pt x="519" y="598"/>
                      </a:lnTo>
                      <a:lnTo>
                        <a:pt x="518" y="603"/>
                      </a:lnTo>
                      <a:lnTo>
                        <a:pt x="509" y="607"/>
                      </a:lnTo>
                      <a:lnTo>
                        <a:pt x="504" y="625"/>
                      </a:lnTo>
                      <a:lnTo>
                        <a:pt x="497" y="624"/>
                      </a:lnTo>
                      <a:lnTo>
                        <a:pt x="491" y="628"/>
                      </a:lnTo>
                      <a:lnTo>
                        <a:pt x="484" y="629"/>
                      </a:lnTo>
                      <a:lnTo>
                        <a:pt x="476" y="640"/>
                      </a:lnTo>
                      <a:lnTo>
                        <a:pt x="482" y="650"/>
                      </a:lnTo>
                      <a:lnTo>
                        <a:pt x="478" y="654"/>
                      </a:lnTo>
                      <a:lnTo>
                        <a:pt x="467" y="656"/>
                      </a:lnTo>
                      <a:lnTo>
                        <a:pt x="467" y="666"/>
                      </a:lnTo>
                      <a:lnTo>
                        <a:pt x="456" y="667"/>
                      </a:lnTo>
                      <a:lnTo>
                        <a:pt x="459" y="673"/>
                      </a:lnTo>
                      <a:lnTo>
                        <a:pt x="454" y="677"/>
                      </a:lnTo>
                      <a:lnTo>
                        <a:pt x="452" y="686"/>
                      </a:lnTo>
                      <a:lnTo>
                        <a:pt x="465" y="688"/>
                      </a:lnTo>
                      <a:lnTo>
                        <a:pt x="462" y="694"/>
                      </a:lnTo>
                      <a:lnTo>
                        <a:pt x="454" y="699"/>
                      </a:lnTo>
                      <a:lnTo>
                        <a:pt x="448" y="694"/>
                      </a:lnTo>
                      <a:lnTo>
                        <a:pt x="448" y="697"/>
                      </a:lnTo>
                      <a:lnTo>
                        <a:pt x="448" y="711"/>
                      </a:lnTo>
                      <a:lnTo>
                        <a:pt x="454" y="720"/>
                      </a:lnTo>
                      <a:lnTo>
                        <a:pt x="459" y="713"/>
                      </a:lnTo>
                      <a:lnTo>
                        <a:pt x="463" y="716"/>
                      </a:lnTo>
                      <a:lnTo>
                        <a:pt x="461" y="726"/>
                      </a:lnTo>
                      <a:lnTo>
                        <a:pt x="440" y="729"/>
                      </a:lnTo>
                      <a:lnTo>
                        <a:pt x="436" y="734"/>
                      </a:lnTo>
                      <a:lnTo>
                        <a:pt x="435" y="748"/>
                      </a:lnTo>
                      <a:lnTo>
                        <a:pt x="427" y="754"/>
                      </a:lnTo>
                      <a:lnTo>
                        <a:pt x="418" y="757"/>
                      </a:lnTo>
                      <a:lnTo>
                        <a:pt x="412" y="772"/>
                      </a:lnTo>
                      <a:lnTo>
                        <a:pt x="420" y="770"/>
                      </a:lnTo>
                      <a:lnTo>
                        <a:pt x="429" y="762"/>
                      </a:lnTo>
                      <a:lnTo>
                        <a:pt x="440" y="757"/>
                      </a:lnTo>
                      <a:lnTo>
                        <a:pt x="440" y="767"/>
                      </a:lnTo>
                      <a:lnTo>
                        <a:pt x="446" y="779"/>
                      </a:lnTo>
                      <a:lnTo>
                        <a:pt x="427" y="773"/>
                      </a:lnTo>
                      <a:lnTo>
                        <a:pt x="425" y="781"/>
                      </a:lnTo>
                      <a:lnTo>
                        <a:pt x="429" y="785"/>
                      </a:lnTo>
                      <a:lnTo>
                        <a:pt x="423" y="790"/>
                      </a:lnTo>
                      <a:lnTo>
                        <a:pt x="420" y="796"/>
                      </a:lnTo>
                      <a:lnTo>
                        <a:pt x="423" y="806"/>
                      </a:lnTo>
                      <a:lnTo>
                        <a:pt x="419" y="808"/>
                      </a:lnTo>
                      <a:lnTo>
                        <a:pt x="413" y="805"/>
                      </a:lnTo>
                      <a:lnTo>
                        <a:pt x="409" y="811"/>
                      </a:lnTo>
                      <a:lnTo>
                        <a:pt x="412" y="821"/>
                      </a:lnTo>
                      <a:lnTo>
                        <a:pt x="418" y="826"/>
                      </a:lnTo>
                      <a:lnTo>
                        <a:pt x="420" y="845"/>
                      </a:lnTo>
                      <a:lnTo>
                        <a:pt x="413" y="837"/>
                      </a:lnTo>
                      <a:lnTo>
                        <a:pt x="406" y="834"/>
                      </a:lnTo>
                      <a:lnTo>
                        <a:pt x="400" y="821"/>
                      </a:lnTo>
                      <a:lnTo>
                        <a:pt x="401" y="838"/>
                      </a:lnTo>
                      <a:lnTo>
                        <a:pt x="397" y="844"/>
                      </a:lnTo>
                      <a:lnTo>
                        <a:pt x="391" y="847"/>
                      </a:lnTo>
                      <a:lnTo>
                        <a:pt x="387" y="856"/>
                      </a:lnTo>
                      <a:lnTo>
                        <a:pt x="392" y="859"/>
                      </a:lnTo>
                      <a:lnTo>
                        <a:pt x="398" y="856"/>
                      </a:lnTo>
                      <a:lnTo>
                        <a:pt x="403" y="848"/>
                      </a:lnTo>
                      <a:lnTo>
                        <a:pt x="405" y="851"/>
                      </a:lnTo>
                      <a:lnTo>
                        <a:pt x="403" y="856"/>
                      </a:lnTo>
                      <a:lnTo>
                        <a:pt x="403" y="864"/>
                      </a:lnTo>
                      <a:lnTo>
                        <a:pt x="406" y="871"/>
                      </a:lnTo>
                      <a:lnTo>
                        <a:pt x="398" y="877"/>
                      </a:lnTo>
                      <a:lnTo>
                        <a:pt x="387" y="872"/>
                      </a:lnTo>
                      <a:lnTo>
                        <a:pt x="382" y="880"/>
                      </a:lnTo>
                      <a:lnTo>
                        <a:pt x="376" y="876"/>
                      </a:lnTo>
                      <a:lnTo>
                        <a:pt x="369" y="886"/>
                      </a:lnTo>
                      <a:lnTo>
                        <a:pt x="368" y="896"/>
                      </a:lnTo>
                      <a:lnTo>
                        <a:pt x="360" y="902"/>
                      </a:lnTo>
                      <a:lnTo>
                        <a:pt x="352" y="904"/>
                      </a:lnTo>
                      <a:lnTo>
                        <a:pt x="347" y="925"/>
                      </a:lnTo>
                      <a:lnTo>
                        <a:pt x="357" y="921"/>
                      </a:lnTo>
                      <a:lnTo>
                        <a:pt x="366" y="915"/>
                      </a:lnTo>
                      <a:lnTo>
                        <a:pt x="370" y="919"/>
                      </a:lnTo>
                      <a:lnTo>
                        <a:pt x="353" y="926"/>
                      </a:lnTo>
                      <a:lnTo>
                        <a:pt x="353" y="937"/>
                      </a:lnTo>
                      <a:lnTo>
                        <a:pt x="355" y="948"/>
                      </a:lnTo>
                      <a:lnTo>
                        <a:pt x="352" y="955"/>
                      </a:lnTo>
                      <a:lnTo>
                        <a:pt x="341" y="958"/>
                      </a:lnTo>
                      <a:lnTo>
                        <a:pt x="327" y="947"/>
                      </a:lnTo>
                      <a:lnTo>
                        <a:pt x="323" y="947"/>
                      </a:lnTo>
                      <a:lnTo>
                        <a:pt x="315" y="962"/>
                      </a:lnTo>
                      <a:lnTo>
                        <a:pt x="305" y="969"/>
                      </a:lnTo>
                      <a:lnTo>
                        <a:pt x="304" y="976"/>
                      </a:lnTo>
                      <a:lnTo>
                        <a:pt x="296" y="980"/>
                      </a:lnTo>
                      <a:lnTo>
                        <a:pt x="280" y="1006"/>
                      </a:lnTo>
                      <a:lnTo>
                        <a:pt x="277" y="1012"/>
                      </a:lnTo>
                      <a:lnTo>
                        <a:pt x="280" y="1022"/>
                      </a:lnTo>
                      <a:lnTo>
                        <a:pt x="280" y="1026"/>
                      </a:lnTo>
                      <a:lnTo>
                        <a:pt x="258" y="1038"/>
                      </a:lnTo>
                      <a:lnTo>
                        <a:pt x="258" y="1048"/>
                      </a:lnTo>
                      <a:lnTo>
                        <a:pt x="263" y="1053"/>
                      </a:lnTo>
                      <a:lnTo>
                        <a:pt x="274" y="1048"/>
                      </a:lnTo>
                      <a:lnTo>
                        <a:pt x="269" y="1064"/>
                      </a:lnTo>
                      <a:lnTo>
                        <a:pt x="277" y="1075"/>
                      </a:lnTo>
                      <a:lnTo>
                        <a:pt x="283" y="1079"/>
                      </a:lnTo>
                      <a:lnTo>
                        <a:pt x="320" y="1052"/>
                      </a:lnTo>
                      <a:lnTo>
                        <a:pt x="342" y="1042"/>
                      </a:lnTo>
                      <a:lnTo>
                        <a:pt x="347" y="1036"/>
                      </a:lnTo>
                      <a:lnTo>
                        <a:pt x="352" y="1038"/>
                      </a:lnTo>
                      <a:lnTo>
                        <a:pt x="348" y="1044"/>
                      </a:lnTo>
                      <a:lnTo>
                        <a:pt x="335" y="1052"/>
                      </a:lnTo>
                      <a:lnTo>
                        <a:pt x="327" y="1053"/>
                      </a:lnTo>
                      <a:lnTo>
                        <a:pt x="316" y="1060"/>
                      </a:lnTo>
                      <a:lnTo>
                        <a:pt x="307" y="1068"/>
                      </a:lnTo>
                      <a:lnTo>
                        <a:pt x="314" y="1075"/>
                      </a:lnTo>
                      <a:lnTo>
                        <a:pt x="312" y="1079"/>
                      </a:lnTo>
                      <a:lnTo>
                        <a:pt x="295" y="1086"/>
                      </a:lnTo>
                      <a:lnTo>
                        <a:pt x="285" y="1086"/>
                      </a:lnTo>
                      <a:lnTo>
                        <a:pt x="282" y="1090"/>
                      </a:lnTo>
                      <a:lnTo>
                        <a:pt x="284" y="1096"/>
                      </a:lnTo>
                      <a:lnTo>
                        <a:pt x="280" y="1097"/>
                      </a:lnTo>
                      <a:lnTo>
                        <a:pt x="271" y="1096"/>
                      </a:lnTo>
                      <a:lnTo>
                        <a:pt x="271" y="1086"/>
                      </a:lnTo>
                      <a:lnTo>
                        <a:pt x="263" y="1071"/>
                      </a:lnTo>
                      <a:lnTo>
                        <a:pt x="258" y="1066"/>
                      </a:lnTo>
                      <a:lnTo>
                        <a:pt x="253" y="1066"/>
                      </a:lnTo>
                      <a:lnTo>
                        <a:pt x="250" y="1073"/>
                      </a:lnTo>
                      <a:lnTo>
                        <a:pt x="242" y="1074"/>
                      </a:lnTo>
                      <a:lnTo>
                        <a:pt x="236" y="1080"/>
                      </a:lnTo>
                      <a:lnTo>
                        <a:pt x="235" y="1087"/>
                      </a:lnTo>
                      <a:lnTo>
                        <a:pt x="241" y="1092"/>
                      </a:lnTo>
                      <a:lnTo>
                        <a:pt x="242" y="1097"/>
                      </a:lnTo>
                      <a:lnTo>
                        <a:pt x="231" y="1103"/>
                      </a:lnTo>
                      <a:lnTo>
                        <a:pt x="228" y="1097"/>
                      </a:lnTo>
                      <a:lnTo>
                        <a:pt x="228" y="1089"/>
                      </a:lnTo>
                      <a:lnTo>
                        <a:pt x="225" y="1082"/>
                      </a:lnTo>
                      <a:lnTo>
                        <a:pt x="198" y="1093"/>
                      </a:lnTo>
                      <a:lnTo>
                        <a:pt x="194" y="1098"/>
                      </a:lnTo>
                      <a:lnTo>
                        <a:pt x="190" y="1109"/>
                      </a:lnTo>
                      <a:lnTo>
                        <a:pt x="183" y="1108"/>
                      </a:lnTo>
                      <a:lnTo>
                        <a:pt x="185" y="1116"/>
                      </a:lnTo>
                      <a:lnTo>
                        <a:pt x="183" y="1119"/>
                      </a:lnTo>
                      <a:lnTo>
                        <a:pt x="175" y="1120"/>
                      </a:lnTo>
                      <a:lnTo>
                        <a:pt x="175" y="1117"/>
                      </a:lnTo>
                      <a:lnTo>
                        <a:pt x="174" y="1112"/>
                      </a:lnTo>
                      <a:lnTo>
                        <a:pt x="169" y="1113"/>
                      </a:lnTo>
                      <a:lnTo>
                        <a:pt x="166" y="1117"/>
                      </a:lnTo>
                      <a:lnTo>
                        <a:pt x="167" y="1122"/>
                      </a:lnTo>
                      <a:lnTo>
                        <a:pt x="166" y="1124"/>
                      </a:lnTo>
                      <a:lnTo>
                        <a:pt x="156" y="1124"/>
                      </a:lnTo>
                      <a:lnTo>
                        <a:pt x="143" y="1132"/>
                      </a:lnTo>
                      <a:lnTo>
                        <a:pt x="140" y="1145"/>
                      </a:lnTo>
                      <a:lnTo>
                        <a:pt x="135" y="1156"/>
                      </a:lnTo>
                      <a:lnTo>
                        <a:pt x="128" y="1151"/>
                      </a:lnTo>
                      <a:lnTo>
                        <a:pt x="118" y="1150"/>
                      </a:lnTo>
                      <a:lnTo>
                        <a:pt x="110" y="1157"/>
                      </a:lnTo>
                      <a:lnTo>
                        <a:pt x="107" y="1163"/>
                      </a:lnTo>
                      <a:lnTo>
                        <a:pt x="117" y="1171"/>
                      </a:lnTo>
                      <a:lnTo>
                        <a:pt x="111" y="1177"/>
                      </a:lnTo>
                      <a:lnTo>
                        <a:pt x="121" y="1178"/>
                      </a:lnTo>
                      <a:lnTo>
                        <a:pt x="132" y="1176"/>
                      </a:lnTo>
                      <a:lnTo>
                        <a:pt x="137" y="1182"/>
                      </a:lnTo>
                      <a:lnTo>
                        <a:pt x="142" y="1184"/>
                      </a:lnTo>
                      <a:lnTo>
                        <a:pt x="135" y="1193"/>
                      </a:lnTo>
                      <a:lnTo>
                        <a:pt x="138" y="1199"/>
                      </a:lnTo>
                      <a:lnTo>
                        <a:pt x="131" y="1195"/>
                      </a:lnTo>
                      <a:lnTo>
                        <a:pt x="122" y="1195"/>
                      </a:lnTo>
                      <a:lnTo>
                        <a:pt x="99" y="1192"/>
                      </a:lnTo>
                      <a:lnTo>
                        <a:pt x="91" y="1193"/>
                      </a:lnTo>
                      <a:lnTo>
                        <a:pt x="86" y="1197"/>
                      </a:lnTo>
                      <a:lnTo>
                        <a:pt x="80" y="1195"/>
                      </a:lnTo>
                      <a:lnTo>
                        <a:pt x="74" y="1200"/>
                      </a:lnTo>
                      <a:lnTo>
                        <a:pt x="75" y="1203"/>
                      </a:lnTo>
                      <a:lnTo>
                        <a:pt x="81" y="1205"/>
                      </a:lnTo>
                      <a:lnTo>
                        <a:pt x="75" y="1208"/>
                      </a:lnTo>
                      <a:lnTo>
                        <a:pt x="75" y="1214"/>
                      </a:lnTo>
                      <a:lnTo>
                        <a:pt x="83" y="1213"/>
                      </a:lnTo>
                      <a:lnTo>
                        <a:pt x="89" y="1210"/>
                      </a:lnTo>
                      <a:lnTo>
                        <a:pt x="81" y="1220"/>
                      </a:lnTo>
                      <a:lnTo>
                        <a:pt x="81" y="1227"/>
                      </a:lnTo>
                      <a:lnTo>
                        <a:pt x="86" y="1243"/>
                      </a:lnTo>
                      <a:lnTo>
                        <a:pt x="83" y="1245"/>
                      </a:lnTo>
                      <a:lnTo>
                        <a:pt x="78" y="1230"/>
                      </a:lnTo>
                      <a:lnTo>
                        <a:pt x="74" y="1224"/>
                      </a:lnTo>
                      <a:lnTo>
                        <a:pt x="64" y="1230"/>
                      </a:lnTo>
                      <a:lnTo>
                        <a:pt x="59" y="1238"/>
                      </a:lnTo>
                      <a:lnTo>
                        <a:pt x="56" y="1248"/>
                      </a:lnTo>
                      <a:lnTo>
                        <a:pt x="61" y="1253"/>
                      </a:lnTo>
                      <a:lnTo>
                        <a:pt x="62" y="1259"/>
                      </a:lnTo>
                      <a:lnTo>
                        <a:pt x="53" y="1253"/>
                      </a:lnTo>
                      <a:lnTo>
                        <a:pt x="50" y="1246"/>
                      </a:lnTo>
                      <a:lnTo>
                        <a:pt x="41" y="1248"/>
                      </a:lnTo>
                      <a:lnTo>
                        <a:pt x="27" y="1248"/>
                      </a:lnTo>
                      <a:lnTo>
                        <a:pt x="27" y="1254"/>
                      </a:lnTo>
                      <a:lnTo>
                        <a:pt x="29" y="1259"/>
                      </a:lnTo>
                      <a:lnTo>
                        <a:pt x="13" y="1247"/>
                      </a:lnTo>
                      <a:lnTo>
                        <a:pt x="9" y="1251"/>
                      </a:lnTo>
                      <a:lnTo>
                        <a:pt x="15" y="1265"/>
                      </a:lnTo>
                      <a:lnTo>
                        <a:pt x="11" y="1272"/>
                      </a:lnTo>
                      <a:lnTo>
                        <a:pt x="13" y="1274"/>
                      </a:lnTo>
                      <a:lnTo>
                        <a:pt x="41" y="1274"/>
                      </a:lnTo>
                      <a:lnTo>
                        <a:pt x="67" y="1268"/>
                      </a:lnTo>
                      <a:lnTo>
                        <a:pt x="51" y="1275"/>
                      </a:lnTo>
                      <a:lnTo>
                        <a:pt x="53" y="1279"/>
                      </a:lnTo>
                      <a:lnTo>
                        <a:pt x="65" y="1279"/>
                      </a:lnTo>
                      <a:lnTo>
                        <a:pt x="74" y="1275"/>
                      </a:lnTo>
                      <a:lnTo>
                        <a:pt x="77" y="1278"/>
                      </a:lnTo>
                      <a:lnTo>
                        <a:pt x="67" y="1284"/>
                      </a:lnTo>
                      <a:lnTo>
                        <a:pt x="52" y="1286"/>
                      </a:lnTo>
                      <a:lnTo>
                        <a:pt x="36" y="1286"/>
                      </a:lnTo>
                      <a:lnTo>
                        <a:pt x="30" y="1281"/>
                      </a:lnTo>
                      <a:lnTo>
                        <a:pt x="24" y="1281"/>
                      </a:lnTo>
                      <a:lnTo>
                        <a:pt x="13" y="1291"/>
                      </a:lnTo>
                      <a:lnTo>
                        <a:pt x="11" y="1296"/>
                      </a:lnTo>
                      <a:lnTo>
                        <a:pt x="4" y="1295"/>
                      </a:lnTo>
                      <a:lnTo>
                        <a:pt x="2" y="1297"/>
                      </a:lnTo>
                      <a:lnTo>
                        <a:pt x="0" y="1305"/>
                      </a:lnTo>
                      <a:lnTo>
                        <a:pt x="16" y="1310"/>
                      </a:lnTo>
                      <a:lnTo>
                        <a:pt x="15" y="1316"/>
                      </a:lnTo>
                      <a:lnTo>
                        <a:pt x="15" y="1322"/>
                      </a:lnTo>
                      <a:lnTo>
                        <a:pt x="10" y="1327"/>
                      </a:lnTo>
                      <a:lnTo>
                        <a:pt x="3" y="1335"/>
                      </a:lnTo>
                      <a:lnTo>
                        <a:pt x="5" y="1343"/>
                      </a:lnTo>
                      <a:lnTo>
                        <a:pt x="3" y="1346"/>
                      </a:lnTo>
                      <a:lnTo>
                        <a:pt x="3" y="1354"/>
                      </a:lnTo>
                      <a:lnTo>
                        <a:pt x="7" y="1358"/>
                      </a:lnTo>
                      <a:lnTo>
                        <a:pt x="7" y="1365"/>
                      </a:lnTo>
                      <a:lnTo>
                        <a:pt x="22" y="1367"/>
                      </a:lnTo>
                      <a:lnTo>
                        <a:pt x="53" y="1356"/>
                      </a:lnTo>
                      <a:lnTo>
                        <a:pt x="59" y="1360"/>
                      </a:lnTo>
                      <a:lnTo>
                        <a:pt x="72" y="1360"/>
                      </a:lnTo>
                      <a:lnTo>
                        <a:pt x="74" y="1349"/>
                      </a:lnTo>
                      <a:lnTo>
                        <a:pt x="83" y="1333"/>
                      </a:lnTo>
                      <a:lnTo>
                        <a:pt x="85" y="1343"/>
                      </a:lnTo>
                      <a:lnTo>
                        <a:pt x="81" y="1356"/>
                      </a:lnTo>
                      <a:lnTo>
                        <a:pt x="88" y="1359"/>
                      </a:lnTo>
                      <a:lnTo>
                        <a:pt x="99" y="1359"/>
                      </a:lnTo>
                      <a:lnTo>
                        <a:pt x="106" y="1356"/>
                      </a:lnTo>
                      <a:lnTo>
                        <a:pt x="111" y="1360"/>
                      </a:lnTo>
                      <a:lnTo>
                        <a:pt x="122" y="1348"/>
                      </a:lnTo>
                      <a:lnTo>
                        <a:pt x="126" y="1324"/>
                      </a:lnTo>
                      <a:lnTo>
                        <a:pt x="138" y="1317"/>
                      </a:lnTo>
                      <a:lnTo>
                        <a:pt x="139" y="1322"/>
                      </a:lnTo>
                      <a:lnTo>
                        <a:pt x="131" y="1338"/>
                      </a:lnTo>
                      <a:lnTo>
                        <a:pt x="129" y="1349"/>
                      </a:lnTo>
                      <a:lnTo>
                        <a:pt x="127" y="1354"/>
                      </a:lnTo>
                      <a:lnTo>
                        <a:pt x="133" y="1353"/>
                      </a:lnTo>
                      <a:lnTo>
                        <a:pt x="140" y="1349"/>
                      </a:lnTo>
                      <a:lnTo>
                        <a:pt x="145" y="1351"/>
                      </a:lnTo>
                      <a:lnTo>
                        <a:pt x="131" y="1362"/>
                      </a:lnTo>
                      <a:lnTo>
                        <a:pt x="113" y="1369"/>
                      </a:lnTo>
                      <a:lnTo>
                        <a:pt x="111" y="1378"/>
                      </a:lnTo>
                      <a:lnTo>
                        <a:pt x="118" y="1385"/>
                      </a:lnTo>
                      <a:lnTo>
                        <a:pt x="105" y="1393"/>
                      </a:lnTo>
                      <a:lnTo>
                        <a:pt x="105" y="1383"/>
                      </a:lnTo>
                      <a:lnTo>
                        <a:pt x="101" y="1376"/>
                      </a:lnTo>
                      <a:lnTo>
                        <a:pt x="91" y="1369"/>
                      </a:lnTo>
                      <a:lnTo>
                        <a:pt x="81" y="1369"/>
                      </a:lnTo>
                      <a:lnTo>
                        <a:pt x="68" y="1372"/>
                      </a:lnTo>
                      <a:lnTo>
                        <a:pt x="57" y="1370"/>
                      </a:lnTo>
                      <a:lnTo>
                        <a:pt x="47" y="1371"/>
                      </a:lnTo>
                      <a:lnTo>
                        <a:pt x="37" y="1370"/>
                      </a:lnTo>
                      <a:lnTo>
                        <a:pt x="29" y="1378"/>
                      </a:lnTo>
                      <a:lnTo>
                        <a:pt x="10" y="1373"/>
                      </a:lnTo>
                      <a:lnTo>
                        <a:pt x="5" y="1386"/>
                      </a:lnTo>
                      <a:lnTo>
                        <a:pt x="4" y="1397"/>
                      </a:lnTo>
                      <a:lnTo>
                        <a:pt x="14" y="1397"/>
                      </a:lnTo>
                      <a:lnTo>
                        <a:pt x="18" y="1396"/>
                      </a:lnTo>
                      <a:lnTo>
                        <a:pt x="18" y="1410"/>
                      </a:lnTo>
                      <a:lnTo>
                        <a:pt x="9" y="1407"/>
                      </a:lnTo>
                      <a:lnTo>
                        <a:pt x="3" y="1401"/>
                      </a:lnTo>
                      <a:lnTo>
                        <a:pt x="2" y="1403"/>
                      </a:lnTo>
                      <a:lnTo>
                        <a:pt x="0" y="1403"/>
                      </a:lnTo>
                      <a:lnTo>
                        <a:pt x="0" y="1407"/>
                      </a:lnTo>
                      <a:lnTo>
                        <a:pt x="10" y="1425"/>
                      </a:lnTo>
                      <a:lnTo>
                        <a:pt x="16" y="1426"/>
                      </a:lnTo>
                      <a:lnTo>
                        <a:pt x="30" y="1418"/>
                      </a:lnTo>
                      <a:lnTo>
                        <a:pt x="38" y="1415"/>
                      </a:lnTo>
                      <a:lnTo>
                        <a:pt x="25" y="1429"/>
                      </a:lnTo>
                      <a:lnTo>
                        <a:pt x="20" y="1436"/>
                      </a:lnTo>
                      <a:lnTo>
                        <a:pt x="24" y="1440"/>
                      </a:lnTo>
                      <a:lnTo>
                        <a:pt x="14" y="1446"/>
                      </a:lnTo>
                      <a:lnTo>
                        <a:pt x="9" y="1452"/>
                      </a:lnTo>
                      <a:lnTo>
                        <a:pt x="10" y="1461"/>
                      </a:lnTo>
                      <a:lnTo>
                        <a:pt x="15" y="1466"/>
                      </a:lnTo>
                      <a:lnTo>
                        <a:pt x="18" y="1472"/>
                      </a:lnTo>
                      <a:lnTo>
                        <a:pt x="24" y="1467"/>
                      </a:lnTo>
                      <a:lnTo>
                        <a:pt x="30" y="1461"/>
                      </a:lnTo>
                      <a:lnTo>
                        <a:pt x="30" y="1469"/>
                      </a:lnTo>
                      <a:lnTo>
                        <a:pt x="38" y="1483"/>
                      </a:lnTo>
                      <a:lnTo>
                        <a:pt x="31" y="1484"/>
                      </a:lnTo>
                      <a:lnTo>
                        <a:pt x="22" y="1490"/>
                      </a:lnTo>
                      <a:lnTo>
                        <a:pt x="22" y="1495"/>
                      </a:lnTo>
                      <a:lnTo>
                        <a:pt x="27" y="1499"/>
                      </a:lnTo>
                      <a:lnTo>
                        <a:pt x="37" y="1493"/>
                      </a:lnTo>
                      <a:lnTo>
                        <a:pt x="43" y="1482"/>
                      </a:lnTo>
                      <a:lnTo>
                        <a:pt x="45" y="1469"/>
                      </a:lnTo>
                      <a:lnTo>
                        <a:pt x="53" y="1463"/>
                      </a:lnTo>
                      <a:lnTo>
                        <a:pt x="63" y="1451"/>
                      </a:lnTo>
                      <a:lnTo>
                        <a:pt x="73" y="1431"/>
                      </a:lnTo>
                      <a:lnTo>
                        <a:pt x="83" y="1423"/>
                      </a:lnTo>
                      <a:lnTo>
                        <a:pt x="88" y="1428"/>
                      </a:lnTo>
                      <a:lnTo>
                        <a:pt x="88" y="1431"/>
                      </a:lnTo>
                      <a:lnTo>
                        <a:pt x="100" y="1429"/>
                      </a:lnTo>
                      <a:lnTo>
                        <a:pt x="110" y="1430"/>
                      </a:lnTo>
                      <a:lnTo>
                        <a:pt x="94" y="1437"/>
                      </a:lnTo>
                      <a:lnTo>
                        <a:pt x="91" y="1448"/>
                      </a:lnTo>
                      <a:lnTo>
                        <a:pt x="89" y="1455"/>
                      </a:lnTo>
                      <a:lnTo>
                        <a:pt x="88" y="1443"/>
                      </a:lnTo>
                      <a:lnTo>
                        <a:pt x="83" y="1442"/>
                      </a:lnTo>
                      <a:lnTo>
                        <a:pt x="74" y="1456"/>
                      </a:lnTo>
                      <a:lnTo>
                        <a:pt x="64" y="1467"/>
                      </a:lnTo>
                      <a:lnTo>
                        <a:pt x="70" y="1472"/>
                      </a:lnTo>
                      <a:lnTo>
                        <a:pt x="70" y="1475"/>
                      </a:lnTo>
                      <a:lnTo>
                        <a:pt x="59" y="1482"/>
                      </a:lnTo>
                      <a:lnTo>
                        <a:pt x="40" y="1506"/>
                      </a:lnTo>
                      <a:lnTo>
                        <a:pt x="47" y="1511"/>
                      </a:lnTo>
                      <a:lnTo>
                        <a:pt x="67" y="1511"/>
                      </a:lnTo>
                      <a:lnTo>
                        <a:pt x="72" y="1506"/>
                      </a:lnTo>
                      <a:lnTo>
                        <a:pt x="74" y="1510"/>
                      </a:lnTo>
                      <a:lnTo>
                        <a:pt x="53" y="1518"/>
                      </a:lnTo>
                      <a:lnTo>
                        <a:pt x="48" y="1525"/>
                      </a:lnTo>
                      <a:lnTo>
                        <a:pt x="47" y="1528"/>
                      </a:lnTo>
                      <a:lnTo>
                        <a:pt x="37" y="1528"/>
                      </a:lnTo>
                      <a:lnTo>
                        <a:pt x="32" y="1531"/>
                      </a:lnTo>
                      <a:lnTo>
                        <a:pt x="26" y="1528"/>
                      </a:lnTo>
                      <a:lnTo>
                        <a:pt x="18" y="1539"/>
                      </a:lnTo>
                      <a:lnTo>
                        <a:pt x="13" y="1549"/>
                      </a:lnTo>
                      <a:lnTo>
                        <a:pt x="13" y="1558"/>
                      </a:lnTo>
                      <a:lnTo>
                        <a:pt x="16" y="1560"/>
                      </a:lnTo>
                      <a:lnTo>
                        <a:pt x="18" y="1564"/>
                      </a:lnTo>
                      <a:lnTo>
                        <a:pt x="26" y="1563"/>
                      </a:lnTo>
                      <a:lnTo>
                        <a:pt x="30" y="1554"/>
                      </a:lnTo>
                      <a:lnTo>
                        <a:pt x="32" y="1563"/>
                      </a:lnTo>
                      <a:lnTo>
                        <a:pt x="40" y="1563"/>
                      </a:lnTo>
                      <a:lnTo>
                        <a:pt x="42" y="1556"/>
                      </a:lnTo>
                      <a:lnTo>
                        <a:pt x="41" y="1550"/>
                      </a:lnTo>
                      <a:lnTo>
                        <a:pt x="48" y="1555"/>
                      </a:lnTo>
                      <a:lnTo>
                        <a:pt x="63" y="1547"/>
                      </a:lnTo>
                      <a:lnTo>
                        <a:pt x="68" y="1541"/>
                      </a:lnTo>
                      <a:lnTo>
                        <a:pt x="73" y="1544"/>
                      </a:lnTo>
                      <a:lnTo>
                        <a:pt x="58" y="1561"/>
                      </a:lnTo>
                      <a:lnTo>
                        <a:pt x="64" y="1561"/>
                      </a:lnTo>
                      <a:lnTo>
                        <a:pt x="64" y="1571"/>
                      </a:lnTo>
                      <a:lnTo>
                        <a:pt x="58" y="1580"/>
                      </a:lnTo>
                      <a:lnTo>
                        <a:pt x="56" y="1587"/>
                      </a:lnTo>
                      <a:lnTo>
                        <a:pt x="50" y="1593"/>
                      </a:lnTo>
                      <a:lnTo>
                        <a:pt x="51" y="1599"/>
                      </a:lnTo>
                      <a:lnTo>
                        <a:pt x="51" y="1604"/>
                      </a:lnTo>
                      <a:lnTo>
                        <a:pt x="45" y="1603"/>
                      </a:lnTo>
                      <a:lnTo>
                        <a:pt x="40" y="1606"/>
                      </a:lnTo>
                      <a:lnTo>
                        <a:pt x="36" y="1598"/>
                      </a:lnTo>
                      <a:lnTo>
                        <a:pt x="32" y="1598"/>
                      </a:lnTo>
                      <a:lnTo>
                        <a:pt x="25" y="1630"/>
                      </a:lnTo>
                      <a:lnTo>
                        <a:pt x="38" y="1647"/>
                      </a:lnTo>
                      <a:lnTo>
                        <a:pt x="59" y="1666"/>
                      </a:lnTo>
                      <a:lnTo>
                        <a:pt x="74" y="1674"/>
                      </a:lnTo>
                      <a:lnTo>
                        <a:pt x="85" y="1677"/>
                      </a:lnTo>
                      <a:lnTo>
                        <a:pt x="92" y="1665"/>
                      </a:lnTo>
                      <a:lnTo>
                        <a:pt x="92" y="1682"/>
                      </a:lnTo>
                      <a:lnTo>
                        <a:pt x="90" y="1694"/>
                      </a:lnTo>
                      <a:lnTo>
                        <a:pt x="96" y="1689"/>
                      </a:lnTo>
                      <a:lnTo>
                        <a:pt x="106" y="1695"/>
                      </a:lnTo>
                      <a:lnTo>
                        <a:pt x="110" y="1685"/>
                      </a:lnTo>
                      <a:lnTo>
                        <a:pt x="124" y="1687"/>
                      </a:lnTo>
                      <a:lnTo>
                        <a:pt x="117" y="1695"/>
                      </a:lnTo>
                      <a:lnTo>
                        <a:pt x="134" y="1701"/>
                      </a:lnTo>
                      <a:lnTo>
                        <a:pt x="145" y="1697"/>
                      </a:lnTo>
                      <a:lnTo>
                        <a:pt x="158" y="1687"/>
                      </a:lnTo>
                      <a:lnTo>
                        <a:pt x="163" y="1673"/>
                      </a:lnTo>
                      <a:lnTo>
                        <a:pt x="170" y="1684"/>
                      </a:lnTo>
                      <a:lnTo>
                        <a:pt x="190" y="1671"/>
                      </a:lnTo>
                      <a:lnTo>
                        <a:pt x="210" y="1644"/>
                      </a:lnTo>
                      <a:lnTo>
                        <a:pt x="221" y="1638"/>
                      </a:lnTo>
                      <a:lnTo>
                        <a:pt x="225" y="1627"/>
                      </a:lnTo>
                      <a:lnTo>
                        <a:pt x="231" y="1622"/>
                      </a:lnTo>
                      <a:lnTo>
                        <a:pt x="234" y="1615"/>
                      </a:lnTo>
                      <a:lnTo>
                        <a:pt x="251" y="1597"/>
                      </a:lnTo>
                      <a:lnTo>
                        <a:pt x="249" y="1590"/>
                      </a:lnTo>
                      <a:lnTo>
                        <a:pt x="261" y="1597"/>
                      </a:lnTo>
                      <a:lnTo>
                        <a:pt x="274" y="1597"/>
                      </a:lnTo>
                      <a:lnTo>
                        <a:pt x="282" y="1593"/>
                      </a:lnTo>
                      <a:lnTo>
                        <a:pt x="285" y="1581"/>
                      </a:lnTo>
                      <a:lnTo>
                        <a:pt x="287" y="1574"/>
                      </a:lnTo>
                      <a:lnTo>
                        <a:pt x="294" y="1566"/>
                      </a:lnTo>
                      <a:lnTo>
                        <a:pt x="293" y="1556"/>
                      </a:lnTo>
                      <a:lnTo>
                        <a:pt x="287" y="1549"/>
                      </a:lnTo>
                      <a:lnTo>
                        <a:pt x="283" y="1541"/>
                      </a:lnTo>
                      <a:lnTo>
                        <a:pt x="285" y="1538"/>
                      </a:lnTo>
                      <a:lnTo>
                        <a:pt x="287" y="1533"/>
                      </a:lnTo>
                      <a:lnTo>
                        <a:pt x="284" y="1522"/>
                      </a:lnTo>
                      <a:lnTo>
                        <a:pt x="289" y="1526"/>
                      </a:lnTo>
                      <a:lnTo>
                        <a:pt x="293" y="1533"/>
                      </a:lnTo>
                      <a:lnTo>
                        <a:pt x="293" y="1541"/>
                      </a:lnTo>
                      <a:lnTo>
                        <a:pt x="299" y="1539"/>
                      </a:lnTo>
                      <a:lnTo>
                        <a:pt x="300" y="1533"/>
                      </a:lnTo>
                      <a:lnTo>
                        <a:pt x="295" y="1525"/>
                      </a:lnTo>
                      <a:lnTo>
                        <a:pt x="294" y="1509"/>
                      </a:lnTo>
                      <a:lnTo>
                        <a:pt x="296" y="1505"/>
                      </a:lnTo>
                      <a:lnTo>
                        <a:pt x="299" y="1506"/>
                      </a:lnTo>
                      <a:lnTo>
                        <a:pt x="305" y="1502"/>
                      </a:lnTo>
                      <a:lnTo>
                        <a:pt x="310" y="1505"/>
                      </a:lnTo>
                      <a:lnTo>
                        <a:pt x="310" y="1512"/>
                      </a:lnTo>
                      <a:lnTo>
                        <a:pt x="303" y="1516"/>
                      </a:lnTo>
                      <a:lnTo>
                        <a:pt x="303" y="1522"/>
                      </a:lnTo>
                      <a:lnTo>
                        <a:pt x="305" y="1533"/>
                      </a:lnTo>
                      <a:lnTo>
                        <a:pt x="307" y="1563"/>
                      </a:lnTo>
                      <a:lnTo>
                        <a:pt x="310" y="1574"/>
                      </a:lnTo>
                      <a:lnTo>
                        <a:pt x="317" y="1572"/>
                      </a:lnTo>
                      <a:lnTo>
                        <a:pt x="327" y="1581"/>
                      </a:lnTo>
                      <a:lnTo>
                        <a:pt x="333" y="1580"/>
                      </a:lnTo>
                      <a:lnTo>
                        <a:pt x="337" y="1587"/>
                      </a:lnTo>
                      <a:lnTo>
                        <a:pt x="339" y="1592"/>
                      </a:lnTo>
                      <a:lnTo>
                        <a:pt x="339" y="1614"/>
                      </a:lnTo>
                      <a:lnTo>
                        <a:pt x="343" y="1601"/>
                      </a:lnTo>
                      <a:lnTo>
                        <a:pt x="347" y="1609"/>
                      </a:lnTo>
                      <a:lnTo>
                        <a:pt x="355" y="1603"/>
                      </a:lnTo>
                      <a:lnTo>
                        <a:pt x="363" y="1566"/>
                      </a:lnTo>
                      <a:lnTo>
                        <a:pt x="359" y="1554"/>
                      </a:lnTo>
                      <a:lnTo>
                        <a:pt x="358" y="1537"/>
                      </a:lnTo>
                      <a:lnTo>
                        <a:pt x="370" y="1516"/>
                      </a:lnTo>
                      <a:lnTo>
                        <a:pt x="370" y="1502"/>
                      </a:lnTo>
                      <a:lnTo>
                        <a:pt x="397" y="1491"/>
                      </a:lnTo>
                      <a:lnTo>
                        <a:pt x="403" y="1480"/>
                      </a:lnTo>
                      <a:lnTo>
                        <a:pt x="405" y="1466"/>
                      </a:lnTo>
                      <a:lnTo>
                        <a:pt x="401" y="1457"/>
                      </a:lnTo>
                      <a:lnTo>
                        <a:pt x="408" y="1428"/>
                      </a:lnTo>
                      <a:lnTo>
                        <a:pt x="400" y="1394"/>
                      </a:lnTo>
                      <a:lnTo>
                        <a:pt x="390" y="1382"/>
                      </a:lnTo>
                      <a:lnTo>
                        <a:pt x="392" y="1375"/>
                      </a:lnTo>
                      <a:lnTo>
                        <a:pt x="407" y="1369"/>
                      </a:lnTo>
                      <a:lnTo>
                        <a:pt x="417" y="1358"/>
                      </a:lnTo>
                      <a:lnTo>
                        <a:pt x="423" y="1339"/>
                      </a:lnTo>
                      <a:lnTo>
                        <a:pt x="420" y="1318"/>
                      </a:lnTo>
                      <a:lnTo>
                        <a:pt x="400" y="1303"/>
                      </a:lnTo>
                      <a:lnTo>
                        <a:pt x="391" y="1287"/>
                      </a:lnTo>
                      <a:lnTo>
                        <a:pt x="390" y="1267"/>
                      </a:lnTo>
                      <a:lnTo>
                        <a:pt x="391" y="1225"/>
                      </a:lnTo>
                      <a:lnTo>
                        <a:pt x="386" y="1210"/>
                      </a:lnTo>
                      <a:lnTo>
                        <a:pt x="384" y="1206"/>
                      </a:lnTo>
                      <a:lnTo>
                        <a:pt x="384" y="1194"/>
                      </a:lnTo>
                      <a:lnTo>
                        <a:pt x="386" y="1186"/>
                      </a:lnTo>
                      <a:lnTo>
                        <a:pt x="386" y="1166"/>
                      </a:lnTo>
                      <a:lnTo>
                        <a:pt x="390" y="1156"/>
                      </a:lnTo>
                      <a:lnTo>
                        <a:pt x="391" y="1144"/>
                      </a:lnTo>
                      <a:lnTo>
                        <a:pt x="397" y="1134"/>
                      </a:lnTo>
                      <a:lnTo>
                        <a:pt x="392" y="1129"/>
                      </a:lnTo>
                      <a:lnTo>
                        <a:pt x="386" y="1116"/>
                      </a:lnTo>
                      <a:lnTo>
                        <a:pt x="382" y="1097"/>
                      </a:lnTo>
                      <a:lnTo>
                        <a:pt x="387" y="1077"/>
                      </a:lnTo>
                      <a:lnTo>
                        <a:pt x="393" y="1063"/>
                      </a:lnTo>
                      <a:lnTo>
                        <a:pt x="418" y="1032"/>
                      </a:lnTo>
                      <a:lnTo>
                        <a:pt x="435" y="1021"/>
                      </a:lnTo>
                      <a:lnTo>
                        <a:pt x="456" y="1015"/>
                      </a:lnTo>
                      <a:lnTo>
                        <a:pt x="473" y="1018"/>
                      </a:lnTo>
                      <a:lnTo>
                        <a:pt x="488" y="1020"/>
                      </a:lnTo>
                      <a:lnTo>
                        <a:pt x="498" y="1007"/>
                      </a:lnTo>
                      <a:lnTo>
                        <a:pt x="500" y="995"/>
                      </a:lnTo>
                      <a:lnTo>
                        <a:pt x="500" y="976"/>
                      </a:lnTo>
                      <a:lnTo>
                        <a:pt x="494" y="964"/>
                      </a:lnTo>
                      <a:lnTo>
                        <a:pt x="479" y="948"/>
                      </a:lnTo>
                      <a:lnTo>
                        <a:pt x="478" y="939"/>
                      </a:lnTo>
                      <a:lnTo>
                        <a:pt x="498" y="907"/>
                      </a:lnTo>
                      <a:lnTo>
                        <a:pt x="515" y="870"/>
                      </a:lnTo>
                      <a:lnTo>
                        <a:pt x="524" y="820"/>
                      </a:lnTo>
                      <a:lnTo>
                        <a:pt x="525" y="790"/>
                      </a:lnTo>
                      <a:lnTo>
                        <a:pt x="525" y="769"/>
                      </a:lnTo>
                      <a:lnTo>
                        <a:pt x="524" y="754"/>
                      </a:lnTo>
                      <a:lnTo>
                        <a:pt x="531" y="750"/>
                      </a:lnTo>
                      <a:lnTo>
                        <a:pt x="542" y="750"/>
                      </a:lnTo>
                      <a:lnTo>
                        <a:pt x="559" y="736"/>
                      </a:lnTo>
                      <a:lnTo>
                        <a:pt x="564" y="724"/>
                      </a:lnTo>
                      <a:lnTo>
                        <a:pt x="567" y="704"/>
                      </a:lnTo>
                      <a:lnTo>
                        <a:pt x="573" y="688"/>
                      </a:lnTo>
                      <a:lnTo>
                        <a:pt x="596" y="657"/>
                      </a:lnTo>
                      <a:lnTo>
                        <a:pt x="604" y="644"/>
                      </a:lnTo>
                      <a:lnTo>
                        <a:pt x="616" y="629"/>
                      </a:lnTo>
                      <a:lnTo>
                        <a:pt x="622" y="618"/>
                      </a:lnTo>
                      <a:lnTo>
                        <a:pt x="624" y="609"/>
                      </a:lnTo>
                      <a:lnTo>
                        <a:pt x="623" y="596"/>
                      </a:lnTo>
                      <a:lnTo>
                        <a:pt x="610" y="574"/>
                      </a:lnTo>
                      <a:lnTo>
                        <a:pt x="613" y="560"/>
                      </a:lnTo>
                      <a:lnTo>
                        <a:pt x="627" y="543"/>
                      </a:lnTo>
                      <a:lnTo>
                        <a:pt x="633" y="532"/>
                      </a:lnTo>
                      <a:lnTo>
                        <a:pt x="635" y="520"/>
                      </a:lnTo>
                      <a:lnTo>
                        <a:pt x="639" y="503"/>
                      </a:lnTo>
                      <a:lnTo>
                        <a:pt x="648" y="492"/>
                      </a:lnTo>
                      <a:lnTo>
                        <a:pt x="666" y="472"/>
                      </a:lnTo>
                      <a:lnTo>
                        <a:pt x="678" y="469"/>
                      </a:lnTo>
                      <a:lnTo>
                        <a:pt x="691" y="476"/>
                      </a:lnTo>
                      <a:lnTo>
                        <a:pt x="701" y="488"/>
                      </a:lnTo>
                      <a:lnTo>
                        <a:pt x="704" y="490"/>
                      </a:lnTo>
                      <a:lnTo>
                        <a:pt x="714" y="473"/>
                      </a:lnTo>
                      <a:lnTo>
                        <a:pt x="719" y="452"/>
                      </a:lnTo>
                      <a:lnTo>
                        <a:pt x="721" y="442"/>
                      </a:lnTo>
                      <a:lnTo>
                        <a:pt x="719" y="419"/>
                      </a:lnTo>
                      <a:lnTo>
                        <a:pt x="724" y="409"/>
                      </a:lnTo>
                      <a:lnTo>
                        <a:pt x="729" y="404"/>
                      </a:lnTo>
                      <a:lnTo>
                        <a:pt x="739" y="403"/>
                      </a:lnTo>
                      <a:lnTo>
                        <a:pt x="769" y="407"/>
                      </a:lnTo>
                      <a:lnTo>
                        <a:pt x="812" y="423"/>
                      </a:lnTo>
                      <a:lnTo>
                        <a:pt x="821" y="420"/>
                      </a:lnTo>
                      <a:lnTo>
                        <a:pt x="828" y="412"/>
                      </a:lnTo>
                      <a:lnTo>
                        <a:pt x="819" y="403"/>
                      </a:lnTo>
                      <a:lnTo>
                        <a:pt x="817" y="392"/>
                      </a:lnTo>
                      <a:lnTo>
                        <a:pt x="823" y="382"/>
                      </a:lnTo>
                      <a:lnTo>
                        <a:pt x="827" y="366"/>
                      </a:lnTo>
                      <a:lnTo>
                        <a:pt x="831" y="361"/>
                      </a:lnTo>
                      <a:lnTo>
                        <a:pt x="833" y="352"/>
                      </a:lnTo>
                      <a:lnTo>
                        <a:pt x="832" y="342"/>
                      </a:lnTo>
                      <a:lnTo>
                        <a:pt x="827" y="336"/>
                      </a:lnTo>
                      <a:lnTo>
                        <a:pt x="826" y="326"/>
                      </a:lnTo>
                      <a:lnTo>
                        <a:pt x="831" y="323"/>
                      </a:lnTo>
                      <a:lnTo>
                        <a:pt x="854" y="323"/>
                      </a:lnTo>
                      <a:lnTo>
                        <a:pt x="857" y="316"/>
                      </a:lnTo>
                      <a:lnTo>
                        <a:pt x="865" y="313"/>
                      </a:lnTo>
                      <a:lnTo>
                        <a:pt x="874" y="317"/>
                      </a:lnTo>
                      <a:lnTo>
                        <a:pt x="882" y="313"/>
                      </a:lnTo>
                      <a:lnTo>
                        <a:pt x="880" y="302"/>
                      </a:lnTo>
                      <a:lnTo>
                        <a:pt x="879" y="290"/>
                      </a:lnTo>
                      <a:lnTo>
                        <a:pt x="891" y="283"/>
                      </a:lnTo>
                      <a:lnTo>
                        <a:pt x="906" y="289"/>
                      </a:lnTo>
                      <a:lnTo>
                        <a:pt x="917" y="300"/>
                      </a:lnTo>
                      <a:lnTo>
                        <a:pt x="947" y="344"/>
                      </a:lnTo>
                      <a:lnTo>
                        <a:pt x="952" y="363"/>
                      </a:lnTo>
                      <a:lnTo>
                        <a:pt x="957" y="371"/>
                      </a:lnTo>
                      <a:lnTo>
                        <a:pt x="983" y="375"/>
                      </a:lnTo>
                      <a:lnTo>
                        <a:pt x="998" y="383"/>
                      </a:lnTo>
                      <a:lnTo>
                        <a:pt x="1010" y="382"/>
                      </a:lnTo>
                      <a:lnTo>
                        <a:pt x="1025" y="374"/>
                      </a:lnTo>
                      <a:lnTo>
                        <a:pt x="1042" y="353"/>
                      </a:lnTo>
                      <a:lnTo>
                        <a:pt x="1052" y="360"/>
                      </a:lnTo>
                      <a:lnTo>
                        <a:pt x="1061" y="374"/>
                      </a:lnTo>
                      <a:lnTo>
                        <a:pt x="1064" y="382"/>
                      </a:lnTo>
                      <a:lnTo>
                        <a:pt x="1074" y="385"/>
                      </a:lnTo>
                      <a:lnTo>
                        <a:pt x="1090" y="377"/>
                      </a:lnTo>
                      <a:lnTo>
                        <a:pt x="1102" y="368"/>
                      </a:lnTo>
                      <a:lnTo>
                        <a:pt x="1111" y="354"/>
                      </a:lnTo>
                      <a:lnTo>
                        <a:pt x="1137" y="334"/>
                      </a:lnTo>
                      <a:lnTo>
                        <a:pt x="1139" y="322"/>
                      </a:lnTo>
                      <a:lnTo>
                        <a:pt x="1137" y="299"/>
                      </a:lnTo>
                      <a:lnTo>
                        <a:pt x="1137" y="285"/>
                      </a:lnTo>
                      <a:lnTo>
                        <a:pt x="1140" y="243"/>
                      </a:lnTo>
                      <a:lnTo>
                        <a:pt x="1154" y="212"/>
                      </a:lnTo>
                      <a:lnTo>
                        <a:pt x="1164" y="199"/>
                      </a:lnTo>
                      <a:lnTo>
                        <a:pt x="1177" y="192"/>
                      </a:lnTo>
                      <a:lnTo>
                        <a:pt x="1202" y="189"/>
                      </a:lnTo>
                      <a:lnTo>
                        <a:pt x="1240" y="172"/>
                      </a:lnTo>
                      <a:lnTo>
                        <a:pt x="1263" y="167"/>
                      </a:lnTo>
                      <a:lnTo>
                        <a:pt x="1268" y="172"/>
                      </a:lnTo>
                      <a:lnTo>
                        <a:pt x="1278" y="193"/>
                      </a:lnTo>
                      <a:lnTo>
                        <a:pt x="1289" y="202"/>
                      </a:lnTo>
                      <a:lnTo>
                        <a:pt x="1307" y="208"/>
                      </a:lnTo>
                      <a:lnTo>
                        <a:pt x="1325" y="225"/>
                      </a:lnTo>
                      <a:lnTo>
                        <a:pt x="1332" y="253"/>
                      </a:lnTo>
                      <a:lnTo>
                        <a:pt x="1333" y="269"/>
                      </a:lnTo>
                      <a:lnTo>
                        <a:pt x="1314" y="294"/>
                      </a:lnTo>
                      <a:lnTo>
                        <a:pt x="1310" y="306"/>
                      </a:lnTo>
                      <a:lnTo>
                        <a:pt x="1311" y="317"/>
                      </a:lnTo>
                      <a:lnTo>
                        <a:pt x="1321" y="325"/>
                      </a:lnTo>
                      <a:lnTo>
                        <a:pt x="1323" y="323"/>
                      </a:lnTo>
                      <a:lnTo>
                        <a:pt x="1332" y="315"/>
                      </a:lnTo>
                      <a:lnTo>
                        <a:pt x="1333" y="311"/>
                      </a:lnTo>
                      <a:lnTo>
                        <a:pt x="1334" y="300"/>
                      </a:lnTo>
                      <a:lnTo>
                        <a:pt x="1337" y="295"/>
                      </a:lnTo>
                      <a:lnTo>
                        <a:pt x="1369" y="275"/>
                      </a:lnTo>
                      <a:lnTo>
                        <a:pt x="1375" y="269"/>
                      </a:lnTo>
                      <a:lnTo>
                        <a:pt x="1381" y="239"/>
                      </a:lnTo>
                      <a:lnTo>
                        <a:pt x="1403" y="252"/>
                      </a:lnTo>
                      <a:lnTo>
                        <a:pt x="1416" y="250"/>
                      </a:lnTo>
                      <a:lnTo>
                        <a:pt x="1418" y="243"/>
                      </a:lnTo>
                      <a:lnTo>
                        <a:pt x="1422" y="231"/>
                      </a:lnTo>
                      <a:lnTo>
                        <a:pt x="1422" y="220"/>
                      </a:lnTo>
                      <a:lnTo>
                        <a:pt x="1419" y="216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81" name="Freeform 223"/>
                <p:cNvSpPr>
                  <a:spLocks/>
                </p:cNvSpPr>
                <p:nvPr/>
              </p:nvSpPr>
              <p:spPr bwMode="gray">
                <a:xfrm>
                  <a:off x="4571372" y="1164611"/>
                  <a:ext cx="251140" cy="577557"/>
                </a:xfrm>
                <a:custGeom>
                  <a:avLst/>
                  <a:gdLst>
                    <a:gd name="T0" fmla="*/ 1336 w 715"/>
                    <a:gd name="T1" fmla="*/ 110201 h 1640"/>
                    <a:gd name="T2" fmla="*/ 2227 w 715"/>
                    <a:gd name="T3" fmla="*/ 111023 h 1640"/>
                    <a:gd name="T4" fmla="*/ 4009 w 715"/>
                    <a:gd name="T5" fmla="*/ 114724 h 1640"/>
                    <a:gd name="T6" fmla="*/ 4900 w 715"/>
                    <a:gd name="T7" fmla="*/ 120892 h 1640"/>
                    <a:gd name="T8" fmla="*/ 8018 w 715"/>
                    <a:gd name="T9" fmla="*/ 126649 h 1640"/>
                    <a:gd name="T10" fmla="*/ 8018 w 715"/>
                    <a:gd name="T11" fmla="*/ 131172 h 1640"/>
                    <a:gd name="T12" fmla="*/ 9354 w 715"/>
                    <a:gd name="T13" fmla="*/ 134462 h 1640"/>
                    <a:gd name="T14" fmla="*/ 15145 w 715"/>
                    <a:gd name="T15" fmla="*/ 131583 h 1640"/>
                    <a:gd name="T16" fmla="*/ 20045 w 715"/>
                    <a:gd name="T17" fmla="*/ 128705 h 1640"/>
                    <a:gd name="T18" fmla="*/ 25390 w 715"/>
                    <a:gd name="T19" fmla="*/ 122126 h 1640"/>
                    <a:gd name="T20" fmla="*/ 26726 w 715"/>
                    <a:gd name="T21" fmla="*/ 115547 h 1640"/>
                    <a:gd name="T22" fmla="*/ 26726 w 715"/>
                    <a:gd name="T23" fmla="*/ 113491 h 1640"/>
                    <a:gd name="T24" fmla="*/ 25835 w 715"/>
                    <a:gd name="T25" fmla="*/ 109379 h 1640"/>
                    <a:gd name="T26" fmla="*/ 24499 w 715"/>
                    <a:gd name="T27" fmla="*/ 107734 h 1640"/>
                    <a:gd name="T28" fmla="*/ 31181 w 715"/>
                    <a:gd name="T29" fmla="*/ 105267 h 1640"/>
                    <a:gd name="T30" fmla="*/ 34744 w 715"/>
                    <a:gd name="T31" fmla="*/ 102388 h 1640"/>
                    <a:gd name="T32" fmla="*/ 30290 w 715"/>
                    <a:gd name="T33" fmla="*/ 101977 h 1640"/>
                    <a:gd name="T34" fmla="*/ 25835 w 715"/>
                    <a:gd name="T35" fmla="*/ 100332 h 1640"/>
                    <a:gd name="T36" fmla="*/ 30290 w 715"/>
                    <a:gd name="T37" fmla="*/ 100332 h 1640"/>
                    <a:gd name="T38" fmla="*/ 32962 w 715"/>
                    <a:gd name="T39" fmla="*/ 101155 h 1640"/>
                    <a:gd name="T40" fmla="*/ 35189 w 715"/>
                    <a:gd name="T41" fmla="*/ 93753 h 1640"/>
                    <a:gd name="T42" fmla="*/ 31181 w 715"/>
                    <a:gd name="T43" fmla="*/ 90463 h 1640"/>
                    <a:gd name="T44" fmla="*/ 27617 w 715"/>
                    <a:gd name="T45" fmla="*/ 94575 h 1640"/>
                    <a:gd name="T46" fmla="*/ 28508 w 715"/>
                    <a:gd name="T47" fmla="*/ 92519 h 1640"/>
                    <a:gd name="T48" fmla="*/ 29399 w 715"/>
                    <a:gd name="T49" fmla="*/ 87174 h 1640"/>
                    <a:gd name="T50" fmla="*/ 30735 w 715"/>
                    <a:gd name="T51" fmla="*/ 80595 h 1640"/>
                    <a:gd name="T52" fmla="*/ 30290 w 715"/>
                    <a:gd name="T53" fmla="*/ 72371 h 1640"/>
                    <a:gd name="T54" fmla="*/ 32962 w 715"/>
                    <a:gd name="T55" fmla="*/ 69904 h 1640"/>
                    <a:gd name="T56" fmla="*/ 35189 w 715"/>
                    <a:gd name="T57" fmla="*/ 69081 h 1640"/>
                    <a:gd name="T58" fmla="*/ 36526 w 715"/>
                    <a:gd name="T59" fmla="*/ 66614 h 1640"/>
                    <a:gd name="T60" fmla="*/ 40089 w 715"/>
                    <a:gd name="T61" fmla="*/ 62913 h 1640"/>
                    <a:gd name="T62" fmla="*/ 44989 w 715"/>
                    <a:gd name="T63" fmla="*/ 60446 h 1640"/>
                    <a:gd name="T64" fmla="*/ 49443 w 715"/>
                    <a:gd name="T65" fmla="*/ 54689 h 1640"/>
                    <a:gd name="T66" fmla="*/ 50780 w 715"/>
                    <a:gd name="T67" fmla="*/ 52633 h 1640"/>
                    <a:gd name="T68" fmla="*/ 48998 w 715"/>
                    <a:gd name="T69" fmla="*/ 48933 h 1640"/>
                    <a:gd name="T70" fmla="*/ 50780 w 715"/>
                    <a:gd name="T71" fmla="*/ 43176 h 1640"/>
                    <a:gd name="T72" fmla="*/ 53007 w 715"/>
                    <a:gd name="T73" fmla="*/ 41531 h 1640"/>
                    <a:gd name="T74" fmla="*/ 54789 w 715"/>
                    <a:gd name="T75" fmla="*/ 40709 h 1640"/>
                    <a:gd name="T76" fmla="*/ 56125 w 715"/>
                    <a:gd name="T77" fmla="*/ 37830 h 1640"/>
                    <a:gd name="T78" fmla="*/ 58798 w 715"/>
                    <a:gd name="T79" fmla="*/ 39064 h 1640"/>
                    <a:gd name="T80" fmla="*/ 63252 w 715"/>
                    <a:gd name="T81" fmla="*/ 37008 h 1640"/>
                    <a:gd name="T82" fmla="*/ 61025 w 715"/>
                    <a:gd name="T83" fmla="*/ 24261 h 1640"/>
                    <a:gd name="T84" fmla="*/ 61025 w 715"/>
                    <a:gd name="T85" fmla="*/ 15214 h 1640"/>
                    <a:gd name="T86" fmla="*/ 47216 w 715"/>
                    <a:gd name="T87" fmla="*/ 411 h 1640"/>
                    <a:gd name="T88" fmla="*/ 44544 w 715"/>
                    <a:gd name="T89" fmla="*/ 2467 h 1640"/>
                    <a:gd name="T90" fmla="*/ 43653 w 715"/>
                    <a:gd name="T91" fmla="*/ 7813 h 1640"/>
                    <a:gd name="T92" fmla="*/ 34744 w 715"/>
                    <a:gd name="T93" fmla="*/ 9869 h 1640"/>
                    <a:gd name="T94" fmla="*/ 29844 w 715"/>
                    <a:gd name="T95" fmla="*/ 12336 h 1640"/>
                    <a:gd name="T96" fmla="*/ 24944 w 715"/>
                    <a:gd name="T97" fmla="*/ 20560 h 1640"/>
                    <a:gd name="T98" fmla="*/ 21381 w 715"/>
                    <a:gd name="T99" fmla="*/ 30017 h 1640"/>
                    <a:gd name="T100" fmla="*/ 17372 w 715"/>
                    <a:gd name="T101" fmla="*/ 36597 h 1640"/>
                    <a:gd name="T102" fmla="*/ 14699 w 715"/>
                    <a:gd name="T103" fmla="*/ 52633 h 1640"/>
                    <a:gd name="T104" fmla="*/ 9354 w 715"/>
                    <a:gd name="T105" fmla="*/ 57156 h 1640"/>
                    <a:gd name="T106" fmla="*/ 5791 w 715"/>
                    <a:gd name="T107" fmla="*/ 66614 h 1640"/>
                    <a:gd name="T108" fmla="*/ 4900 w 715"/>
                    <a:gd name="T109" fmla="*/ 72782 h 1640"/>
                    <a:gd name="T110" fmla="*/ 7572 w 715"/>
                    <a:gd name="T111" fmla="*/ 85118 h 1640"/>
                    <a:gd name="T112" fmla="*/ 6682 w 715"/>
                    <a:gd name="T113" fmla="*/ 94164 h 1640"/>
                    <a:gd name="T114" fmla="*/ 2673 w 715"/>
                    <a:gd name="T115" fmla="*/ 101977 h 1640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715"/>
                    <a:gd name="T175" fmla="*/ 0 h 1640"/>
                    <a:gd name="T176" fmla="*/ 715 w 715"/>
                    <a:gd name="T177" fmla="*/ 1640 h 1640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715" h="1640">
                      <a:moveTo>
                        <a:pt x="6" y="1264"/>
                      </a:moveTo>
                      <a:lnTo>
                        <a:pt x="0" y="1276"/>
                      </a:lnTo>
                      <a:lnTo>
                        <a:pt x="0" y="1288"/>
                      </a:lnTo>
                      <a:lnTo>
                        <a:pt x="5" y="1328"/>
                      </a:lnTo>
                      <a:lnTo>
                        <a:pt x="7" y="1333"/>
                      </a:lnTo>
                      <a:lnTo>
                        <a:pt x="12" y="1335"/>
                      </a:lnTo>
                      <a:lnTo>
                        <a:pt x="13" y="1339"/>
                      </a:lnTo>
                      <a:lnTo>
                        <a:pt x="15" y="1346"/>
                      </a:lnTo>
                      <a:lnTo>
                        <a:pt x="13" y="1350"/>
                      </a:lnTo>
                      <a:lnTo>
                        <a:pt x="19" y="1343"/>
                      </a:lnTo>
                      <a:lnTo>
                        <a:pt x="21" y="1335"/>
                      </a:lnTo>
                      <a:lnTo>
                        <a:pt x="26" y="1340"/>
                      </a:lnTo>
                      <a:lnTo>
                        <a:pt x="22" y="1350"/>
                      </a:lnTo>
                      <a:lnTo>
                        <a:pt x="27" y="1349"/>
                      </a:lnTo>
                      <a:lnTo>
                        <a:pt x="29" y="1351"/>
                      </a:lnTo>
                      <a:lnTo>
                        <a:pt x="24" y="1355"/>
                      </a:lnTo>
                      <a:lnTo>
                        <a:pt x="17" y="1366"/>
                      </a:lnTo>
                      <a:lnTo>
                        <a:pt x="33" y="1371"/>
                      </a:lnTo>
                      <a:lnTo>
                        <a:pt x="35" y="1381"/>
                      </a:lnTo>
                      <a:lnTo>
                        <a:pt x="33" y="1398"/>
                      </a:lnTo>
                      <a:lnTo>
                        <a:pt x="43" y="1396"/>
                      </a:lnTo>
                      <a:lnTo>
                        <a:pt x="45" y="1407"/>
                      </a:lnTo>
                      <a:lnTo>
                        <a:pt x="39" y="1415"/>
                      </a:lnTo>
                      <a:lnTo>
                        <a:pt x="42" y="1431"/>
                      </a:lnTo>
                      <a:lnTo>
                        <a:pt x="40" y="1442"/>
                      </a:lnTo>
                      <a:lnTo>
                        <a:pt x="49" y="1442"/>
                      </a:lnTo>
                      <a:lnTo>
                        <a:pt x="54" y="1456"/>
                      </a:lnTo>
                      <a:lnTo>
                        <a:pt x="56" y="1468"/>
                      </a:lnTo>
                      <a:lnTo>
                        <a:pt x="62" y="1487"/>
                      </a:lnTo>
                      <a:lnTo>
                        <a:pt x="74" y="1496"/>
                      </a:lnTo>
                      <a:lnTo>
                        <a:pt x="78" y="1509"/>
                      </a:lnTo>
                      <a:lnTo>
                        <a:pt x="91" y="1516"/>
                      </a:lnTo>
                      <a:lnTo>
                        <a:pt x="98" y="1526"/>
                      </a:lnTo>
                      <a:lnTo>
                        <a:pt x="98" y="1534"/>
                      </a:lnTo>
                      <a:lnTo>
                        <a:pt x="92" y="1538"/>
                      </a:lnTo>
                      <a:lnTo>
                        <a:pt x="85" y="1537"/>
                      </a:lnTo>
                      <a:lnTo>
                        <a:pt x="82" y="1541"/>
                      </a:lnTo>
                      <a:lnTo>
                        <a:pt x="89" y="1557"/>
                      </a:lnTo>
                      <a:lnTo>
                        <a:pt x="82" y="1555"/>
                      </a:lnTo>
                      <a:lnTo>
                        <a:pt x="75" y="1553"/>
                      </a:lnTo>
                      <a:lnTo>
                        <a:pt x="75" y="1559"/>
                      </a:lnTo>
                      <a:lnTo>
                        <a:pt x="91" y="1593"/>
                      </a:lnTo>
                      <a:lnTo>
                        <a:pt x="98" y="1604"/>
                      </a:lnTo>
                      <a:lnTo>
                        <a:pt x="102" y="1614"/>
                      </a:lnTo>
                      <a:lnTo>
                        <a:pt x="99" y="1620"/>
                      </a:lnTo>
                      <a:lnTo>
                        <a:pt x="98" y="1631"/>
                      </a:lnTo>
                      <a:lnTo>
                        <a:pt x="94" y="1633"/>
                      </a:lnTo>
                      <a:lnTo>
                        <a:pt x="93" y="1638"/>
                      </a:lnTo>
                      <a:lnTo>
                        <a:pt x="107" y="1636"/>
                      </a:lnTo>
                      <a:lnTo>
                        <a:pt x="118" y="1640"/>
                      </a:lnTo>
                      <a:lnTo>
                        <a:pt x="136" y="1634"/>
                      </a:lnTo>
                      <a:lnTo>
                        <a:pt x="152" y="1633"/>
                      </a:lnTo>
                      <a:lnTo>
                        <a:pt x="163" y="1638"/>
                      </a:lnTo>
                      <a:lnTo>
                        <a:pt x="168" y="1634"/>
                      </a:lnTo>
                      <a:lnTo>
                        <a:pt x="172" y="1620"/>
                      </a:lnTo>
                      <a:lnTo>
                        <a:pt x="169" y="1598"/>
                      </a:lnTo>
                      <a:lnTo>
                        <a:pt x="174" y="1585"/>
                      </a:lnTo>
                      <a:lnTo>
                        <a:pt x="180" y="1574"/>
                      </a:lnTo>
                      <a:lnTo>
                        <a:pt x="189" y="1576"/>
                      </a:lnTo>
                      <a:lnTo>
                        <a:pt x="194" y="1566"/>
                      </a:lnTo>
                      <a:lnTo>
                        <a:pt x="204" y="1559"/>
                      </a:lnTo>
                      <a:lnTo>
                        <a:pt x="218" y="1560"/>
                      </a:lnTo>
                      <a:lnTo>
                        <a:pt x="227" y="1564"/>
                      </a:lnTo>
                      <a:lnTo>
                        <a:pt x="238" y="1560"/>
                      </a:lnTo>
                      <a:lnTo>
                        <a:pt x="250" y="1564"/>
                      </a:lnTo>
                      <a:lnTo>
                        <a:pt x="261" y="1564"/>
                      </a:lnTo>
                      <a:lnTo>
                        <a:pt x="266" y="1544"/>
                      </a:lnTo>
                      <a:lnTo>
                        <a:pt x="276" y="1522"/>
                      </a:lnTo>
                      <a:lnTo>
                        <a:pt x="285" y="1505"/>
                      </a:lnTo>
                      <a:lnTo>
                        <a:pt x="286" y="1484"/>
                      </a:lnTo>
                      <a:lnTo>
                        <a:pt x="291" y="1472"/>
                      </a:lnTo>
                      <a:lnTo>
                        <a:pt x="290" y="1457"/>
                      </a:lnTo>
                      <a:lnTo>
                        <a:pt x="293" y="1446"/>
                      </a:lnTo>
                      <a:lnTo>
                        <a:pt x="298" y="1435"/>
                      </a:lnTo>
                      <a:lnTo>
                        <a:pt x="298" y="1424"/>
                      </a:lnTo>
                      <a:lnTo>
                        <a:pt x="295" y="1418"/>
                      </a:lnTo>
                      <a:lnTo>
                        <a:pt x="300" y="1407"/>
                      </a:lnTo>
                      <a:lnTo>
                        <a:pt x="298" y="1398"/>
                      </a:lnTo>
                      <a:lnTo>
                        <a:pt x="293" y="1392"/>
                      </a:lnTo>
                      <a:lnTo>
                        <a:pt x="292" y="1386"/>
                      </a:lnTo>
                      <a:lnTo>
                        <a:pt x="293" y="1382"/>
                      </a:lnTo>
                      <a:lnTo>
                        <a:pt x="300" y="1385"/>
                      </a:lnTo>
                      <a:lnTo>
                        <a:pt x="304" y="1385"/>
                      </a:lnTo>
                      <a:lnTo>
                        <a:pt x="301" y="1378"/>
                      </a:lnTo>
                      <a:lnTo>
                        <a:pt x="302" y="1374"/>
                      </a:lnTo>
                      <a:lnTo>
                        <a:pt x="304" y="1367"/>
                      </a:lnTo>
                      <a:lnTo>
                        <a:pt x="304" y="1362"/>
                      </a:lnTo>
                      <a:lnTo>
                        <a:pt x="307" y="1345"/>
                      </a:lnTo>
                      <a:lnTo>
                        <a:pt x="306" y="1340"/>
                      </a:lnTo>
                      <a:lnTo>
                        <a:pt x="297" y="1334"/>
                      </a:lnTo>
                      <a:lnTo>
                        <a:pt x="288" y="1329"/>
                      </a:lnTo>
                      <a:lnTo>
                        <a:pt x="291" y="1328"/>
                      </a:lnTo>
                      <a:lnTo>
                        <a:pt x="300" y="1332"/>
                      </a:lnTo>
                      <a:lnTo>
                        <a:pt x="309" y="1329"/>
                      </a:lnTo>
                      <a:lnTo>
                        <a:pt x="312" y="1326"/>
                      </a:lnTo>
                      <a:lnTo>
                        <a:pt x="302" y="1317"/>
                      </a:lnTo>
                      <a:lnTo>
                        <a:pt x="274" y="1312"/>
                      </a:lnTo>
                      <a:lnTo>
                        <a:pt x="276" y="1310"/>
                      </a:lnTo>
                      <a:lnTo>
                        <a:pt x="298" y="1307"/>
                      </a:lnTo>
                      <a:lnTo>
                        <a:pt x="311" y="1311"/>
                      </a:lnTo>
                      <a:lnTo>
                        <a:pt x="318" y="1307"/>
                      </a:lnTo>
                      <a:lnTo>
                        <a:pt x="320" y="1299"/>
                      </a:lnTo>
                      <a:lnTo>
                        <a:pt x="334" y="1297"/>
                      </a:lnTo>
                      <a:lnTo>
                        <a:pt x="345" y="1286"/>
                      </a:lnTo>
                      <a:lnTo>
                        <a:pt x="350" y="1279"/>
                      </a:lnTo>
                      <a:lnTo>
                        <a:pt x="350" y="1268"/>
                      </a:lnTo>
                      <a:lnTo>
                        <a:pt x="359" y="1270"/>
                      </a:lnTo>
                      <a:lnTo>
                        <a:pt x="359" y="1281"/>
                      </a:lnTo>
                      <a:lnTo>
                        <a:pt x="371" y="1280"/>
                      </a:lnTo>
                      <a:lnTo>
                        <a:pt x="378" y="1268"/>
                      </a:lnTo>
                      <a:lnTo>
                        <a:pt x="392" y="1256"/>
                      </a:lnTo>
                      <a:lnTo>
                        <a:pt x="389" y="1243"/>
                      </a:lnTo>
                      <a:lnTo>
                        <a:pt x="394" y="1248"/>
                      </a:lnTo>
                      <a:lnTo>
                        <a:pt x="400" y="1248"/>
                      </a:lnTo>
                      <a:lnTo>
                        <a:pt x="400" y="1242"/>
                      </a:lnTo>
                      <a:lnTo>
                        <a:pt x="406" y="1237"/>
                      </a:lnTo>
                      <a:lnTo>
                        <a:pt x="405" y="1232"/>
                      </a:lnTo>
                      <a:lnTo>
                        <a:pt x="352" y="1243"/>
                      </a:lnTo>
                      <a:lnTo>
                        <a:pt x="341" y="1241"/>
                      </a:lnTo>
                      <a:lnTo>
                        <a:pt x="336" y="1245"/>
                      </a:lnTo>
                      <a:lnTo>
                        <a:pt x="334" y="1238"/>
                      </a:lnTo>
                      <a:lnTo>
                        <a:pt x="328" y="1232"/>
                      </a:lnTo>
                      <a:lnTo>
                        <a:pt x="303" y="1222"/>
                      </a:lnTo>
                      <a:lnTo>
                        <a:pt x="290" y="1225"/>
                      </a:lnTo>
                      <a:lnTo>
                        <a:pt x="284" y="1221"/>
                      </a:lnTo>
                      <a:lnTo>
                        <a:pt x="290" y="1219"/>
                      </a:lnTo>
                      <a:lnTo>
                        <a:pt x="293" y="1211"/>
                      </a:lnTo>
                      <a:lnTo>
                        <a:pt x="300" y="1214"/>
                      </a:lnTo>
                      <a:lnTo>
                        <a:pt x="308" y="1211"/>
                      </a:lnTo>
                      <a:lnTo>
                        <a:pt x="320" y="1213"/>
                      </a:lnTo>
                      <a:lnTo>
                        <a:pt x="322" y="1211"/>
                      </a:lnTo>
                      <a:lnTo>
                        <a:pt x="331" y="1221"/>
                      </a:lnTo>
                      <a:lnTo>
                        <a:pt x="338" y="1218"/>
                      </a:lnTo>
                      <a:lnTo>
                        <a:pt x="339" y="1214"/>
                      </a:lnTo>
                      <a:lnTo>
                        <a:pt x="345" y="1220"/>
                      </a:lnTo>
                      <a:lnTo>
                        <a:pt x="352" y="1222"/>
                      </a:lnTo>
                      <a:lnTo>
                        <a:pt x="356" y="1216"/>
                      </a:lnTo>
                      <a:lnTo>
                        <a:pt x="359" y="1220"/>
                      </a:lnTo>
                      <a:lnTo>
                        <a:pt x="363" y="1230"/>
                      </a:lnTo>
                      <a:lnTo>
                        <a:pt x="371" y="1232"/>
                      </a:lnTo>
                      <a:lnTo>
                        <a:pt x="403" y="1216"/>
                      </a:lnTo>
                      <a:lnTo>
                        <a:pt x="414" y="1198"/>
                      </a:lnTo>
                      <a:lnTo>
                        <a:pt x="419" y="1193"/>
                      </a:lnTo>
                      <a:lnTo>
                        <a:pt x="422" y="1176"/>
                      </a:lnTo>
                      <a:lnTo>
                        <a:pt x="416" y="1161"/>
                      </a:lnTo>
                      <a:lnTo>
                        <a:pt x="404" y="1152"/>
                      </a:lnTo>
                      <a:lnTo>
                        <a:pt x="394" y="1138"/>
                      </a:lnTo>
                      <a:lnTo>
                        <a:pt x="403" y="1136"/>
                      </a:lnTo>
                      <a:lnTo>
                        <a:pt x="402" y="1133"/>
                      </a:lnTo>
                      <a:lnTo>
                        <a:pt x="381" y="1123"/>
                      </a:lnTo>
                      <a:lnTo>
                        <a:pt x="379" y="1113"/>
                      </a:lnTo>
                      <a:lnTo>
                        <a:pt x="374" y="1103"/>
                      </a:lnTo>
                      <a:lnTo>
                        <a:pt x="357" y="1106"/>
                      </a:lnTo>
                      <a:lnTo>
                        <a:pt x="352" y="1100"/>
                      </a:lnTo>
                      <a:lnTo>
                        <a:pt x="351" y="1096"/>
                      </a:lnTo>
                      <a:lnTo>
                        <a:pt x="347" y="1095"/>
                      </a:lnTo>
                      <a:lnTo>
                        <a:pt x="347" y="1098"/>
                      </a:lnTo>
                      <a:lnTo>
                        <a:pt x="341" y="1118"/>
                      </a:lnTo>
                      <a:lnTo>
                        <a:pt x="333" y="1129"/>
                      </a:lnTo>
                      <a:lnTo>
                        <a:pt x="314" y="1143"/>
                      </a:lnTo>
                      <a:lnTo>
                        <a:pt x="308" y="1148"/>
                      </a:lnTo>
                      <a:lnTo>
                        <a:pt x="298" y="1148"/>
                      </a:lnTo>
                      <a:lnTo>
                        <a:pt x="287" y="1151"/>
                      </a:lnTo>
                      <a:lnTo>
                        <a:pt x="280" y="1149"/>
                      </a:lnTo>
                      <a:lnTo>
                        <a:pt x="288" y="1143"/>
                      </a:lnTo>
                      <a:lnTo>
                        <a:pt x="300" y="1140"/>
                      </a:lnTo>
                      <a:lnTo>
                        <a:pt x="309" y="1132"/>
                      </a:lnTo>
                      <a:lnTo>
                        <a:pt x="319" y="1127"/>
                      </a:lnTo>
                      <a:lnTo>
                        <a:pt x="336" y="1112"/>
                      </a:lnTo>
                      <a:lnTo>
                        <a:pt x="339" y="1102"/>
                      </a:lnTo>
                      <a:lnTo>
                        <a:pt x="339" y="1089"/>
                      </a:lnTo>
                      <a:lnTo>
                        <a:pt x="330" y="1087"/>
                      </a:lnTo>
                      <a:lnTo>
                        <a:pt x="334" y="1080"/>
                      </a:lnTo>
                      <a:lnTo>
                        <a:pt x="335" y="1069"/>
                      </a:lnTo>
                      <a:lnTo>
                        <a:pt x="331" y="1060"/>
                      </a:lnTo>
                      <a:lnTo>
                        <a:pt x="328" y="1032"/>
                      </a:lnTo>
                      <a:lnTo>
                        <a:pt x="329" y="1015"/>
                      </a:lnTo>
                      <a:lnTo>
                        <a:pt x="325" y="992"/>
                      </a:lnTo>
                      <a:lnTo>
                        <a:pt x="327" y="985"/>
                      </a:lnTo>
                      <a:lnTo>
                        <a:pt x="330" y="977"/>
                      </a:lnTo>
                      <a:lnTo>
                        <a:pt x="329" y="971"/>
                      </a:lnTo>
                      <a:lnTo>
                        <a:pt x="344" y="979"/>
                      </a:lnTo>
                      <a:lnTo>
                        <a:pt x="345" y="971"/>
                      </a:lnTo>
                      <a:lnTo>
                        <a:pt x="340" y="950"/>
                      </a:lnTo>
                      <a:lnTo>
                        <a:pt x="345" y="928"/>
                      </a:lnTo>
                      <a:lnTo>
                        <a:pt x="350" y="910"/>
                      </a:lnTo>
                      <a:lnTo>
                        <a:pt x="343" y="901"/>
                      </a:lnTo>
                      <a:lnTo>
                        <a:pt x="340" y="892"/>
                      </a:lnTo>
                      <a:lnTo>
                        <a:pt x="340" y="879"/>
                      </a:lnTo>
                      <a:lnTo>
                        <a:pt x="356" y="887"/>
                      </a:lnTo>
                      <a:lnTo>
                        <a:pt x="357" y="885"/>
                      </a:lnTo>
                      <a:lnTo>
                        <a:pt x="361" y="881"/>
                      </a:lnTo>
                      <a:lnTo>
                        <a:pt x="367" y="872"/>
                      </a:lnTo>
                      <a:lnTo>
                        <a:pt x="368" y="870"/>
                      </a:lnTo>
                      <a:lnTo>
                        <a:pt x="367" y="866"/>
                      </a:lnTo>
                      <a:lnTo>
                        <a:pt x="370" y="850"/>
                      </a:lnTo>
                      <a:lnTo>
                        <a:pt x="365" y="839"/>
                      </a:lnTo>
                      <a:lnTo>
                        <a:pt x="366" y="831"/>
                      </a:lnTo>
                      <a:lnTo>
                        <a:pt x="368" y="840"/>
                      </a:lnTo>
                      <a:lnTo>
                        <a:pt x="377" y="848"/>
                      </a:lnTo>
                      <a:lnTo>
                        <a:pt x="381" y="847"/>
                      </a:lnTo>
                      <a:lnTo>
                        <a:pt x="386" y="837"/>
                      </a:lnTo>
                      <a:lnTo>
                        <a:pt x="393" y="840"/>
                      </a:lnTo>
                      <a:lnTo>
                        <a:pt x="394" y="833"/>
                      </a:lnTo>
                      <a:lnTo>
                        <a:pt x="398" y="827"/>
                      </a:lnTo>
                      <a:lnTo>
                        <a:pt x="387" y="822"/>
                      </a:lnTo>
                      <a:lnTo>
                        <a:pt x="394" y="823"/>
                      </a:lnTo>
                      <a:lnTo>
                        <a:pt x="403" y="817"/>
                      </a:lnTo>
                      <a:lnTo>
                        <a:pt x="403" y="812"/>
                      </a:lnTo>
                      <a:lnTo>
                        <a:pt x="410" y="809"/>
                      </a:lnTo>
                      <a:lnTo>
                        <a:pt x="411" y="799"/>
                      </a:lnTo>
                      <a:lnTo>
                        <a:pt x="417" y="796"/>
                      </a:lnTo>
                      <a:lnTo>
                        <a:pt x="417" y="784"/>
                      </a:lnTo>
                      <a:lnTo>
                        <a:pt x="425" y="783"/>
                      </a:lnTo>
                      <a:lnTo>
                        <a:pt x="435" y="785"/>
                      </a:lnTo>
                      <a:lnTo>
                        <a:pt x="446" y="775"/>
                      </a:lnTo>
                      <a:lnTo>
                        <a:pt x="449" y="764"/>
                      </a:lnTo>
                      <a:lnTo>
                        <a:pt x="464" y="753"/>
                      </a:lnTo>
                      <a:lnTo>
                        <a:pt x="470" y="761"/>
                      </a:lnTo>
                      <a:lnTo>
                        <a:pt x="481" y="753"/>
                      </a:lnTo>
                      <a:lnTo>
                        <a:pt x="484" y="743"/>
                      </a:lnTo>
                      <a:lnTo>
                        <a:pt x="492" y="737"/>
                      </a:lnTo>
                      <a:lnTo>
                        <a:pt x="500" y="740"/>
                      </a:lnTo>
                      <a:lnTo>
                        <a:pt x="503" y="735"/>
                      </a:lnTo>
                      <a:lnTo>
                        <a:pt x="516" y="727"/>
                      </a:lnTo>
                      <a:lnTo>
                        <a:pt x="521" y="719"/>
                      </a:lnTo>
                      <a:lnTo>
                        <a:pt x="528" y="715"/>
                      </a:lnTo>
                      <a:lnTo>
                        <a:pt x="535" y="699"/>
                      </a:lnTo>
                      <a:lnTo>
                        <a:pt x="538" y="691"/>
                      </a:lnTo>
                      <a:lnTo>
                        <a:pt x="549" y="677"/>
                      </a:lnTo>
                      <a:lnTo>
                        <a:pt x="555" y="664"/>
                      </a:lnTo>
                      <a:lnTo>
                        <a:pt x="562" y="651"/>
                      </a:lnTo>
                      <a:lnTo>
                        <a:pt x="566" y="646"/>
                      </a:lnTo>
                      <a:lnTo>
                        <a:pt x="567" y="651"/>
                      </a:lnTo>
                      <a:lnTo>
                        <a:pt x="566" y="662"/>
                      </a:lnTo>
                      <a:lnTo>
                        <a:pt x="576" y="649"/>
                      </a:lnTo>
                      <a:lnTo>
                        <a:pt x="577" y="644"/>
                      </a:lnTo>
                      <a:lnTo>
                        <a:pt x="572" y="639"/>
                      </a:lnTo>
                      <a:lnTo>
                        <a:pt x="571" y="633"/>
                      </a:lnTo>
                      <a:lnTo>
                        <a:pt x="556" y="618"/>
                      </a:lnTo>
                      <a:lnTo>
                        <a:pt x="555" y="612"/>
                      </a:lnTo>
                      <a:lnTo>
                        <a:pt x="558" y="610"/>
                      </a:lnTo>
                      <a:lnTo>
                        <a:pt x="556" y="602"/>
                      </a:lnTo>
                      <a:lnTo>
                        <a:pt x="551" y="596"/>
                      </a:lnTo>
                      <a:lnTo>
                        <a:pt x="551" y="594"/>
                      </a:lnTo>
                      <a:lnTo>
                        <a:pt x="556" y="589"/>
                      </a:lnTo>
                      <a:lnTo>
                        <a:pt x="558" y="582"/>
                      </a:lnTo>
                      <a:lnTo>
                        <a:pt x="566" y="579"/>
                      </a:lnTo>
                      <a:lnTo>
                        <a:pt x="576" y="554"/>
                      </a:lnTo>
                      <a:lnTo>
                        <a:pt x="577" y="547"/>
                      </a:lnTo>
                      <a:lnTo>
                        <a:pt x="567" y="530"/>
                      </a:lnTo>
                      <a:lnTo>
                        <a:pt x="569" y="527"/>
                      </a:lnTo>
                      <a:lnTo>
                        <a:pt x="580" y="520"/>
                      </a:lnTo>
                      <a:lnTo>
                        <a:pt x="580" y="512"/>
                      </a:lnTo>
                      <a:lnTo>
                        <a:pt x="585" y="511"/>
                      </a:lnTo>
                      <a:lnTo>
                        <a:pt x="592" y="515"/>
                      </a:lnTo>
                      <a:lnTo>
                        <a:pt x="596" y="514"/>
                      </a:lnTo>
                      <a:lnTo>
                        <a:pt x="597" y="506"/>
                      </a:lnTo>
                      <a:lnTo>
                        <a:pt x="593" y="503"/>
                      </a:lnTo>
                      <a:lnTo>
                        <a:pt x="603" y="501"/>
                      </a:lnTo>
                      <a:lnTo>
                        <a:pt x="604" y="495"/>
                      </a:lnTo>
                      <a:lnTo>
                        <a:pt x="593" y="481"/>
                      </a:lnTo>
                      <a:lnTo>
                        <a:pt x="593" y="476"/>
                      </a:lnTo>
                      <a:lnTo>
                        <a:pt x="605" y="484"/>
                      </a:lnTo>
                      <a:lnTo>
                        <a:pt x="610" y="493"/>
                      </a:lnTo>
                      <a:lnTo>
                        <a:pt x="614" y="493"/>
                      </a:lnTo>
                      <a:lnTo>
                        <a:pt x="613" y="476"/>
                      </a:lnTo>
                      <a:lnTo>
                        <a:pt x="614" y="478"/>
                      </a:lnTo>
                      <a:lnTo>
                        <a:pt x="618" y="476"/>
                      </a:lnTo>
                      <a:lnTo>
                        <a:pt x="619" y="455"/>
                      </a:lnTo>
                      <a:lnTo>
                        <a:pt x="623" y="454"/>
                      </a:lnTo>
                      <a:lnTo>
                        <a:pt x="628" y="454"/>
                      </a:lnTo>
                      <a:lnTo>
                        <a:pt x="628" y="460"/>
                      </a:lnTo>
                      <a:lnTo>
                        <a:pt x="631" y="465"/>
                      </a:lnTo>
                      <a:lnTo>
                        <a:pt x="635" y="467"/>
                      </a:lnTo>
                      <a:lnTo>
                        <a:pt x="640" y="454"/>
                      </a:lnTo>
                      <a:lnTo>
                        <a:pt x="645" y="457"/>
                      </a:lnTo>
                      <a:lnTo>
                        <a:pt x="651" y="468"/>
                      </a:lnTo>
                      <a:lnTo>
                        <a:pt x="655" y="468"/>
                      </a:lnTo>
                      <a:lnTo>
                        <a:pt x="661" y="473"/>
                      </a:lnTo>
                      <a:lnTo>
                        <a:pt x="666" y="461"/>
                      </a:lnTo>
                      <a:lnTo>
                        <a:pt x="691" y="458"/>
                      </a:lnTo>
                      <a:lnTo>
                        <a:pt x="700" y="465"/>
                      </a:lnTo>
                      <a:lnTo>
                        <a:pt x="706" y="472"/>
                      </a:lnTo>
                      <a:lnTo>
                        <a:pt x="710" y="465"/>
                      </a:lnTo>
                      <a:lnTo>
                        <a:pt x="715" y="461"/>
                      </a:lnTo>
                      <a:lnTo>
                        <a:pt x="712" y="449"/>
                      </a:lnTo>
                      <a:lnTo>
                        <a:pt x="698" y="415"/>
                      </a:lnTo>
                      <a:lnTo>
                        <a:pt x="694" y="395"/>
                      </a:lnTo>
                      <a:lnTo>
                        <a:pt x="698" y="377"/>
                      </a:lnTo>
                      <a:lnTo>
                        <a:pt x="706" y="364"/>
                      </a:lnTo>
                      <a:lnTo>
                        <a:pt x="707" y="354"/>
                      </a:lnTo>
                      <a:lnTo>
                        <a:pt x="707" y="342"/>
                      </a:lnTo>
                      <a:lnTo>
                        <a:pt x="687" y="296"/>
                      </a:lnTo>
                      <a:lnTo>
                        <a:pt x="684" y="279"/>
                      </a:lnTo>
                      <a:lnTo>
                        <a:pt x="690" y="258"/>
                      </a:lnTo>
                      <a:lnTo>
                        <a:pt x="688" y="243"/>
                      </a:lnTo>
                      <a:lnTo>
                        <a:pt x="683" y="237"/>
                      </a:lnTo>
                      <a:lnTo>
                        <a:pt x="682" y="223"/>
                      </a:lnTo>
                      <a:lnTo>
                        <a:pt x="682" y="202"/>
                      </a:lnTo>
                      <a:lnTo>
                        <a:pt x="683" y="186"/>
                      </a:lnTo>
                      <a:lnTo>
                        <a:pt x="688" y="173"/>
                      </a:lnTo>
                      <a:lnTo>
                        <a:pt x="685" y="166"/>
                      </a:lnTo>
                      <a:lnTo>
                        <a:pt x="653" y="110"/>
                      </a:lnTo>
                      <a:lnTo>
                        <a:pt x="635" y="92"/>
                      </a:lnTo>
                      <a:lnTo>
                        <a:pt x="599" y="81"/>
                      </a:lnTo>
                      <a:lnTo>
                        <a:pt x="569" y="51"/>
                      </a:lnTo>
                      <a:lnTo>
                        <a:pt x="528" y="5"/>
                      </a:lnTo>
                      <a:lnTo>
                        <a:pt x="526" y="0"/>
                      </a:lnTo>
                      <a:lnTo>
                        <a:pt x="523" y="0"/>
                      </a:lnTo>
                      <a:lnTo>
                        <a:pt x="500" y="0"/>
                      </a:lnTo>
                      <a:lnTo>
                        <a:pt x="495" y="3"/>
                      </a:lnTo>
                      <a:lnTo>
                        <a:pt x="496" y="13"/>
                      </a:lnTo>
                      <a:lnTo>
                        <a:pt x="501" y="17"/>
                      </a:lnTo>
                      <a:lnTo>
                        <a:pt x="502" y="29"/>
                      </a:lnTo>
                      <a:lnTo>
                        <a:pt x="500" y="38"/>
                      </a:lnTo>
                      <a:lnTo>
                        <a:pt x="496" y="43"/>
                      </a:lnTo>
                      <a:lnTo>
                        <a:pt x="492" y="58"/>
                      </a:lnTo>
                      <a:lnTo>
                        <a:pt x="486" y="69"/>
                      </a:lnTo>
                      <a:lnTo>
                        <a:pt x="488" y="79"/>
                      </a:lnTo>
                      <a:lnTo>
                        <a:pt x="497" y="89"/>
                      </a:lnTo>
                      <a:lnTo>
                        <a:pt x="490" y="97"/>
                      </a:lnTo>
                      <a:lnTo>
                        <a:pt x="481" y="100"/>
                      </a:lnTo>
                      <a:lnTo>
                        <a:pt x="438" y="84"/>
                      </a:lnTo>
                      <a:lnTo>
                        <a:pt x="408" y="80"/>
                      </a:lnTo>
                      <a:lnTo>
                        <a:pt x="398" y="81"/>
                      </a:lnTo>
                      <a:lnTo>
                        <a:pt x="393" y="86"/>
                      </a:lnTo>
                      <a:lnTo>
                        <a:pt x="388" y="96"/>
                      </a:lnTo>
                      <a:lnTo>
                        <a:pt x="390" y="119"/>
                      </a:lnTo>
                      <a:lnTo>
                        <a:pt x="388" y="129"/>
                      </a:lnTo>
                      <a:lnTo>
                        <a:pt x="383" y="150"/>
                      </a:lnTo>
                      <a:lnTo>
                        <a:pt x="373" y="166"/>
                      </a:lnTo>
                      <a:lnTo>
                        <a:pt x="370" y="165"/>
                      </a:lnTo>
                      <a:lnTo>
                        <a:pt x="360" y="153"/>
                      </a:lnTo>
                      <a:lnTo>
                        <a:pt x="347" y="145"/>
                      </a:lnTo>
                      <a:lnTo>
                        <a:pt x="335" y="149"/>
                      </a:lnTo>
                      <a:lnTo>
                        <a:pt x="317" y="167"/>
                      </a:lnTo>
                      <a:lnTo>
                        <a:pt x="308" y="180"/>
                      </a:lnTo>
                      <a:lnTo>
                        <a:pt x="304" y="196"/>
                      </a:lnTo>
                      <a:lnTo>
                        <a:pt x="302" y="209"/>
                      </a:lnTo>
                      <a:lnTo>
                        <a:pt x="296" y="219"/>
                      </a:lnTo>
                      <a:lnTo>
                        <a:pt x="282" y="237"/>
                      </a:lnTo>
                      <a:lnTo>
                        <a:pt x="279" y="251"/>
                      </a:lnTo>
                      <a:lnTo>
                        <a:pt x="292" y="273"/>
                      </a:lnTo>
                      <a:lnTo>
                        <a:pt x="293" y="285"/>
                      </a:lnTo>
                      <a:lnTo>
                        <a:pt x="291" y="294"/>
                      </a:lnTo>
                      <a:lnTo>
                        <a:pt x="285" y="306"/>
                      </a:lnTo>
                      <a:lnTo>
                        <a:pt x="273" y="320"/>
                      </a:lnTo>
                      <a:lnTo>
                        <a:pt x="265" y="334"/>
                      </a:lnTo>
                      <a:lnTo>
                        <a:pt x="242" y="364"/>
                      </a:lnTo>
                      <a:lnTo>
                        <a:pt x="236" y="381"/>
                      </a:lnTo>
                      <a:lnTo>
                        <a:pt x="233" y="401"/>
                      </a:lnTo>
                      <a:lnTo>
                        <a:pt x="228" y="413"/>
                      </a:lnTo>
                      <a:lnTo>
                        <a:pt x="211" y="427"/>
                      </a:lnTo>
                      <a:lnTo>
                        <a:pt x="200" y="427"/>
                      </a:lnTo>
                      <a:lnTo>
                        <a:pt x="193" y="431"/>
                      </a:lnTo>
                      <a:lnTo>
                        <a:pt x="194" y="446"/>
                      </a:lnTo>
                      <a:lnTo>
                        <a:pt x="194" y="467"/>
                      </a:lnTo>
                      <a:lnTo>
                        <a:pt x="193" y="497"/>
                      </a:lnTo>
                      <a:lnTo>
                        <a:pt x="184" y="547"/>
                      </a:lnTo>
                      <a:lnTo>
                        <a:pt x="167" y="584"/>
                      </a:lnTo>
                      <a:lnTo>
                        <a:pt x="147" y="616"/>
                      </a:lnTo>
                      <a:lnTo>
                        <a:pt x="148" y="625"/>
                      </a:lnTo>
                      <a:lnTo>
                        <a:pt x="163" y="641"/>
                      </a:lnTo>
                      <a:lnTo>
                        <a:pt x="169" y="653"/>
                      </a:lnTo>
                      <a:lnTo>
                        <a:pt x="169" y="672"/>
                      </a:lnTo>
                      <a:lnTo>
                        <a:pt x="167" y="683"/>
                      </a:lnTo>
                      <a:lnTo>
                        <a:pt x="157" y="695"/>
                      </a:lnTo>
                      <a:lnTo>
                        <a:pt x="142" y="695"/>
                      </a:lnTo>
                      <a:lnTo>
                        <a:pt x="125" y="692"/>
                      </a:lnTo>
                      <a:lnTo>
                        <a:pt x="104" y="697"/>
                      </a:lnTo>
                      <a:lnTo>
                        <a:pt x="87" y="708"/>
                      </a:lnTo>
                      <a:lnTo>
                        <a:pt x="62" y="738"/>
                      </a:lnTo>
                      <a:lnTo>
                        <a:pt x="56" y="754"/>
                      </a:lnTo>
                      <a:lnTo>
                        <a:pt x="51" y="774"/>
                      </a:lnTo>
                      <a:lnTo>
                        <a:pt x="55" y="793"/>
                      </a:lnTo>
                      <a:lnTo>
                        <a:pt x="61" y="806"/>
                      </a:lnTo>
                      <a:lnTo>
                        <a:pt x="66" y="811"/>
                      </a:lnTo>
                      <a:lnTo>
                        <a:pt x="60" y="821"/>
                      </a:lnTo>
                      <a:lnTo>
                        <a:pt x="59" y="833"/>
                      </a:lnTo>
                      <a:lnTo>
                        <a:pt x="55" y="843"/>
                      </a:lnTo>
                      <a:lnTo>
                        <a:pt x="55" y="863"/>
                      </a:lnTo>
                      <a:lnTo>
                        <a:pt x="53" y="871"/>
                      </a:lnTo>
                      <a:lnTo>
                        <a:pt x="53" y="883"/>
                      </a:lnTo>
                      <a:lnTo>
                        <a:pt x="55" y="886"/>
                      </a:lnTo>
                      <a:lnTo>
                        <a:pt x="60" y="902"/>
                      </a:lnTo>
                      <a:lnTo>
                        <a:pt x="59" y="944"/>
                      </a:lnTo>
                      <a:lnTo>
                        <a:pt x="60" y="964"/>
                      </a:lnTo>
                      <a:lnTo>
                        <a:pt x="69" y="979"/>
                      </a:lnTo>
                      <a:lnTo>
                        <a:pt x="89" y="995"/>
                      </a:lnTo>
                      <a:lnTo>
                        <a:pt x="92" y="1016"/>
                      </a:lnTo>
                      <a:lnTo>
                        <a:pt x="86" y="1035"/>
                      </a:lnTo>
                      <a:lnTo>
                        <a:pt x="76" y="1046"/>
                      </a:lnTo>
                      <a:lnTo>
                        <a:pt x="61" y="1052"/>
                      </a:lnTo>
                      <a:lnTo>
                        <a:pt x="59" y="1058"/>
                      </a:lnTo>
                      <a:lnTo>
                        <a:pt x="69" y="1071"/>
                      </a:lnTo>
                      <a:lnTo>
                        <a:pt x="77" y="1105"/>
                      </a:lnTo>
                      <a:lnTo>
                        <a:pt x="70" y="1134"/>
                      </a:lnTo>
                      <a:lnTo>
                        <a:pt x="74" y="1143"/>
                      </a:lnTo>
                      <a:lnTo>
                        <a:pt x="72" y="1157"/>
                      </a:lnTo>
                      <a:lnTo>
                        <a:pt x="66" y="1168"/>
                      </a:lnTo>
                      <a:lnTo>
                        <a:pt x="39" y="1179"/>
                      </a:lnTo>
                      <a:lnTo>
                        <a:pt x="39" y="1193"/>
                      </a:lnTo>
                      <a:lnTo>
                        <a:pt x="27" y="1214"/>
                      </a:lnTo>
                      <a:lnTo>
                        <a:pt x="28" y="1230"/>
                      </a:lnTo>
                      <a:lnTo>
                        <a:pt x="32" y="1242"/>
                      </a:lnTo>
                      <a:lnTo>
                        <a:pt x="24" y="1280"/>
                      </a:lnTo>
                      <a:lnTo>
                        <a:pt x="16" y="1286"/>
                      </a:lnTo>
                      <a:lnTo>
                        <a:pt x="12" y="1278"/>
                      </a:lnTo>
                      <a:lnTo>
                        <a:pt x="8" y="1291"/>
                      </a:lnTo>
                      <a:lnTo>
                        <a:pt x="8" y="1268"/>
                      </a:lnTo>
                      <a:lnTo>
                        <a:pt x="6" y="1264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82" name="Freeform 350"/>
                <p:cNvSpPr>
                  <a:spLocks/>
                </p:cNvSpPr>
                <p:nvPr/>
              </p:nvSpPr>
              <p:spPr bwMode="gray">
                <a:xfrm>
                  <a:off x="4413153" y="1871269"/>
                  <a:ext cx="64041" cy="55718"/>
                </a:xfrm>
                <a:custGeom>
                  <a:avLst/>
                  <a:gdLst>
                    <a:gd name="T0" fmla="*/ 13588 w 188"/>
                    <a:gd name="T1" fmla="*/ 13077 h 161"/>
                    <a:gd name="T2" fmla="*/ 13150 w 188"/>
                    <a:gd name="T3" fmla="*/ 13077 h 161"/>
                    <a:gd name="T4" fmla="*/ 12273 w 188"/>
                    <a:gd name="T5" fmla="*/ 13077 h 161"/>
                    <a:gd name="T6" fmla="*/ 11397 w 188"/>
                    <a:gd name="T7" fmla="*/ 12259 h 161"/>
                    <a:gd name="T8" fmla="*/ 10520 w 188"/>
                    <a:gd name="T9" fmla="*/ 11851 h 161"/>
                    <a:gd name="T10" fmla="*/ 10520 w 188"/>
                    <a:gd name="T11" fmla="*/ 11442 h 161"/>
                    <a:gd name="T12" fmla="*/ 10082 w 188"/>
                    <a:gd name="T13" fmla="*/ 11033 h 161"/>
                    <a:gd name="T14" fmla="*/ 10082 w 188"/>
                    <a:gd name="T15" fmla="*/ 9399 h 161"/>
                    <a:gd name="T16" fmla="*/ 9643 w 188"/>
                    <a:gd name="T17" fmla="*/ 9399 h 161"/>
                    <a:gd name="T18" fmla="*/ 9205 w 188"/>
                    <a:gd name="T19" fmla="*/ 9808 h 161"/>
                    <a:gd name="T20" fmla="*/ 8767 w 188"/>
                    <a:gd name="T21" fmla="*/ 10625 h 161"/>
                    <a:gd name="T22" fmla="*/ 7890 w 188"/>
                    <a:gd name="T23" fmla="*/ 10625 h 161"/>
                    <a:gd name="T24" fmla="*/ 7013 w 188"/>
                    <a:gd name="T25" fmla="*/ 10216 h 161"/>
                    <a:gd name="T26" fmla="*/ 7013 w 188"/>
                    <a:gd name="T27" fmla="*/ 8990 h 161"/>
                    <a:gd name="T28" fmla="*/ 6575 w 188"/>
                    <a:gd name="T29" fmla="*/ 8173 h 161"/>
                    <a:gd name="T30" fmla="*/ 6137 w 188"/>
                    <a:gd name="T31" fmla="*/ 7764 h 161"/>
                    <a:gd name="T32" fmla="*/ 4822 w 188"/>
                    <a:gd name="T33" fmla="*/ 7356 h 161"/>
                    <a:gd name="T34" fmla="*/ 3945 w 188"/>
                    <a:gd name="T35" fmla="*/ 6947 h 161"/>
                    <a:gd name="T36" fmla="*/ 3068 w 188"/>
                    <a:gd name="T37" fmla="*/ 6538 h 161"/>
                    <a:gd name="T38" fmla="*/ 2192 w 188"/>
                    <a:gd name="T39" fmla="*/ 4904 h 161"/>
                    <a:gd name="T40" fmla="*/ 1315 w 188"/>
                    <a:gd name="T41" fmla="*/ 5312 h 161"/>
                    <a:gd name="T42" fmla="*/ 0 w 188"/>
                    <a:gd name="T43" fmla="*/ 4904 h 161"/>
                    <a:gd name="T44" fmla="*/ 0 w 188"/>
                    <a:gd name="T45" fmla="*/ 4086 h 161"/>
                    <a:gd name="T46" fmla="*/ 0 w 188"/>
                    <a:gd name="T47" fmla="*/ 2452 h 161"/>
                    <a:gd name="T48" fmla="*/ 0 w 188"/>
                    <a:gd name="T49" fmla="*/ 2452 h 161"/>
                    <a:gd name="T50" fmla="*/ 2192 w 188"/>
                    <a:gd name="T51" fmla="*/ 1226 h 161"/>
                    <a:gd name="T52" fmla="*/ 2630 w 188"/>
                    <a:gd name="T53" fmla="*/ 817 h 161"/>
                    <a:gd name="T54" fmla="*/ 3507 w 188"/>
                    <a:gd name="T55" fmla="*/ 817 h 161"/>
                    <a:gd name="T56" fmla="*/ 3507 w 188"/>
                    <a:gd name="T57" fmla="*/ 817 h 161"/>
                    <a:gd name="T58" fmla="*/ 4822 w 188"/>
                    <a:gd name="T59" fmla="*/ 1635 h 161"/>
                    <a:gd name="T60" fmla="*/ 6575 w 188"/>
                    <a:gd name="T61" fmla="*/ 1226 h 161"/>
                    <a:gd name="T62" fmla="*/ 7890 w 188"/>
                    <a:gd name="T63" fmla="*/ 409 h 161"/>
                    <a:gd name="T64" fmla="*/ 8767 w 188"/>
                    <a:gd name="T65" fmla="*/ 0 h 161"/>
                    <a:gd name="T66" fmla="*/ 10082 w 188"/>
                    <a:gd name="T67" fmla="*/ 0 h 161"/>
                    <a:gd name="T68" fmla="*/ 10520 w 188"/>
                    <a:gd name="T69" fmla="*/ 409 h 161"/>
                    <a:gd name="T70" fmla="*/ 10958 w 188"/>
                    <a:gd name="T71" fmla="*/ 409 h 161"/>
                    <a:gd name="T72" fmla="*/ 10958 w 188"/>
                    <a:gd name="T73" fmla="*/ 1226 h 161"/>
                    <a:gd name="T74" fmla="*/ 11835 w 188"/>
                    <a:gd name="T75" fmla="*/ 1226 h 161"/>
                    <a:gd name="T76" fmla="*/ 12712 w 188"/>
                    <a:gd name="T77" fmla="*/ 1635 h 161"/>
                    <a:gd name="T78" fmla="*/ 13588 w 188"/>
                    <a:gd name="T79" fmla="*/ 2043 h 161"/>
                    <a:gd name="T80" fmla="*/ 13588 w 188"/>
                    <a:gd name="T81" fmla="*/ 2861 h 161"/>
                    <a:gd name="T82" fmla="*/ 13150 w 188"/>
                    <a:gd name="T83" fmla="*/ 3678 h 161"/>
                    <a:gd name="T84" fmla="*/ 13588 w 188"/>
                    <a:gd name="T85" fmla="*/ 4495 h 161"/>
                    <a:gd name="T86" fmla="*/ 14027 w 188"/>
                    <a:gd name="T87" fmla="*/ 4904 h 161"/>
                    <a:gd name="T88" fmla="*/ 15342 w 188"/>
                    <a:gd name="T89" fmla="*/ 4904 h 161"/>
                    <a:gd name="T90" fmla="*/ 15780 w 188"/>
                    <a:gd name="T91" fmla="*/ 5721 h 161"/>
                    <a:gd name="T92" fmla="*/ 15780 w 188"/>
                    <a:gd name="T93" fmla="*/ 6538 h 161"/>
                    <a:gd name="T94" fmla="*/ 16218 w 188"/>
                    <a:gd name="T95" fmla="*/ 6947 h 161"/>
                    <a:gd name="T96" fmla="*/ 16218 w 188"/>
                    <a:gd name="T97" fmla="*/ 7764 h 161"/>
                    <a:gd name="T98" fmla="*/ 15342 w 188"/>
                    <a:gd name="T99" fmla="*/ 8990 h 161"/>
                    <a:gd name="T100" fmla="*/ 14903 w 188"/>
                    <a:gd name="T101" fmla="*/ 8990 h 161"/>
                    <a:gd name="T102" fmla="*/ 14027 w 188"/>
                    <a:gd name="T103" fmla="*/ 9808 h 161"/>
                    <a:gd name="T104" fmla="*/ 13588 w 188"/>
                    <a:gd name="T105" fmla="*/ 10625 h 161"/>
                    <a:gd name="T106" fmla="*/ 13588 w 188"/>
                    <a:gd name="T107" fmla="*/ 11851 h 161"/>
                    <a:gd name="T108" fmla="*/ 13588 w 188"/>
                    <a:gd name="T109" fmla="*/ 13077 h 161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188"/>
                    <a:gd name="T166" fmla="*/ 0 h 161"/>
                    <a:gd name="T167" fmla="*/ 188 w 188"/>
                    <a:gd name="T168" fmla="*/ 161 h 161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188" h="161">
                      <a:moveTo>
                        <a:pt x="158" y="160"/>
                      </a:moveTo>
                      <a:lnTo>
                        <a:pt x="150" y="161"/>
                      </a:lnTo>
                      <a:lnTo>
                        <a:pt x="140" y="159"/>
                      </a:lnTo>
                      <a:lnTo>
                        <a:pt x="131" y="152"/>
                      </a:lnTo>
                      <a:lnTo>
                        <a:pt x="120" y="146"/>
                      </a:lnTo>
                      <a:lnTo>
                        <a:pt x="123" y="140"/>
                      </a:lnTo>
                      <a:lnTo>
                        <a:pt x="118" y="138"/>
                      </a:lnTo>
                      <a:lnTo>
                        <a:pt x="118" y="114"/>
                      </a:lnTo>
                      <a:lnTo>
                        <a:pt x="112" y="114"/>
                      </a:lnTo>
                      <a:lnTo>
                        <a:pt x="106" y="122"/>
                      </a:lnTo>
                      <a:lnTo>
                        <a:pt x="101" y="129"/>
                      </a:lnTo>
                      <a:lnTo>
                        <a:pt x="91" y="129"/>
                      </a:lnTo>
                      <a:lnTo>
                        <a:pt x="81" y="125"/>
                      </a:lnTo>
                      <a:lnTo>
                        <a:pt x="79" y="110"/>
                      </a:lnTo>
                      <a:lnTo>
                        <a:pt x="76" y="101"/>
                      </a:lnTo>
                      <a:lnTo>
                        <a:pt x="70" y="96"/>
                      </a:lnTo>
                      <a:lnTo>
                        <a:pt x="58" y="92"/>
                      </a:lnTo>
                      <a:lnTo>
                        <a:pt x="44" y="84"/>
                      </a:lnTo>
                      <a:lnTo>
                        <a:pt x="34" y="80"/>
                      </a:lnTo>
                      <a:lnTo>
                        <a:pt x="25" y="62"/>
                      </a:lnTo>
                      <a:lnTo>
                        <a:pt x="13" y="63"/>
                      </a:lnTo>
                      <a:lnTo>
                        <a:pt x="2" y="58"/>
                      </a:lnTo>
                      <a:lnTo>
                        <a:pt x="0" y="48"/>
                      </a:lnTo>
                      <a:lnTo>
                        <a:pt x="0" y="32"/>
                      </a:lnTo>
                      <a:lnTo>
                        <a:pt x="0" y="28"/>
                      </a:lnTo>
                      <a:lnTo>
                        <a:pt x="23" y="15"/>
                      </a:lnTo>
                      <a:lnTo>
                        <a:pt x="33" y="11"/>
                      </a:lnTo>
                      <a:lnTo>
                        <a:pt x="39" y="10"/>
                      </a:lnTo>
                      <a:lnTo>
                        <a:pt x="39" y="11"/>
                      </a:lnTo>
                      <a:lnTo>
                        <a:pt x="56" y="20"/>
                      </a:lnTo>
                      <a:lnTo>
                        <a:pt x="76" y="14"/>
                      </a:lnTo>
                      <a:lnTo>
                        <a:pt x="91" y="4"/>
                      </a:lnTo>
                      <a:lnTo>
                        <a:pt x="103" y="1"/>
                      </a:lnTo>
                      <a:lnTo>
                        <a:pt x="118" y="0"/>
                      </a:lnTo>
                      <a:lnTo>
                        <a:pt x="124" y="6"/>
                      </a:lnTo>
                      <a:lnTo>
                        <a:pt x="127" y="6"/>
                      </a:lnTo>
                      <a:lnTo>
                        <a:pt x="129" y="14"/>
                      </a:lnTo>
                      <a:lnTo>
                        <a:pt x="138" y="17"/>
                      </a:lnTo>
                      <a:lnTo>
                        <a:pt x="146" y="19"/>
                      </a:lnTo>
                      <a:lnTo>
                        <a:pt x="155" y="24"/>
                      </a:lnTo>
                      <a:lnTo>
                        <a:pt x="155" y="35"/>
                      </a:lnTo>
                      <a:lnTo>
                        <a:pt x="154" y="44"/>
                      </a:lnTo>
                      <a:lnTo>
                        <a:pt x="156" y="55"/>
                      </a:lnTo>
                      <a:lnTo>
                        <a:pt x="163" y="62"/>
                      </a:lnTo>
                      <a:lnTo>
                        <a:pt x="176" y="62"/>
                      </a:lnTo>
                      <a:lnTo>
                        <a:pt x="181" y="68"/>
                      </a:lnTo>
                      <a:lnTo>
                        <a:pt x="182" y="79"/>
                      </a:lnTo>
                      <a:lnTo>
                        <a:pt x="188" y="87"/>
                      </a:lnTo>
                      <a:lnTo>
                        <a:pt x="188" y="96"/>
                      </a:lnTo>
                      <a:lnTo>
                        <a:pt x="177" y="112"/>
                      </a:lnTo>
                      <a:lnTo>
                        <a:pt x="171" y="112"/>
                      </a:lnTo>
                      <a:lnTo>
                        <a:pt x="161" y="119"/>
                      </a:lnTo>
                      <a:lnTo>
                        <a:pt x="155" y="132"/>
                      </a:lnTo>
                      <a:lnTo>
                        <a:pt x="158" y="145"/>
                      </a:lnTo>
                      <a:lnTo>
                        <a:pt x="158" y="160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83" name="Freeform 351"/>
                <p:cNvSpPr>
                  <a:spLocks/>
                </p:cNvSpPr>
                <p:nvPr/>
              </p:nvSpPr>
              <p:spPr bwMode="gray">
                <a:xfrm>
                  <a:off x="4424455" y="1807399"/>
                  <a:ext cx="70320" cy="84256"/>
                </a:xfrm>
                <a:custGeom>
                  <a:avLst/>
                  <a:gdLst>
                    <a:gd name="T0" fmla="*/ 11363 w 196"/>
                    <a:gd name="T1" fmla="*/ 19820 h 239"/>
                    <a:gd name="T2" fmla="*/ 10909 w 196"/>
                    <a:gd name="T3" fmla="*/ 18168 h 239"/>
                    <a:gd name="T4" fmla="*/ 10909 w 196"/>
                    <a:gd name="T5" fmla="*/ 16517 h 239"/>
                    <a:gd name="T6" fmla="*/ 9091 w 196"/>
                    <a:gd name="T7" fmla="*/ 16104 h 239"/>
                    <a:gd name="T8" fmla="*/ 8181 w 196"/>
                    <a:gd name="T9" fmla="*/ 15278 h 239"/>
                    <a:gd name="T10" fmla="*/ 7272 w 196"/>
                    <a:gd name="T11" fmla="*/ 14865 h 239"/>
                    <a:gd name="T12" fmla="*/ 5000 w 196"/>
                    <a:gd name="T13" fmla="*/ 14865 h 239"/>
                    <a:gd name="T14" fmla="*/ 1364 w 196"/>
                    <a:gd name="T15" fmla="*/ 16517 h 239"/>
                    <a:gd name="T16" fmla="*/ 0 w 196"/>
                    <a:gd name="T17" fmla="*/ 15691 h 239"/>
                    <a:gd name="T18" fmla="*/ 909 w 196"/>
                    <a:gd name="T19" fmla="*/ 15278 h 239"/>
                    <a:gd name="T20" fmla="*/ 2727 w 196"/>
                    <a:gd name="T21" fmla="*/ 15278 h 239"/>
                    <a:gd name="T22" fmla="*/ 4091 w 196"/>
                    <a:gd name="T23" fmla="*/ 15278 h 239"/>
                    <a:gd name="T24" fmla="*/ 2273 w 196"/>
                    <a:gd name="T25" fmla="*/ 15278 h 239"/>
                    <a:gd name="T26" fmla="*/ 2273 w 196"/>
                    <a:gd name="T27" fmla="*/ 14452 h 239"/>
                    <a:gd name="T28" fmla="*/ 5000 w 196"/>
                    <a:gd name="T29" fmla="*/ 13626 h 239"/>
                    <a:gd name="T30" fmla="*/ 7272 w 196"/>
                    <a:gd name="T31" fmla="*/ 12800 h 239"/>
                    <a:gd name="T32" fmla="*/ 5909 w 196"/>
                    <a:gd name="T33" fmla="*/ 12800 h 239"/>
                    <a:gd name="T34" fmla="*/ 4091 w 196"/>
                    <a:gd name="T35" fmla="*/ 12800 h 239"/>
                    <a:gd name="T36" fmla="*/ 3636 w 196"/>
                    <a:gd name="T37" fmla="*/ 11562 h 239"/>
                    <a:gd name="T38" fmla="*/ 5909 w 196"/>
                    <a:gd name="T39" fmla="*/ 8671 h 239"/>
                    <a:gd name="T40" fmla="*/ 6818 w 196"/>
                    <a:gd name="T41" fmla="*/ 4129 h 239"/>
                    <a:gd name="T42" fmla="*/ 8181 w 196"/>
                    <a:gd name="T43" fmla="*/ 4542 h 239"/>
                    <a:gd name="T44" fmla="*/ 8636 w 196"/>
                    <a:gd name="T45" fmla="*/ 5368 h 239"/>
                    <a:gd name="T46" fmla="*/ 7727 w 196"/>
                    <a:gd name="T47" fmla="*/ 5781 h 239"/>
                    <a:gd name="T48" fmla="*/ 7727 w 196"/>
                    <a:gd name="T49" fmla="*/ 6607 h 239"/>
                    <a:gd name="T50" fmla="*/ 7727 w 196"/>
                    <a:gd name="T51" fmla="*/ 7845 h 239"/>
                    <a:gd name="T52" fmla="*/ 9091 w 196"/>
                    <a:gd name="T53" fmla="*/ 8671 h 239"/>
                    <a:gd name="T54" fmla="*/ 10000 w 196"/>
                    <a:gd name="T55" fmla="*/ 8258 h 239"/>
                    <a:gd name="T56" fmla="*/ 9545 w 196"/>
                    <a:gd name="T57" fmla="*/ 7432 h 239"/>
                    <a:gd name="T58" fmla="*/ 9545 w 196"/>
                    <a:gd name="T59" fmla="*/ 6607 h 239"/>
                    <a:gd name="T60" fmla="*/ 10454 w 196"/>
                    <a:gd name="T61" fmla="*/ 5368 h 239"/>
                    <a:gd name="T62" fmla="*/ 10454 w 196"/>
                    <a:gd name="T63" fmla="*/ 4129 h 239"/>
                    <a:gd name="T64" fmla="*/ 9545 w 196"/>
                    <a:gd name="T65" fmla="*/ 4129 h 239"/>
                    <a:gd name="T66" fmla="*/ 9545 w 196"/>
                    <a:gd name="T67" fmla="*/ 2065 h 239"/>
                    <a:gd name="T68" fmla="*/ 10909 w 196"/>
                    <a:gd name="T69" fmla="*/ 826 h 239"/>
                    <a:gd name="T70" fmla="*/ 12727 w 196"/>
                    <a:gd name="T71" fmla="*/ 413 h 239"/>
                    <a:gd name="T72" fmla="*/ 14999 w 196"/>
                    <a:gd name="T73" fmla="*/ 0 h 239"/>
                    <a:gd name="T74" fmla="*/ 16817 w 196"/>
                    <a:gd name="T75" fmla="*/ 413 h 239"/>
                    <a:gd name="T76" fmla="*/ 18181 w 196"/>
                    <a:gd name="T77" fmla="*/ 1239 h 239"/>
                    <a:gd name="T78" fmla="*/ 15908 w 196"/>
                    <a:gd name="T79" fmla="*/ 6194 h 239"/>
                    <a:gd name="T80" fmla="*/ 17726 w 196"/>
                    <a:gd name="T81" fmla="*/ 7432 h 239"/>
                    <a:gd name="T82" fmla="*/ 16817 w 196"/>
                    <a:gd name="T83" fmla="*/ 9084 h 239"/>
                    <a:gd name="T84" fmla="*/ 15908 w 196"/>
                    <a:gd name="T85" fmla="*/ 10736 h 239"/>
                    <a:gd name="T86" fmla="*/ 14545 w 196"/>
                    <a:gd name="T87" fmla="*/ 11975 h 239"/>
                    <a:gd name="T88" fmla="*/ 12727 w 196"/>
                    <a:gd name="T89" fmla="*/ 11562 h 239"/>
                    <a:gd name="T90" fmla="*/ 12727 w 196"/>
                    <a:gd name="T91" fmla="*/ 13213 h 239"/>
                    <a:gd name="T92" fmla="*/ 12727 w 196"/>
                    <a:gd name="T93" fmla="*/ 15278 h 239"/>
                    <a:gd name="T94" fmla="*/ 12272 w 196"/>
                    <a:gd name="T95" fmla="*/ 17342 h 239"/>
                    <a:gd name="T96" fmla="*/ 12727 w 196"/>
                    <a:gd name="T97" fmla="*/ 19407 h 239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196"/>
                    <a:gd name="T148" fmla="*/ 0 h 239"/>
                    <a:gd name="T149" fmla="*/ 196 w 196"/>
                    <a:gd name="T150" fmla="*/ 239 h 239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196" h="239">
                      <a:moveTo>
                        <a:pt x="137" y="239"/>
                      </a:moveTo>
                      <a:lnTo>
                        <a:pt x="124" y="239"/>
                      </a:lnTo>
                      <a:lnTo>
                        <a:pt x="117" y="232"/>
                      </a:lnTo>
                      <a:lnTo>
                        <a:pt x="116" y="221"/>
                      </a:lnTo>
                      <a:lnTo>
                        <a:pt x="117" y="212"/>
                      </a:lnTo>
                      <a:lnTo>
                        <a:pt x="116" y="201"/>
                      </a:lnTo>
                      <a:lnTo>
                        <a:pt x="107" y="196"/>
                      </a:lnTo>
                      <a:lnTo>
                        <a:pt x="99" y="194"/>
                      </a:lnTo>
                      <a:lnTo>
                        <a:pt x="90" y="189"/>
                      </a:lnTo>
                      <a:lnTo>
                        <a:pt x="88" y="183"/>
                      </a:lnTo>
                      <a:lnTo>
                        <a:pt x="85" y="183"/>
                      </a:lnTo>
                      <a:lnTo>
                        <a:pt x="79" y="177"/>
                      </a:lnTo>
                      <a:lnTo>
                        <a:pt x="64" y="178"/>
                      </a:lnTo>
                      <a:lnTo>
                        <a:pt x="52" y="181"/>
                      </a:lnTo>
                      <a:lnTo>
                        <a:pt x="37" y="191"/>
                      </a:lnTo>
                      <a:lnTo>
                        <a:pt x="17" y="197"/>
                      </a:lnTo>
                      <a:lnTo>
                        <a:pt x="0" y="188"/>
                      </a:lnTo>
                      <a:lnTo>
                        <a:pt x="0" y="187"/>
                      </a:lnTo>
                      <a:lnTo>
                        <a:pt x="3" y="185"/>
                      </a:lnTo>
                      <a:lnTo>
                        <a:pt x="10" y="185"/>
                      </a:lnTo>
                      <a:lnTo>
                        <a:pt x="21" y="191"/>
                      </a:lnTo>
                      <a:lnTo>
                        <a:pt x="30" y="186"/>
                      </a:lnTo>
                      <a:lnTo>
                        <a:pt x="38" y="186"/>
                      </a:lnTo>
                      <a:lnTo>
                        <a:pt x="42" y="182"/>
                      </a:lnTo>
                      <a:lnTo>
                        <a:pt x="35" y="181"/>
                      </a:lnTo>
                      <a:lnTo>
                        <a:pt x="25" y="182"/>
                      </a:lnTo>
                      <a:lnTo>
                        <a:pt x="20" y="181"/>
                      </a:lnTo>
                      <a:lnTo>
                        <a:pt x="24" y="172"/>
                      </a:lnTo>
                      <a:lnTo>
                        <a:pt x="43" y="169"/>
                      </a:lnTo>
                      <a:lnTo>
                        <a:pt x="54" y="162"/>
                      </a:lnTo>
                      <a:lnTo>
                        <a:pt x="72" y="159"/>
                      </a:lnTo>
                      <a:lnTo>
                        <a:pt x="78" y="155"/>
                      </a:lnTo>
                      <a:lnTo>
                        <a:pt x="73" y="151"/>
                      </a:lnTo>
                      <a:lnTo>
                        <a:pt x="62" y="156"/>
                      </a:lnTo>
                      <a:lnTo>
                        <a:pt x="52" y="155"/>
                      </a:lnTo>
                      <a:lnTo>
                        <a:pt x="45" y="153"/>
                      </a:lnTo>
                      <a:lnTo>
                        <a:pt x="38" y="146"/>
                      </a:lnTo>
                      <a:lnTo>
                        <a:pt x="38" y="138"/>
                      </a:lnTo>
                      <a:lnTo>
                        <a:pt x="40" y="133"/>
                      </a:lnTo>
                      <a:lnTo>
                        <a:pt x="62" y="106"/>
                      </a:lnTo>
                      <a:lnTo>
                        <a:pt x="68" y="69"/>
                      </a:lnTo>
                      <a:lnTo>
                        <a:pt x="74" y="52"/>
                      </a:lnTo>
                      <a:lnTo>
                        <a:pt x="84" y="48"/>
                      </a:lnTo>
                      <a:lnTo>
                        <a:pt x="88" y="57"/>
                      </a:lnTo>
                      <a:lnTo>
                        <a:pt x="94" y="62"/>
                      </a:lnTo>
                      <a:lnTo>
                        <a:pt x="94" y="65"/>
                      </a:lnTo>
                      <a:lnTo>
                        <a:pt x="94" y="67"/>
                      </a:lnTo>
                      <a:lnTo>
                        <a:pt x="85" y="69"/>
                      </a:lnTo>
                      <a:lnTo>
                        <a:pt x="84" y="73"/>
                      </a:lnTo>
                      <a:lnTo>
                        <a:pt x="83" y="79"/>
                      </a:lnTo>
                      <a:lnTo>
                        <a:pt x="84" y="90"/>
                      </a:lnTo>
                      <a:lnTo>
                        <a:pt x="84" y="94"/>
                      </a:lnTo>
                      <a:lnTo>
                        <a:pt x="89" y="100"/>
                      </a:lnTo>
                      <a:lnTo>
                        <a:pt x="100" y="103"/>
                      </a:lnTo>
                      <a:lnTo>
                        <a:pt x="105" y="103"/>
                      </a:lnTo>
                      <a:lnTo>
                        <a:pt x="106" y="101"/>
                      </a:lnTo>
                      <a:lnTo>
                        <a:pt x="105" y="94"/>
                      </a:lnTo>
                      <a:lnTo>
                        <a:pt x="101" y="88"/>
                      </a:lnTo>
                      <a:lnTo>
                        <a:pt x="100" y="83"/>
                      </a:lnTo>
                      <a:lnTo>
                        <a:pt x="103" y="81"/>
                      </a:lnTo>
                      <a:lnTo>
                        <a:pt x="110" y="76"/>
                      </a:lnTo>
                      <a:lnTo>
                        <a:pt x="111" y="65"/>
                      </a:lnTo>
                      <a:lnTo>
                        <a:pt x="116" y="53"/>
                      </a:lnTo>
                      <a:lnTo>
                        <a:pt x="112" y="51"/>
                      </a:lnTo>
                      <a:lnTo>
                        <a:pt x="106" y="51"/>
                      </a:lnTo>
                      <a:lnTo>
                        <a:pt x="105" y="48"/>
                      </a:lnTo>
                      <a:lnTo>
                        <a:pt x="102" y="31"/>
                      </a:lnTo>
                      <a:lnTo>
                        <a:pt x="103" y="26"/>
                      </a:lnTo>
                      <a:lnTo>
                        <a:pt x="108" y="19"/>
                      </a:lnTo>
                      <a:lnTo>
                        <a:pt x="117" y="11"/>
                      </a:lnTo>
                      <a:lnTo>
                        <a:pt x="128" y="6"/>
                      </a:lnTo>
                      <a:lnTo>
                        <a:pt x="138" y="4"/>
                      </a:lnTo>
                      <a:lnTo>
                        <a:pt x="151" y="6"/>
                      </a:lnTo>
                      <a:lnTo>
                        <a:pt x="161" y="2"/>
                      </a:lnTo>
                      <a:lnTo>
                        <a:pt x="173" y="0"/>
                      </a:lnTo>
                      <a:lnTo>
                        <a:pt x="182" y="3"/>
                      </a:lnTo>
                      <a:lnTo>
                        <a:pt x="191" y="10"/>
                      </a:lnTo>
                      <a:lnTo>
                        <a:pt x="196" y="16"/>
                      </a:lnTo>
                      <a:lnTo>
                        <a:pt x="186" y="62"/>
                      </a:lnTo>
                      <a:lnTo>
                        <a:pt x="170" y="73"/>
                      </a:lnTo>
                      <a:lnTo>
                        <a:pt x="172" y="81"/>
                      </a:lnTo>
                      <a:lnTo>
                        <a:pt x="191" y="90"/>
                      </a:lnTo>
                      <a:lnTo>
                        <a:pt x="189" y="101"/>
                      </a:lnTo>
                      <a:lnTo>
                        <a:pt x="182" y="111"/>
                      </a:lnTo>
                      <a:lnTo>
                        <a:pt x="172" y="118"/>
                      </a:lnTo>
                      <a:lnTo>
                        <a:pt x="171" y="129"/>
                      </a:lnTo>
                      <a:lnTo>
                        <a:pt x="166" y="140"/>
                      </a:lnTo>
                      <a:lnTo>
                        <a:pt x="158" y="142"/>
                      </a:lnTo>
                      <a:lnTo>
                        <a:pt x="145" y="137"/>
                      </a:lnTo>
                      <a:lnTo>
                        <a:pt x="135" y="137"/>
                      </a:lnTo>
                      <a:lnTo>
                        <a:pt x="134" y="145"/>
                      </a:lnTo>
                      <a:lnTo>
                        <a:pt x="138" y="160"/>
                      </a:lnTo>
                      <a:lnTo>
                        <a:pt x="139" y="170"/>
                      </a:lnTo>
                      <a:lnTo>
                        <a:pt x="138" y="182"/>
                      </a:lnTo>
                      <a:lnTo>
                        <a:pt x="138" y="201"/>
                      </a:lnTo>
                      <a:lnTo>
                        <a:pt x="132" y="208"/>
                      </a:lnTo>
                      <a:lnTo>
                        <a:pt x="132" y="215"/>
                      </a:lnTo>
                      <a:lnTo>
                        <a:pt x="137" y="232"/>
                      </a:lnTo>
                      <a:lnTo>
                        <a:pt x="137" y="239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84" name="Freeform 352"/>
                <p:cNvSpPr>
                  <a:spLocks/>
                </p:cNvSpPr>
                <p:nvPr/>
              </p:nvSpPr>
              <p:spPr bwMode="gray">
                <a:xfrm>
                  <a:off x="4472172" y="1759835"/>
                  <a:ext cx="173287" cy="231022"/>
                </a:xfrm>
                <a:custGeom>
                  <a:avLst/>
                  <a:gdLst>
                    <a:gd name="T0" fmla="*/ 24054 w 490"/>
                    <a:gd name="T1" fmla="*/ 5722 h 659"/>
                    <a:gd name="T2" fmla="*/ 22717 w 490"/>
                    <a:gd name="T3" fmla="*/ 4496 h 659"/>
                    <a:gd name="T4" fmla="*/ 20490 w 490"/>
                    <a:gd name="T5" fmla="*/ 4087 h 659"/>
                    <a:gd name="T6" fmla="*/ 18708 w 490"/>
                    <a:gd name="T7" fmla="*/ 3270 h 659"/>
                    <a:gd name="T8" fmla="*/ 17372 w 490"/>
                    <a:gd name="T9" fmla="*/ 409 h 659"/>
                    <a:gd name="T10" fmla="*/ 14254 w 490"/>
                    <a:gd name="T11" fmla="*/ 0 h 659"/>
                    <a:gd name="T12" fmla="*/ 14699 w 490"/>
                    <a:gd name="T13" fmla="*/ 2452 h 659"/>
                    <a:gd name="T14" fmla="*/ 13363 w 490"/>
                    <a:gd name="T15" fmla="*/ 4496 h 659"/>
                    <a:gd name="T16" fmla="*/ 14254 w 490"/>
                    <a:gd name="T17" fmla="*/ 5722 h 659"/>
                    <a:gd name="T18" fmla="*/ 14254 w 490"/>
                    <a:gd name="T19" fmla="*/ 6948 h 659"/>
                    <a:gd name="T20" fmla="*/ 12918 w 490"/>
                    <a:gd name="T21" fmla="*/ 8583 h 659"/>
                    <a:gd name="T22" fmla="*/ 12472 w 490"/>
                    <a:gd name="T23" fmla="*/ 11444 h 659"/>
                    <a:gd name="T24" fmla="*/ 11136 w 490"/>
                    <a:gd name="T25" fmla="*/ 11035 h 659"/>
                    <a:gd name="T26" fmla="*/ 6236 w 490"/>
                    <a:gd name="T27" fmla="*/ 9400 h 659"/>
                    <a:gd name="T28" fmla="*/ 5345 w 490"/>
                    <a:gd name="T29" fmla="*/ 11444 h 659"/>
                    <a:gd name="T30" fmla="*/ 7572 w 490"/>
                    <a:gd name="T31" fmla="*/ 13078 h 659"/>
                    <a:gd name="T32" fmla="*/ 4900 w 490"/>
                    <a:gd name="T33" fmla="*/ 16348 h 659"/>
                    <a:gd name="T34" fmla="*/ 4900 w 490"/>
                    <a:gd name="T35" fmla="*/ 19618 h 659"/>
                    <a:gd name="T36" fmla="*/ 3118 w 490"/>
                    <a:gd name="T37" fmla="*/ 22479 h 659"/>
                    <a:gd name="T38" fmla="*/ 0 w 490"/>
                    <a:gd name="T39" fmla="*/ 22887 h 659"/>
                    <a:gd name="T40" fmla="*/ 445 w 490"/>
                    <a:gd name="T41" fmla="*/ 27383 h 659"/>
                    <a:gd name="T42" fmla="*/ 445 w 490"/>
                    <a:gd name="T43" fmla="*/ 30653 h 659"/>
                    <a:gd name="T44" fmla="*/ 1336 w 490"/>
                    <a:gd name="T45" fmla="*/ 33514 h 659"/>
                    <a:gd name="T46" fmla="*/ 891 w 490"/>
                    <a:gd name="T47" fmla="*/ 35966 h 659"/>
                    <a:gd name="T48" fmla="*/ 1336 w 490"/>
                    <a:gd name="T49" fmla="*/ 38827 h 659"/>
                    <a:gd name="T50" fmla="*/ 5345 w 490"/>
                    <a:gd name="T51" fmla="*/ 41279 h 659"/>
                    <a:gd name="T52" fmla="*/ 8463 w 490"/>
                    <a:gd name="T53" fmla="*/ 45775 h 659"/>
                    <a:gd name="T54" fmla="*/ 7572 w 490"/>
                    <a:gd name="T55" fmla="*/ 51497 h 659"/>
                    <a:gd name="T56" fmla="*/ 13809 w 490"/>
                    <a:gd name="T57" fmla="*/ 51497 h 659"/>
                    <a:gd name="T58" fmla="*/ 18708 w 490"/>
                    <a:gd name="T59" fmla="*/ 52314 h 659"/>
                    <a:gd name="T60" fmla="*/ 21381 w 490"/>
                    <a:gd name="T61" fmla="*/ 53540 h 659"/>
                    <a:gd name="T62" fmla="*/ 24499 w 490"/>
                    <a:gd name="T63" fmla="*/ 53131 h 659"/>
                    <a:gd name="T64" fmla="*/ 30735 w 490"/>
                    <a:gd name="T65" fmla="*/ 51088 h 659"/>
                    <a:gd name="T66" fmla="*/ 34299 w 490"/>
                    <a:gd name="T67" fmla="*/ 51905 h 659"/>
                    <a:gd name="T68" fmla="*/ 33853 w 490"/>
                    <a:gd name="T69" fmla="*/ 47818 h 659"/>
                    <a:gd name="T70" fmla="*/ 37862 w 490"/>
                    <a:gd name="T71" fmla="*/ 44957 h 659"/>
                    <a:gd name="T72" fmla="*/ 34744 w 490"/>
                    <a:gd name="T73" fmla="*/ 41279 h 659"/>
                    <a:gd name="T74" fmla="*/ 31181 w 490"/>
                    <a:gd name="T75" fmla="*/ 35557 h 659"/>
                    <a:gd name="T76" fmla="*/ 29399 w 490"/>
                    <a:gd name="T77" fmla="*/ 33514 h 659"/>
                    <a:gd name="T78" fmla="*/ 32962 w 490"/>
                    <a:gd name="T79" fmla="*/ 33105 h 659"/>
                    <a:gd name="T80" fmla="*/ 39644 w 490"/>
                    <a:gd name="T81" fmla="*/ 29835 h 659"/>
                    <a:gd name="T82" fmla="*/ 42316 w 490"/>
                    <a:gd name="T83" fmla="*/ 29835 h 659"/>
                    <a:gd name="T84" fmla="*/ 43653 w 490"/>
                    <a:gd name="T85" fmla="*/ 26157 h 659"/>
                    <a:gd name="T86" fmla="*/ 41871 w 490"/>
                    <a:gd name="T87" fmla="*/ 21253 h 659"/>
                    <a:gd name="T88" fmla="*/ 41426 w 490"/>
                    <a:gd name="T89" fmla="*/ 16757 h 659"/>
                    <a:gd name="T90" fmla="*/ 40980 w 490"/>
                    <a:gd name="T91" fmla="*/ 13078 h 659"/>
                    <a:gd name="T92" fmla="*/ 40089 w 490"/>
                    <a:gd name="T93" fmla="*/ 8583 h 659"/>
                    <a:gd name="T94" fmla="*/ 36080 w 490"/>
                    <a:gd name="T95" fmla="*/ 6131 h 659"/>
                    <a:gd name="T96" fmla="*/ 34299 w 490"/>
                    <a:gd name="T97" fmla="*/ 4496 h 659"/>
                    <a:gd name="T98" fmla="*/ 31181 w 490"/>
                    <a:gd name="T99" fmla="*/ 4904 h 659"/>
                    <a:gd name="T100" fmla="*/ 32071 w 490"/>
                    <a:gd name="T101" fmla="*/ 3270 h 659"/>
                    <a:gd name="T102" fmla="*/ 29399 w 490"/>
                    <a:gd name="T103" fmla="*/ 5722 h 659"/>
                    <a:gd name="T104" fmla="*/ 26726 w 490"/>
                    <a:gd name="T105" fmla="*/ 6948 h 659"/>
                    <a:gd name="T106" fmla="*/ 23163 w 490"/>
                    <a:gd name="T107" fmla="*/ 6948 h 659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490"/>
                    <a:gd name="T163" fmla="*/ 0 h 659"/>
                    <a:gd name="T164" fmla="*/ 490 w 490"/>
                    <a:gd name="T165" fmla="*/ 659 h 659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490" h="659">
                      <a:moveTo>
                        <a:pt x="261" y="88"/>
                      </a:moveTo>
                      <a:lnTo>
                        <a:pt x="260" y="83"/>
                      </a:lnTo>
                      <a:lnTo>
                        <a:pt x="264" y="73"/>
                      </a:lnTo>
                      <a:lnTo>
                        <a:pt x="271" y="68"/>
                      </a:lnTo>
                      <a:lnTo>
                        <a:pt x="276" y="62"/>
                      </a:lnTo>
                      <a:lnTo>
                        <a:pt x="276" y="52"/>
                      </a:lnTo>
                      <a:lnTo>
                        <a:pt x="272" y="49"/>
                      </a:lnTo>
                      <a:lnTo>
                        <a:pt x="255" y="55"/>
                      </a:lnTo>
                      <a:lnTo>
                        <a:pt x="249" y="55"/>
                      </a:lnTo>
                      <a:lnTo>
                        <a:pt x="244" y="49"/>
                      </a:lnTo>
                      <a:lnTo>
                        <a:pt x="233" y="44"/>
                      </a:lnTo>
                      <a:lnTo>
                        <a:pt x="228" y="50"/>
                      </a:lnTo>
                      <a:lnTo>
                        <a:pt x="223" y="50"/>
                      </a:lnTo>
                      <a:lnTo>
                        <a:pt x="222" y="42"/>
                      </a:lnTo>
                      <a:lnTo>
                        <a:pt x="215" y="42"/>
                      </a:lnTo>
                      <a:lnTo>
                        <a:pt x="211" y="39"/>
                      </a:lnTo>
                      <a:lnTo>
                        <a:pt x="217" y="31"/>
                      </a:lnTo>
                      <a:lnTo>
                        <a:pt x="217" y="22"/>
                      </a:lnTo>
                      <a:lnTo>
                        <a:pt x="212" y="11"/>
                      </a:lnTo>
                      <a:lnTo>
                        <a:pt x="196" y="6"/>
                      </a:lnTo>
                      <a:lnTo>
                        <a:pt x="189" y="7"/>
                      </a:lnTo>
                      <a:lnTo>
                        <a:pt x="190" y="2"/>
                      </a:lnTo>
                      <a:lnTo>
                        <a:pt x="182" y="6"/>
                      </a:lnTo>
                      <a:lnTo>
                        <a:pt x="158" y="0"/>
                      </a:lnTo>
                      <a:lnTo>
                        <a:pt x="150" y="1"/>
                      </a:lnTo>
                      <a:lnTo>
                        <a:pt x="150" y="11"/>
                      </a:lnTo>
                      <a:lnTo>
                        <a:pt x="158" y="25"/>
                      </a:lnTo>
                      <a:lnTo>
                        <a:pt x="164" y="31"/>
                      </a:lnTo>
                      <a:lnTo>
                        <a:pt x="167" y="38"/>
                      </a:lnTo>
                      <a:lnTo>
                        <a:pt x="153" y="46"/>
                      </a:lnTo>
                      <a:lnTo>
                        <a:pt x="152" y="50"/>
                      </a:lnTo>
                      <a:lnTo>
                        <a:pt x="148" y="55"/>
                      </a:lnTo>
                      <a:lnTo>
                        <a:pt x="155" y="55"/>
                      </a:lnTo>
                      <a:lnTo>
                        <a:pt x="159" y="58"/>
                      </a:lnTo>
                      <a:lnTo>
                        <a:pt x="157" y="65"/>
                      </a:lnTo>
                      <a:lnTo>
                        <a:pt x="161" y="71"/>
                      </a:lnTo>
                      <a:lnTo>
                        <a:pt x="166" y="74"/>
                      </a:lnTo>
                      <a:lnTo>
                        <a:pt x="164" y="78"/>
                      </a:lnTo>
                      <a:lnTo>
                        <a:pt x="159" y="79"/>
                      </a:lnTo>
                      <a:lnTo>
                        <a:pt x="159" y="87"/>
                      </a:lnTo>
                      <a:lnTo>
                        <a:pt x="172" y="97"/>
                      </a:lnTo>
                      <a:lnTo>
                        <a:pt x="170" y="99"/>
                      </a:lnTo>
                      <a:lnTo>
                        <a:pt x="148" y="99"/>
                      </a:lnTo>
                      <a:lnTo>
                        <a:pt x="145" y="106"/>
                      </a:lnTo>
                      <a:lnTo>
                        <a:pt x="142" y="110"/>
                      </a:lnTo>
                      <a:lnTo>
                        <a:pt x="142" y="128"/>
                      </a:lnTo>
                      <a:lnTo>
                        <a:pt x="148" y="148"/>
                      </a:lnTo>
                      <a:lnTo>
                        <a:pt x="142" y="142"/>
                      </a:lnTo>
                      <a:lnTo>
                        <a:pt x="137" y="128"/>
                      </a:lnTo>
                      <a:lnTo>
                        <a:pt x="130" y="126"/>
                      </a:lnTo>
                      <a:lnTo>
                        <a:pt x="129" y="137"/>
                      </a:lnTo>
                      <a:lnTo>
                        <a:pt x="123" y="137"/>
                      </a:lnTo>
                      <a:lnTo>
                        <a:pt x="120" y="125"/>
                      </a:lnTo>
                      <a:lnTo>
                        <a:pt x="115" y="115"/>
                      </a:lnTo>
                      <a:lnTo>
                        <a:pt x="99" y="113"/>
                      </a:lnTo>
                      <a:lnTo>
                        <a:pt x="72" y="117"/>
                      </a:lnTo>
                      <a:lnTo>
                        <a:pt x="69" y="126"/>
                      </a:lnTo>
                      <a:lnTo>
                        <a:pt x="65" y="130"/>
                      </a:lnTo>
                      <a:lnTo>
                        <a:pt x="61" y="137"/>
                      </a:lnTo>
                      <a:lnTo>
                        <a:pt x="62" y="140"/>
                      </a:lnTo>
                      <a:lnTo>
                        <a:pt x="73" y="142"/>
                      </a:lnTo>
                      <a:lnTo>
                        <a:pt x="78" y="146"/>
                      </a:lnTo>
                      <a:lnTo>
                        <a:pt x="83" y="152"/>
                      </a:lnTo>
                      <a:lnTo>
                        <a:pt x="86" y="160"/>
                      </a:lnTo>
                      <a:lnTo>
                        <a:pt x="83" y="159"/>
                      </a:lnTo>
                      <a:lnTo>
                        <a:pt x="78" y="151"/>
                      </a:lnTo>
                      <a:lnTo>
                        <a:pt x="64" y="154"/>
                      </a:lnTo>
                      <a:lnTo>
                        <a:pt x="54" y="200"/>
                      </a:lnTo>
                      <a:lnTo>
                        <a:pt x="38" y="211"/>
                      </a:lnTo>
                      <a:lnTo>
                        <a:pt x="40" y="219"/>
                      </a:lnTo>
                      <a:lnTo>
                        <a:pt x="59" y="228"/>
                      </a:lnTo>
                      <a:lnTo>
                        <a:pt x="57" y="239"/>
                      </a:lnTo>
                      <a:lnTo>
                        <a:pt x="50" y="249"/>
                      </a:lnTo>
                      <a:lnTo>
                        <a:pt x="40" y="256"/>
                      </a:lnTo>
                      <a:lnTo>
                        <a:pt x="39" y="267"/>
                      </a:lnTo>
                      <a:lnTo>
                        <a:pt x="34" y="278"/>
                      </a:lnTo>
                      <a:lnTo>
                        <a:pt x="26" y="280"/>
                      </a:lnTo>
                      <a:lnTo>
                        <a:pt x="13" y="275"/>
                      </a:lnTo>
                      <a:lnTo>
                        <a:pt x="3" y="275"/>
                      </a:lnTo>
                      <a:lnTo>
                        <a:pt x="2" y="283"/>
                      </a:lnTo>
                      <a:lnTo>
                        <a:pt x="6" y="298"/>
                      </a:lnTo>
                      <a:lnTo>
                        <a:pt x="7" y="308"/>
                      </a:lnTo>
                      <a:lnTo>
                        <a:pt x="6" y="320"/>
                      </a:lnTo>
                      <a:lnTo>
                        <a:pt x="6" y="339"/>
                      </a:lnTo>
                      <a:lnTo>
                        <a:pt x="0" y="346"/>
                      </a:lnTo>
                      <a:lnTo>
                        <a:pt x="0" y="353"/>
                      </a:lnTo>
                      <a:lnTo>
                        <a:pt x="5" y="370"/>
                      </a:lnTo>
                      <a:lnTo>
                        <a:pt x="5" y="377"/>
                      </a:lnTo>
                      <a:lnTo>
                        <a:pt x="10" y="383"/>
                      </a:lnTo>
                      <a:lnTo>
                        <a:pt x="11" y="394"/>
                      </a:lnTo>
                      <a:lnTo>
                        <a:pt x="17" y="402"/>
                      </a:lnTo>
                      <a:lnTo>
                        <a:pt x="17" y="410"/>
                      </a:lnTo>
                      <a:lnTo>
                        <a:pt x="6" y="427"/>
                      </a:lnTo>
                      <a:lnTo>
                        <a:pt x="14" y="431"/>
                      </a:lnTo>
                      <a:lnTo>
                        <a:pt x="12" y="438"/>
                      </a:lnTo>
                      <a:lnTo>
                        <a:pt x="12" y="445"/>
                      </a:lnTo>
                      <a:lnTo>
                        <a:pt x="17" y="453"/>
                      </a:lnTo>
                      <a:lnTo>
                        <a:pt x="21" y="460"/>
                      </a:lnTo>
                      <a:lnTo>
                        <a:pt x="22" y="472"/>
                      </a:lnTo>
                      <a:lnTo>
                        <a:pt x="17" y="479"/>
                      </a:lnTo>
                      <a:lnTo>
                        <a:pt x="29" y="490"/>
                      </a:lnTo>
                      <a:lnTo>
                        <a:pt x="37" y="496"/>
                      </a:lnTo>
                      <a:lnTo>
                        <a:pt x="43" y="507"/>
                      </a:lnTo>
                      <a:lnTo>
                        <a:pt x="61" y="508"/>
                      </a:lnTo>
                      <a:lnTo>
                        <a:pt x="102" y="520"/>
                      </a:lnTo>
                      <a:lnTo>
                        <a:pt x="115" y="526"/>
                      </a:lnTo>
                      <a:lnTo>
                        <a:pt x="113" y="538"/>
                      </a:lnTo>
                      <a:lnTo>
                        <a:pt x="96" y="561"/>
                      </a:lnTo>
                      <a:lnTo>
                        <a:pt x="93" y="573"/>
                      </a:lnTo>
                      <a:lnTo>
                        <a:pt x="86" y="598"/>
                      </a:lnTo>
                      <a:lnTo>
                        <a:pt x="84" y="626"/>
                      </a:lnTo>
                      <a:lnTo>
                        <a:pt x="86" y="636"/>
                      </a:lnTo>
                      <a:lnTo>
                        <a:pt x="88" y="638"/>
                      </a:lnTo>
                      <a:lnTo>
                        <a:pt x="94" y="644"/>
                      </a:lnTo>
                      <a:lnTo>
                        <a:pt x="130" y="639"/>
                      </a:lnTo>
                      <a:lnTo>
                        <a:pt x="156" y="635"/>
                      </a:lnTo>
                      <a:lnTo>
                        <a:pt x="175" y="639"/>
                      </a:lnTo>
                      <a:lnTo>
                        <a:pt x="193" y="648"/>
                      </a:lnTo>
                      <a:lnTo>
                        <a:pt x="204" y="644"/>
                      </a:lnTo>
                      <a:lnTo>
                        <a:pt x="212" y="644"/>
                      </a:lnTo>
                      <a:lnTo>
                        <a:pt x="221" y="646"/>
                      </a:lnTo>
                      <a:lnTo>
                        <a:pt x="227" y="654"/>
                      </a:lnTo>
                      <a:lnTo>
                        <a:pt x="237" y="659"/>
                      </a:lnTo>
                      <a:lnTo>
                        <a:pt x="242" y="657"/>
                      </a:lnTo>
                      <a:lnTo>
                        <a:pt x="244" y="649"/>
                      </a:lnTo>
                      <a:lnTo>
                        <a:pt x="252" y="643"/>
                      </a:lnTo>
                      <a:lnTo>
                        <a:pt x="263" y="644"/>
                      </a:lnTo>
                      <a:lnTo>
                        <a:pt x="276" y="652"/>
                      </a:lnTo>
                      <a:lnTo>
                        <a:pt x="290" y="652"/>
                      </a:lnTo>
                      <a:lnTo>
                        <a:pt x="309" y="639"/>
                      </a:lnTo>
                      <a:lnTo>
                        <a:pt x="342" y="636"/>
                      </a:lnTo>
                      <a:lnTo>
                        <a:pt x="346" y="631"/>
                      </a:lnTo>
                      <a:lnTo>
                        <a:pt x="357" y="635"/>
                      </a:lnTo>
                      <a:lnTo>
                        <a:pt x="372" y="635"/>
                      </a:lnTo>
                      <a:lnTo>
                        <a:pt x="377" y="642"/>
                      </a:lnTo>
                      <a:lnTo>
                        <a:pt x="384" y="638"/>
                      </a:lnTo>
                      <a:lnTo>
                        <a:pt x="384" y="631"/>
                      </a:lnTo>
                      <a:lnTo>
                        <a:pt x="377" y="615"/>
                      </a:lnTo>
                      <a:lnTo>
                        <a:pt x="376" y="599"/>
                      </a:lnTo>
                      <a:lnTo>
                        <a:pt x="381" y="587"/>
                      </a:lnTo>
                      <a:lnTo>
                        <a:pt x="403" y="578"/>
                      </a:lnTo>
                      <a:lnTo>
                        <a:pt x="406" y="568"/>
                      </a:lnTo>
                      <a:lnTo>
                        <a:pt x="410" y="560"/>
                      </a:lnTo>
                      <a:lnTo>
                        <a:pt x="427" y="552"/>
                      </a:lnTo>
                      <a:lnTo>
                        <a:pt x="428" y="545"/>
                      </a:lnTo>
                      <a:lnTo>
                        <a:pt x="425" y="539"/>
                      </a:lnTo>
                      <a:lnTo>
                        <a:pt x="399" y="519"/>
                      </a:lnTo>
                      <a:lnTo>
                        <a:pt x="389" y="506"/>
                      </a:lnTo>
                      <a:lnTo>
                        <a:pt x="361" y="483"/>
                      </a:lnTo>
                      <a:lnTo>
                        <a:pt x="351" y="470"/>
                      </a:lnTo>
                      <a:lnTo>
                        <a:pt x="351" y="453"/>
                      </a:lnTo>
                      <a:lnTo>
                        <a:pt x="349" y="440"/>
                      </a:lnTo>
                      <a:lnTo>
                        <a:pt x="336" y="434"/>
                      </a:lnTo>
                      <a:lnTo>
                        <a:pt x="328" y="425"/>
                      </a:lnTo>
                      <a:lnTo>
                        <a:pt x="328" y="416"/>
                      </a:lnTo>
                      <a:lnTo>
                        <a:pt x="329" y="411"/>
                      </a:lnTo>
                      <a:lnTo>
                        <a:pt x="345" y="426"/>
                      </a:lnTo>
                      <a:lnTo>
                        <a:pt x="347" y="426"/>
                      </a:lnTo>
                      <a:lnTo>
                        <a:pt x="352" y="412"/>
                      </a:lnTo>
                      <a:lnTo>
                        <a:pt x="368" y="405"/>
                      </a:lnTo>
                      <a:lnTo>
                        <a:pt x="385" y="399"/>
                      </a:lnTo>
                      <a:lnTo>
                        <a:pt x="403" y="391"/>
                      </a:lnTo>
                      <a:lnTo>
                        <a:pt x="409" y="379"/>
                      </a:lnTo>
                      <a:lnTo>
                        <a:pt x="447" y="366"/>
                      </a:lnTo>
                      <a:lnTo>
                        <a:pt x="451" y="343"/>
                      </a:lnTo>
                      <a:lnTo>
                        <a:pt x="460" y="346"/>
                      </a:lnTo>
                      <a:lnTo>
                        <a:pt x="468" y="358"/>
                      </a:lnTo>
                      <a:lnTo>
                        <a:pt x="474" y="367"/>
                      </a:lnTo>
                      <a:lnTo>
                        <a:pt x="481" y="367"/>
                      </a:lnTo>
                      <a:lnTo>
                        <a:pt x="485" y="358"/>
                      </a:lnTo>
                      <a:lnTo>
                        <a:pt x="489" y="341"/>
                      </a:lnTo>
                      <a:lnTo>
                        <a:pt x="490" y="320"/>
                      </a:lnTo>
                      <a:lnTo>
                        <a:pt x="489" y="316"/>
                      </a:lnTo>
                      <a:lnTo>
                        <a:pt x="473" y="297"/>
                      </a:lnTo>
                      <a:lnTo>
                        <a:pt x="470" y="273"/>
                      </a:lnTo>
                      <a:lnTo>
                        <a:pt x="470" y="262"/>
                      </a:lnTo>
                      <a:lnTo>
                        <a:pt x="469" y="246"/>
                      </a:lnTo>
                      <a:lnTo>
                        <a:pt x="467" y="237"/>
                      </a:lnTo>
                      <a:lnTo>
                        <a:pt x="464" y="213"/>
                      </a:lnTo>
                      <a:lnTo>
                        <a:pt x="463" y="205"/>
                      </a:lnTo>
                      <a:lnTo>
                        <a:pt x="448" y="194"/>
                      </a:lnTo>
                      <a:lnTo>
                        <a:pt x="447" y="186"/>
                      </a:lnTo>
                      <a:lnTo>
                        <a:pt x="452" y="174"/>
                      </a:lnTo>
                      <a:lnTo>
                        <a:pt x="458" y="162"/>
                      </a:lnTo>
                      <a:lnTo>
                        <a:pt x="459" y="149"/>
                      </a:lnTo>
                      <a:lnTo>
                        <a:pt x="459" y="132"/>
                      </a:lnTo>
                      <a:lnTo>
                        <a:pt x="451" y="115"/>
                      </a:lnTo>
                      <a:lnTo>
                        <a:pt x="448" y="106"/>
                      </a:lnTo>
                      <a:lnTo>
                        <a:pt x="426" y="99"/>
                      </a:lnTo>
                      <a:lnTo>
                        <a:pt x="424" y="85"/>
                      </a:lnTo>
                      <a:lnTo>
                        <a:pt x="415" y="72"/>
                      </a:lnTo>
                      <a:lnTo>
                        <a:pt x="405" y="73"/>
                      </a:lnTo>
                      <a:lnTo>
                        <a:pt x="399" y="68"/>
                      </a:lnTo>
                      <a:lnTo>
                        <a:pt x="397" y="67"/>
                      </a:lnTo>
                      <a:lnTo>
                        <a:pt x="394" y="60"/>
                      </a:lnTo>
                      <a:lnTo>
                        <a:pt x="387" y="55"/>
                      </a:lnTo>
                      <a:lnTo>
                        <a:pt x="381" y="49"/>
                      </a:lnTo>
                      <a:lnTo>
                        <a:pt x="365" y="51"/>
                      </a:lnTo>
                      <a:lnTo>
                        <a:pt x="357" y="55"/>
                      </a:lnTo>
                      <a:lnTo>
                        <a:pt x="351" y="60"/>
                      </a:lnTo>
                      <a:lnTo>
                        <a:pt x="352" y="54"/>
                      </a:lnTo>
                      <a:lnTo>
                        <a:pt x="358" y="49"/>
                      </a:lnTo>
                      <a:lnTo>
                        <a:pt x="368" y="42"/>
                      </a:lnTo>
                      <a:lnTo>
                        <a:pt x="361" y="41"/>
                      </a:lnTo>
                      <a:lnTo>
                        <a:pt x="352" y="42"/>
                      </a:lnTo>
                      <a:lnTo>
                        <a:pt x="339" y="60"/>
                      </a:lnTo>
                      <a:lnTo>
                        <a:pt x="335" y="70"/>
                      </a:lnTo>
                      <a:lnTo>
                        <a:pt x="330" y="72"/>
                      </a:lnTo>
                      <a:lnTo>
                        <a:pt x="330" y="66"/>
                      </a:lnTo>
                      <a:lnTo>
                        <a:pt x="312" y="71"/>
                      </a:lnTo>
                      <a:lnTo>
                        <a:pt x="296" y="83"/>
                      </a:lnTo>
                      <a:lnTo>
                        <a:pt x="299" y="88"/>
                      </a:lnTo>
                      <a:lnTo>
                        <a:pt x="290" y="88"/>
                      </a:lnTo>
                      <a:lnTo>
                        <a:pt x="277" y="84"/>
                      </a:lnTo>
                      <a:lnTo>
                        <a:pt x="264" y="94"/>
                      </a:lnTo>
                      <a:lnTo>
                        <a:pt x="261" y="88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85" name="Freeform 353"/>
                <p:cNvSpPr>
                  <a:spLocks/>
                </p:cNvSpPr>
                <p:nvPr/>
              </p:nvSpPr>
              <p:spPr bwMode="gray">
                <a:xfrm>
                  <a:off x="4747170" y="2141702"/>
                  <a:ext cx="123059" cy="104639"/>
                </a:xfrm>
                <a:custGeom>
                  <a:avLst/>
                  <a:gdLst>
                    <a:gd name="T0" fmla="*/ 27460 w 352"/>
                    <a:gd name="T1" fmla="*/ 5796 h 293"/>
                    <a:gd name="T2" fmla="*/ 22588 w 352"/>
                    <a:gd name="T3" fmla="*/ 5382 h 293"/>
                    <a:gd name="T4" fmla="*/ 21702 w 352"/>
                    <a:gd name="T5" fmla="*/ 5382 h 293"/>
                    <a:gd name="T6" fmla="*/ 19488 w 352"/>
                    <a:gd name="T7" fmla="*/ 6210 h 293"/>
                    <a:gd name="T8" fmla="*/ 16830 w 352"/>
                    <a:gd name="T9" fmla="*/ 7038 h 293"/>
                    <a:gd name="T10" fmla="*/ 19045 w 352"/>
                    <a:gd name="T11" fmla="*/ 8280 h 293"/>
                    <a:gd name="T12" fmla="*/ 19931 w 352"/>
                    <a:gd name="T13" fmla="*/ 9522 h 293"/>
                    <a:gd name="T14" fmla="*/ 17716 w 352"/>
                    <a:gd name="T15" fmla="*/ 8694 h 293"/>
                    <a:gd name="T16" fmla="*/ 18159 w 352"/>
                    <a:gd name="T17" fmla="*/ 9936 h 293"/>
                    <a:gd name="T18" fmla="*/ 17716 w 352"/>
                    <a:gd name="T19" fmla="*/ 10350 h 293"/>
                    <a:gd name="T20" fmla="*/ 16388 w 352"/>
                    <a:gd name="T21" fmla="*/ 9108 h 293"/>
                    <a:gd name="T22" fmla="*/ 16388 w 352"/>
                    <a:gd name="T23" fmla="*/ 10350 h 293"/>
                    <a:gd name="T24" fmla="*/ 16388 w 352"/>
                    <a:gd name="T25" fmla="*/ 11178 h 293"/>
                    <a:gd name="T26" fmla="*/ 15059 w 352"/>
                    <a:gd name="T27" fmla="*/ 9108 h 293"/>
                    <a:gd name="T28" fmla="*/ 12844 w 352"/>
                    <a:gd name="T29" fmla="*/ 7866 h 293"/>
                    <a:gd name="T30" fmla="*/ 11958 w 352"/>
                    <a:gd name="T31" fmla="*/ 7452 h 293"/>
                    <a:gd name="T32" fmla="*/ 11958 w 352"/>
                    <a:gd name="T33" fmla="*/ 9936 h 293"/>
                    <a:gd name="T34" fmla="*/ 12844 w 352"/>
                    <a:gd name="T35" fmla="*/ 11592 h 293"/>
                    <a:gd name="T36" fmla="*/ 14616 w 352"/>
                    <a:gd name="T37" fmla="*/ 14490 h 293"/>
                    <a:gd name="T38" fmla="*/ 15059 w 352"/>
                    <a:gd name="T39" fmla="*/ 15732 h 293"/>
                    <a:gd name="T40" fmla="*/ 14173 w 352"/>
                    <a:gd name="T41" fmla="*/ 15732 h 293"/>
                    <a:gd name="T42" fmla="*/ 14173 w 352"/>
                    <a:gd name="T43" fmla="*/ 14904 h 293"/>
                    <a:gd name="T44" fmla="*/ 13287 w 352"/>
                    <a:gd name="T45" fmla="*/ 15318 h 293"/>
                    <a:gd name="T46" fmla="*/ 13287 w 352"/>
                    <a:gd name="T47" fmla="*/ 16974 h 293"/>
                    <a:gd name="T48" fmla="*/ 12401 w 352"/>
                    <a:gd name="T49" fmla="*/ 16974 h 293"/>
                    <a:gd name="T50" fmla="*/ 11958 w 352"/>
                    <a:gd name="T51" fmla="*/ 17802 h 293"/>
                    <a:gd name="T52" fmla="*/ 13730 w 352"/>
                    <a:gd name="T53" fmla="*/ 18216 h 293"/>
                    <a:gd name="T54" fmla="*/ 15059 w 352"/>
                    <a:gd name="T55" fmla="*/ 18630 h 293"/>
                    <a:gd name="T56" fmla="*/ 16388 w 352"/>
                    <a:gd name="T57" fmla="*/ 19872 h 293"/>
                    <a:gd name="T58" fmla="*/ 17716 w 352"/>
                    <a:gd name="T59" fmla="*/ 20700 h 293"/>
                    <a:gd name="T60" fmla="*/ 18602 w 352"/>
                    <a:gd name="T61" fmla="*/ 21114 h 293"/>
                    <a:gd name="T62" fmla="*/ 17716 w 352"/>
                    <a:gd name="T63" fmla="*/ 23598 h 293"/>
                    <a:gd name="T64" fmla="*/ 15502 w 352"/>
                    <a:gd name="T65" fmla="*/ 22770 h 293"/>
                    <a:gd name="T66" fmla="*/ 13287 w 352"/>
                    <a:gd name="T67" fmla="*/ 22356 h 293"/>
                    <a:gd name="T68" fmla="*/ 14616 w 352"/>
                    <a:gd name="T69" fmla="*/ 21528 h 293"/>
                    <a:gd name="T70" fmla="*/ 12401 w 352"/>
                    <a:gd name="T71" fmla="*/ 20286 h 293"/>
                    <a:gd name="T72" fmla="*/ 10630 w 352"/>
                    <a:gd name="T73" fmla="*/ 20286 h 293"/>
                    <a:gd name="T74" fmla="*/ 8415 w 352"/>
                    <a:gd name="T75" fmla="*/ 20286 h 293"/>
                    <a:gd name="T76" fmla="*/ 5758 w 352"/>
                    <a:gd name="T77" fmla="*/ 20286 h 293"/>
                    <a:gd name="T78" fmla="*/ 5315 w 352"/>
                    <a:gd name="T79" fmla="*/ 20286 h 293"/>
                    <a:gd name="T80" fmla="*/ 4429 w 352"/>
                    <a:gd name="T81" fmla="*/ 19872 h 293"/>
                    <a:gd name="T82" fmla="*/ 3100 w 352"/>
                    <a:gd name="T83" fmla="*/ 17388 h 293"/>
                    <a:gd name="T84" fmla="*/ 4872 w 352"/>
                    <a:gd name="T85" fmla="*/ 17388 h 293"/>
                    <a:gd name="T86" fmla="*/ 3100 w 352"/>
                    <a:gd name="T87" fmla="*/ 16146 h 293"/>
                    <a:gd name="T88" fmla="*/ 1329 w 352"/>
                    <a:gd name="T89" fmla="*/ 14904 h 293"/>
                    <a:gd name="T90" fmla="*/ 443 w 352"/>
                    <a:gd name="T91" fmla="*/ 12834 h 293"/>
                    <a:gd name="T92" fmla="*/ 0 w 352"/>
                    <a:gd name="T93" fmla="*/ 12834 h 293"/>
                    <a:gd name="T94" fmla="*/ 886 w 352"/>
                    <a:gd name="T95" fmla="*/ 12006 h 293"/>
                    <a:gd name="T96" fmla="*/ 1329 w 352"/>
                    <a:gd name="T97" fmla="*/ 10764 h 293"/>
                    <a:gd name="T98" fmla="*/ 3100 w 352"/>
                    <a:gd name="T99" fmla="*/ 8694 h 293"/>
                    <a:gd name="T100" fmla="*/ 4429 w 352"/>
                    <a:gd name="T101" fmla="*/ 6624 h 293"/>
                    <a:gd name="T102" fmla="*/ 7087 w 352"/>
                    <a:gd name="T103" fmla="*/ 4968 h 293"/>
                    <a:gd name="T104" fmla="*/ 9744 w 352"/>
                    <a:gd name="T105" fmla="*/ 3726 h 293"/>
                    <a:gd name="T106" fmla="*/ 12844 w 352"/>
                    <a:gd name="T107" fmla="*/ 2484 h 293"/>
                    <a:gd name="T108" fmla="*/ 14616 w 352"/>
                    <a:gd name="T109" fmla="*/ 2484 h 293"/>
                    <a:gd name="T110" fmla="*/ 18159 w 352"/>
                    <a:gd name="T111" fmla="*/ 2070 h 293"/>
                    <a:gd name="T112" fmla="*/ 21702 w 352"/>
                    <a:gd name="T113" fmla="*/ 1242 h 293"/>
                    <a:gd name="T114" fmla="*/ 25689 w 352"/>
                    <a:gd name="T115" fmla="*/ 2898 h 293"/>
                    <a:gd name="T116" fmla="*/ 28789 w 352"/>
                    <a:gd name="T117" fmla="*/ 1656 h 293"/>
                    <a:gd name="T118" fmla="*/ 30118 w 352"/>
                    <a:gd name="T119" fmla="*/ 0 h 293"/>
                    <a:gd name="T120" fmla="*/ 31003 w 352"/>
                    <a:gd name="T121" fmla="*/ 1242 h 293"/>
                    <a:gd name="T122" fmla="*/ 30118 w 352"/>
                    <a:gd name="T123" fmla="*/ 2898 h 293"/>
                    <a:gd name="T124" fmla="*/ 29232 w 352"/>
                    <a:gd name="T125" fmla="*/ 5382 h 293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352"/>
                    <a:gd name="T190" fmla="*/ 0 h 293"/>
                    <a:gd name="T191" fmla="*/ 352 w 352"/>
                    <a:gd name="T192" fmla="*/ 293 h 293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352" h="293">
                      <a:moveTo>
                        <a:pt x="324" y="78"/>
                      </a:moveTo>
                      <a:lnTo>
                        <a:pt x="314" y="70"/>
                      </a:lnTo>
                      <a:lnTo>
                        <a:pt x="268" y="57"/>
                      </a:lnTo>
                      <a:lnTo>
                        <a:pt x="258" y="65"/>
                      </a:lnTo>
                      <a:lnTo>
                        <a:pt x="253" y="66"/>
                      </a:lnTo>
                      <a:lnTo>
                        <a:pt x="245" y="66"/>
                      </a:lnTo>
                      <a:lnTo>
                        <a:pt x="234" y="62"/>
                      </a:lnTo>
                      <a:lnTo>
                        <a:pt x="223" y="73"/>
                      </a:lnTo>
                      <a:lnTo>
                        <a:pt x="207" y="76"/>
                      </a:lnTo>
                      <a:lnTo>
                        <a:pt x="193" y="86"/>
                      </a:lnTo>
                      <a:lnTo>
                        <a:pt x="201" y="94"/>
                      </a:lnTo>
                      <a:lnTo>
                        <a:pt x="216" y="100"/>
                      </a:lnTo>
                      <a:lnTo>
                        <a:pt x="225" y="110"/>
                      </a:lnTo>
                      <a:lnTo>
                        <a:pt x="227" y="116"/>
                      </a:lnTo>
                      <a:lnTo>
                        <a:pt x="217" y="106"/>
                      </a:lnTo>
                      <a:lnTo>
                        <a:pt x="201" y="103"/>
                      </a:lnTo>
                      <a:lnTo>
                        <a:pt x="196" y="113"/>
                      </a:lnTo>
                      <a:lnTo>
                        <a:pt x="207" y="120"/>
                      </a:lnTo>
                      <a:lnTo>
                        <a:pt x="209" y="133"/>
                      </a:lnTo>
                      <a:lnTo>
                        <a:pt x="201" y="125"/>
                      </a:lnTo>
                      <a:lnTo>
                        <a:pt x="195" y="115"/>
                      </a:lnTo>
                      <a:lnTo>
                        <a:pt x="185" y="111"/>
                      </a:lnTo>
                      <a:lnTo>
                        <a:pt x="182" y="113"/>
                      </a:lnTo>
                      <a:lnTo>
                        <a:pt x="184" y="124"/>
                      </a:lnTo>
                      <a:lnTo>
                        <a:pt x="193" y="131"/>
                      </a:lnTo>
                      <a:lnTo>
                        <a:pt x="188" y="135"/>
                      </a:lnTo>
                      <a:lnTo>
                        <a:pt x="177" y="125"/>
                      </a:lnTo>
                      <a:lnTo>
                        <a:pt x="172" y="111"/>
                      </a:lnTo>
                      <a:lnTo>
                        <a:pt x="148" y="97"/>
                      </a:lnTo>
                      <a:lnTo>
                        <a:pt x="148" y="93"/>
                      </a:lnTo>
                      <a:lnTo>
                        <a:pt x="151" y="86"/>
                      </a:lnTo>
                      <a:lnTo>
                        <a:pt x="137" y="90"/>
                      </a:lnTo>
                      <a:lnTo>
                        <a:pt x="135" y="105"/>
                      </a:lnTo>
                      <a:lnTo>
                        <a:pt x="135" y="120"/>
                      </a:lnTo>
                      <a:lnTo>
                        <a:pt x="136" y="132"/>
                      </a:lnTo>
                      <a:lnTo>
                        <a:pt x="144" y="140"/>
                      </a:lnTo>
                      <a:lnTo>
                        <a:pt x="147" y="154"/>
                      </a:lnTo>
                      <a:lnTo>
                        <a:pt x="164" y="172"/>
                      </a:lnTo>
                      <a:lnTo>
                        <a:pt x="169" y="181"/>
                      </a:lnTo>
                      <a:lnTo>
                        <a:pt x="172" y="190"/>
                      </a:lnTo>
                      <a:lnTo>
                        <a:pt x="167" y="192"/>
                      </a:lnTo>
                      <a:lnTo>
                        <a:pt x="163" y="191"/>
                      </a:lnTo>
                      <a:lnTo>
                        <a:pt x="164" y="185"/>
                      </a:lnTo>
                      <a:lnTo>
                        <a:pt x="161" y="179"/>
                      </a:lnTo>
                      <a:lnTo>
                        <a:pt x="151" y="178"/>
                      </a:lnTo>
                      <a:lnTo>
                        <a:pt x="150" y="186"/>
                      </a:lnTo>
                      <a:lnTo>
                        <a:pt x="155" y="200"/>
                      </a:lnTo>
                      <a:lnTo>
                        <a:pt x="151" y="203"/>
                      </a:lnTo>
                      <a:lnTo>
                        <a:pt x="147" y="203"/>
                      </a:lnTo>
                      <a:lnTo>
                        <a:pt x="141" y="203"/>
                      </a:lnTo>
                      <a:lnTo>
                        <a:pt x="131" y="206"/>
                      </a:lnTo>
                      <a:lnTo>
                        <a:pt x="135" y="212"/>
                      </a:lnTo>
                      <a:lnTo>
                        <a:pt x="147" y="217"/>
                      </a:lnTo>
                      <a:lnTo>
                        <a:pt x="156" y="219"/>
                      </a:lnTo>
                      <a:lnTo>
                        <a:pt x="163" y="224"/>
                      </a:lnTo>
                      <a:lnTo>
                        <a:pt x="172" y="224"/>
                      </a:lnTo>
                      <a:lnTo>
                        <a:pt x="177" y="237"/>
                      </a:lnTo>
                      <a:lnTo>
                        <a:pt x="184" y="237"/>
                      </a:lnTo>
                      <a:lnTo>
                        <a:pt x="190" y="244"/>
                      </a:lnTo>
                      <a:lnTo>
                        <a:pt x="199" y="250"/>
                      </a:lnTo>
                      <a:lnTo>
                        <a:pt x="204" y="250"/>
                      </a:lnTo>
                      <a:lnTo>
                        <a:pt x="211" y="255"/>
                      </a:lnTo>
                      <a:lnTo>
                        <a:pt x="212" y="293"/>
                      </a:lnTo>
                      <a:lnTo>
                        <a:pt x="199" y="285"/>
                      </a:lnTo>
                      <a:lnTo>
                        <a:pt x="189" y="272"/>
                      </a:lnTo>
                      <a:lnTo>
                        <a:pt x="175" y="275"/>
                      </a:lnTo>
                      <a:lnTo>
                        <a:pt x="161" y="275"/>
                      </a:lnTo>
                      <a:lnTo>
                        <a:pt x="152" y="270"/>
                      </a:lnTo>
                      <a:lnTo>
                        <a:pt x="162" y="266"/>
                      </a:lnTo>
                      <a:lnTo>
                        <a:pt x="164" y="259"/>
                      </a:lnTo>
                      <a:lnTo>
                        <a:pt x="152" y="256"/>
                      </a:lnTo>
                      <a:lnTo>
                        <a:pt x="139" y="243"/>
                      </a:lnTo>
                      <a:lnTo>
                        <a:pt x="132" y="249"/>
                      </a:lnTo>
                      <a:lnTo>
                        <a:pt x="123" y="245"/>
                      </a:lnTo>
                      <a:lnTo>
                        <a:pt x="110" y="248"/>
                      </a:lnTo>
                      <a:lnTo>
                        <a:pt x="98" y="245"/>
                      </a:lnTo>
                      <a:lnTo>
                        <a:pt x="81" y="248"/>
                      </a:lnTo>
                      <a:lnTo>
                        <a:pt x="67" y="242"/>
                      </a:lnTo>
                      <a:lnTo>
                        <a:pt x="64" y="242"/>
                      </a:lnTo>
                      <a:lnTo>
                        <a:pt x="61" y="245"/>
                      </a:lnTo>
                      <a:lnTo>
                        <a:pt x="55" y="248"/>
                      </a:lnTo>
                      <a:lnTo>
                        <a:pt x="51" y="240"/>
                      </a:lnTo>
                      <a:lnTo>
                        <a:pt x="45" y="228"/>
                      </a:lnTo>
                      <a:lnTo>
                        <a:pt x="33" y="208"/>
                      </a:lnTo>
                      <a:lnTo>
                        <a:pt x="43" y="210"/>
                      </a:lnTo>
                      <a:lnTo>
                        <a:pt x="53" y="208"/>
                      </a:lnTo>
                      <a:lnTo>
                        <a:pt x="49" y="200"/>
                      </a:lnTo>
                      <a:lnTo>
                        <a:pt x="35" y="194"/>
                      </a:lnTo>
                      <a:lnTo>
                        <a:pt x="33" y="203"/>
                      </a:lnTo>
                      <a:lnTo>
                        <a:pt x="17" y="178"/>
                      </a:lnTo>
                      <a:lnTo>
                        <a:pt x="7" y="170"/>
                      </a:lnTo>
                      <a:lnTo>
                        <a:pt x="3" y="154"/>
                      </a:lnTo>
                      <a:lnTo>
                        <a:pt x="1" y="152"/>
                      </a:lnTo>
                      <a:lnTo>
                        <a:pt x="0" y="152"/>
                      </a:lnTo>
                      <a:lnTo>
                        <a:pt x="1" y="152"/>
                      </a:lnTo>
                      <a:lnTo>
                        <a:pt x="10" y="146"/>
                      </a:lnTo>
                      <a:lnTo>
                        <a:pt x="15" y="140"/>
                      </a:lnTo>
                      <a:lnTo>
                        <a:pt x="17" y="127"/>
                      </a:lnTo>
                      <a:lnTo>
                        <a:pt x="27" y="120"/>
                      </a:lnTo>
                      <a:lnTo>
                        <a:pt x="35" y="103"/>
                      </a:lnTo>
                      <a:lnTo>
                        <a:pt x="49" y="92"/>
                      </a:lnTo>
                      <a:lnTo>
                        <a:pt x="49" y="77"/>
                      </a:lnTo>
                      <a:lnTo>
                        <a:pt x="46" y="67"/>
                      </a:lnTo>
                      <a:lnTo>
                        <a:pt x="82" y="62"/>
                      </a:lnTo>
                      <a:lnTo>
                        <a:pt x="93" y="52"/>
                      </a:lnTo>
                      <a:lnTo>
                        <a:pt x="112" y="45"/>
                      </a:lnTo>
                      <a:lnTo>
                        <a:pt x="132" y="45"/>
                      </a:lnTo>
                      <a:lnTo>
                        <a:pt x="147" y="31"/>
                      </a:lnTo>
                      <a:lnTo>
                        <a:pt x="153" y="29"/>
                      </a:lnTo>
                      <a:lnTo>
                        <a:pt x="166" y="29"/>
                      </a:lnTo>
                      <a:lnTo>
                        <a:pt x="183" y="25"/>
                      </a:lnTo>
                      <a:lnTo>
                        <a:pt x="205" y="25"/>
                      </a:lnTo>
                      <a:lnTo>
                        <a:pt x="236" y="16"/>
                      </a:lnTo>
                      <a:lnTo>
                        <a:pt x="248" y="16"/>
                      </a:lnTo>
                      <a:lnTo>
                        <a:pt x="258" y="24"/>
                      </a:lnTo>
                      <a:lnTo>
                        <a:pt x="293" y="36"/>
                      </a:lnTo>
                      <a:lnTo>
                        <a:pt x="313" y="33"/>
                      </a:lnTo>
                      <a:lnTo>
                        <a:pt x="327" y="20"/>
                      </a:lnTo>
                      <a:lnTo>
                        <a:pt x="329" y="1"/>
                      </a:lnTo>
                      <a:lnTo>
                        <a:pt x="340" y="0"/>
                      </a:lnTo>
                      <a:lnTo>
                        <a:pt x="343" y="6"/>
                      </a:lnTo>
                      <a:lnTo>
                        <a:pt x="352" y="13"/>
                      </a:lnTo>
                      <a:lnTo>
                        <a:pt x="351" y="24"/>
                      </a:lnTo>
                      <a:lnTo>
                        <a:pt x="340" y="33"/>
                      </a:lnTo>
                      <a:lnTo>
                        <a:pt x="338" y="49"/>
                      </a:lnTo>
                      <a:lnTo>
                        <a:pt x="334" y="63"/>
                      </a:lnTo>
                      <a:lnTo>
                        <a:pt x="324" y="78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86" name="Freeform 354"/>
                <p:cNvSpPr>
                  <a:spLocks/>
                </p:cNvSpPr>
                <p:nvPr/>
              </p:nvSpPr>
              <p:spPr bwMode="gray">
                <a:xfrm>
                  <a:off x="4539979" y="1944652"/>
                  <a:ext cx="146916" cy="72025"/>
                </a:xfrm>
                <a:custGeom>
                  <a:avLst/>
                  <a:gdLst>
                    <a:gd name="T0" fmla="*/ 20935 w 420"/>
                    <a:gd name="T1" fmla="*/ 2056 h 205"/>
                    <a:gd name="T2" fmla="*/ 19154 w 420"/>
                    <a:gd name="T3" fmla="*/ 3701 h 205"/>
                    <a:gd name="T4" fmla="*/ 16927 w 420"/>
                    <a:gd name="T5" fmla="*/ 4934 h 205"/>
                    <a:gd name="T6" fmla="*/ 16481 w 420"/>
                    <a:gd name="T7" fmla="*/ 7402 h 205"/>
                    <a:gd name="T8" fmla="*/ 16927 w 420"/>
                    <a:gd name="T9" fmla="*/ 9458 h 205"/>
                    <a:gd name="T10" fmla="*/ 16036 w 420"/>
                    <a:gd name="T11" fmla="*/ 9046 h 205"/>
                    <a:gd name="T12" fmla="*/ 13809 w 420"/>
                    <a:gd name="T13" fmla="*/ 8635 h 205"/>
                    <a:gd name="T14" fmla="*/ 10245 w 420"/>
                    <a:gd name="T15" fmla="*/ 9458 h 205"/>
                    <a:gd name="T16" fmla="*/ 7572 w 420"/>
                    <a:gd name="T17" fmla="*/ 10280 h 205"/>
                    <a:gd name="T18" fmla="*/ 5345 w 420"/>
                    <a:gd name="T19" fmla="*/ 9869 h 205"/>
                    <a:gd name="T20" fmla="*/ 4454 w 420"/>
                    <a:gd name="T21" fmla="*/ 10691 h 205"/>
                    <a:gd name="T22" fmla="*/ 3118 w 420"/>
                    <a:gd name="T23" fmla="*/ 10691 h 205"/>
                    <a:gd name="T24" fmla="*/ 1782 w 420"/>
                    <a:gd name="T25" fmla="*/ 9869 h 205"/>
                    <a:gd name="T26" fmla="*/ 0 w 420"/>
                    <a:gd name="T27" fmla="*/ 10280 h 205"/>
                    <a:gd name="T28" fmla="*/ 1336 w 420"/>
                    <a:gd name="T29" fmla="*/ 11102 h 205"/>
                    <a:gd name="T30" fmla="*/ 1336 w 420"/>
                    <a:gd name="T31" fmla="*/ 12747 h 205"/>
                    <a:gd name="T32" fmla="*/ 1336 w 420"/>
                    <a:gd name="T33" fmla="*/ 13570 h 205"/>
                    <a:gd name="T34" fmla="*/ 3118 w 420"/>
                    <a:gd name="T35" fmla="*/ 13981 h 205"/>
                    <a:gd name="T36" fmla="*/ 4454 w 420"/>
                    <a:gd name="T37" fmla="*/ 14392 h 205"/>
                    <a:gd name="T38" fmla="*/ 6236 w 420"/>
                    <a:gd name="T39" fmla="*/ 14392 h 205"/>
                    <a:gd name="T40" fmla="*/ 9354 w 420"/>
                    <a:gd name="T41" fmla="*/ 13570 h 205"/>
                    <a:gd name="T42" fmla="*/ 11581 w 420"/>
                    <a:gd name="T43" fmla="*/ 13158 h 205"/>
                    <a:gd name="T44" fmla="*/ 12918 w 420"/>
                    <a:gd name="T45" fmla="*/ 12747 h 205"/>
                    <a:gd name="T46" fmla="*/ 12918 w 420"/>
                    <a:gd name="T47" fmla="*/ 13570 h 205"/>
                    <a:gd name="T48" fmla="*/ 13363 w 420"/>
                    <a:gd name="T49" fmla="*/ 14803 h 205"/>
                    <a:gd name="T50" fmla="*/ 15145 w 420"/>
                    <a:gd name="T51" fmla="*/ 15214 h 205"/>
                    <a:gd name="T52" fmla="*/ 18708 w 420"/>
                    <a:gd name="T53" fmla="*/ 16448 h 205"/>
                    <a:gd name="T54" fmla="*/ 20490 w 420"/>
                    <a:gd name="T55" fmla="*/ 16859 h 205"/>
                    <a:gd name="T56" fmla="*/ 24499 w 420"/>
                    <a:gd name="T57" fmla="*/ 16859 h 205"/>
                    <a:gd name="T58" fmla="*/ 25835 w 420"/>
                    <a:gd name="T59" fmla="*/ 15626 h 205"/>
                    <a:gd name="T60" fmla="*/ 28953 w 420"/>
                    <a:gd name="T61" fmla="*/ 15626 h 205"/>
                    <a:gd name="T62" fmla="*/ 29844 w 420"/>
                    <a:gd name="T63" fmla="*/ 14803 h 205"/>
                    <a:gd name="T64" fmla="*/ 31626 w 420"/>
                    <a:gd name="T65" fmla="*/ 14392 h 205"/>
                    <a:gd name="T66" fmla="*/ 32962 w 420"/>
                    <a:gd name="T67" fmla="*/ 13158 h 205"/>
                    <a:gd name="T68" fmla="*/ 33853 w 420"/>
                    <a:gd name="T69" fmla="*/ 12336 h 205"/>
                    <a:gd name="T70" fmla="*/ 34744 w 420"/>
                    <a:gd name="T71" fmla="*/ 9869 h 205"/>
                    <a:gd name="T72" fmla="*/ 34744 w 420"/>
                    <a:gd name="T73" fmla="*/ 8635 h 205"/>
                    <a:gd name="T74" fmla="*/ 37417 w 420"/>
                    <a:gd name="T75" fmla="*/ 7813 h 205"/>
                    <a:gd name="T76" fmla="*/ 36526 w 420"/>
                    <a:gd name="T77" fmla="*/ 4934 h 205"/>
                    <a:gd name="T78" fmla="*/ 36080 w 420"/>
                    <a:gd name="T79" fmla="*/ 2056 h 205"/>
                    <a:gd name="T80" fmla="*/ 32071 w 420"/>
                    <a:gd name="T81" fmla="*/ 1645 h 205"/>
                    <a:gd name="T82" fmla="*/ 30290 w 420"/>
                    <a:gd name="T83" fmla="*/ 0 h 205"/>
                    <a:gd name="T84" fmla="*/ 26726 w 420"/>
                    <a:gd name="T85" fmla="*/ 822 h 205"/>
                    <a:gd name="T86" fmla="*/ 25390 w 420"/>
                    <a:gd name="T87" fmla="*/ 2056 h 205"/>
                    <a:gd name="T88" fmla="*/ 23608 w 420"/>
                    <a:gd name="T89" fmla="*/ 2467 h 205"/>
                    <a:gd name="T90" fmla="*/ 22272 w 420"/>
                    <a:gd name="T91" fmla="*/ 2056 h 205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420"/>
                    <a:gd name="T139" fmla="*/ 0 h 205"/>
                    <a:gd name="T140" fmla="*/ 420 w 420"/>
                    <a:gd name="T141" fmla="*/ 205 h 205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420" h="205">
                      <a:moveTo>
                        <a:pt x="235" y="20"/>
                      </a:moveTo>
                      <a:lnTo>
                        <a:pt x="234" y="27"/>
                      </a:lnTo>
                      <a:lnTo>
                        <a:pt x="217" y="35"/>
                      </a:lnTo>
                      <a:lnTo>
                        <a:pt x="213" y="43"/>
                      </a:lnTo>
                      <a:lnTo>
                        <a:pt x="210" y="53"/>
                      </a:lnTo>
                      <a:lnTo>
                        <a:pt x="188" y="62"/>
                      </a:lnTo>
                      <a:lnTo>
                        <a:pt x="183" y="74"/>
                      </a:lnTo>
                      <a:lnTo>
                        <a:pt x="184" y="90"/>
                      </a:lnTo>
                      <a:lnTo>
                        <a:pt x="191" y="106"/>
                      </a:lnTo>
                      <a:lnTo>
                        <a:pt x="191" y="113"/>
                      </a:lnTo>
                      <a:lnTo>
                        <a:pt x="184" y="117"/>
                      </a:lnTo>
                      <a:lnTo>
                        <a:pt x="179" y="110"/>
                      </a:lnTo>
                      <a:lnTo>
                        <a:pt x="164" y="110"/>
                      </a:lnTo>
                      <a:lnTo>
                        <a:pt x="153" y="106"/>
                      </a:lnTo>
                      <a:lnTo>
                        <a:pt x="149" y="111"/>
                      </a:lnTo>
                      <a:lnTo>
                        <a:pt x="116" y="114"/>
                      </a:lnTo>
                      <a:lnTo>
                        <a:pt x="97" y="127"/>
                      </a:lnTo>
                      <a:lnTo>
                        <a:pt x="83" y="127"/>
                      </a:lnTo>
                      <a:lnTo>
                        <a:pt x="70" y="119"/>
                      </a:lnTo>
                      <a:lnTo>
                        <a:pt x="59" y="118"/>
                      </a:lnTo>
                      <a:lnTo>
                        <a:pt x="51" y="124"/>
                      </a:lnTo>
                      <a:lnTo>
                        <a:pt x="49" y="132"/>
                      </a:lnTo>
                      <a:lnTo>
                        <a:pt x="44" y="134"/>
                      </a:lnTo>
                      <a:lnTo>
                        <a:pt x="34" y="129"/>
                      </a:lnTo>
                      <a:lnTo>
                        <a:pt x="28" y="121"/>
                      </a:lnTo>
                      <a:lnTo>
                        <a:pt x="19" y="119"/>
                      </a:lnTo>
                      <a:lnTo>
                        <a:pt x="11" y="119"/>
                      </a:lnTo>
                      <a:lnTo>
                        <a:pt x="0" y="123"/>
                      </a:lnTo>
                      <a:lnTo>
                        <a:pt x="7" y="132"/>
                      </a:lnTo>
                      <a:lnTo>
                        <a:pt x="16" y="137"/>
                      </a:lnTo>
                      <a:lnTo>
                        <a:pt x="17" y="144"/>
                      </a:lnTo>
                      <a:lnTo>
                        <a:pt x="17" y="155"/>
                      </a:lnTo>
                      <a:lnTo>
                        <a:pt x="11" y="162"/>
                      </a:lnTo>
                      <a:lnTo>
                        <a:pt x="17" y="167"/>
                      </a:lnTo>
                      <a:lnTo>
                        <a:pt x="27" y="171"/>
                      </a:lnTo>
                      <a:lnTo>
                        <a:pt x="36" y="172"/>
                      </a:lnTo>
                      <a:lnTo>
                        <a:pt x="44" y="168"/>
                      </a:lnTo>
                      <a:lnTo>
                        <a:pt x="51" y="173"/>
                      </a:lnTo>
                      <a:lnTo>
                        <a:pt x="65" y="178"/>
                      </a:lnTo>
                      <a:lnTo>
                        <a:pt x="68" y="177"/>
                      </a:lnTo>
                      <a:lnTo>
                        <a:pt x="84" y="172"/>
                      </a:lnTo>
                      <a:lnTo>
                        <a:pt x="104" y="165"/>
                      </a:lnTo>
                      <a:lnTo>
                        <a:pt x="122" y="164"/>
                      </a:lnTo>
                      <a:lnTo>
                        <a:pt x="132" y="161"/>
                      </a:lnTo>
                      <a:lnTo>
                        <a:pt x="137" y="157"/>
                      </a:lnTo>
                      <a:lnTo>
                        <a:pt x="143" y="156"/>
                      </a:lnTo>
                      <a:lnTo>
                        <a:pt x="146" y="159"/>
                      </a:lnTo>
                      <a:lnTo>
                        <a:pt x="146" y="164"/>
                      </a:lnTo>
                      <a:lnTo>
                        <a:pt x="148" y="171"/>
                      </a:lnTo>
                      <a:lnTo>
                        <a:pt x="152" y="178"/>
                      </a:lnTo>
                      <a:lnTo>
                        <a:pt x="163" y="187"/>
                      </a:lnTo>
                      <a:lnTo>
                        <a:pt x="168" y="187"/>
                      </a:lnTo>
                      <a:lnTo>
                        <a:pt x="178" y="193"/>
                      </a:lnTo>
                      <a:lnTo>
                        <a:pt x="208" y="198"/>
                      </a:lnTo>
                      <a:lnTo>
                        <a:pt x="222" y="203"/>
                      </a:lnTo>
                      <a:lnTo>
                        <a:pt x="231" y="203"/>
                      </a:lnTo>
                      <a:lnTo>
                        <a:pt x="247" y="203"/>
                      </a:lnTo>
                      <a:lnTo>
                        <a:pt x="275" y="205"/>
                      </a:lnTo>
                      <a:lnTo>
                        <a:pt x="283" y="200"/>
                      </a:lnTo>
                      <a:lnTo>
                        <a:pt x="292" y="189"/>
                      </a:lnTo>
                      <a:lnTo>
                        <a:pt x="305" y="187"/>
                      </a:lnTo>
                      <a:lnTo>
                        <a:pt x="325" y="191"/>
                      </a:lnTo>
                      <a:lnTo>
                        <a:pt x="330" y="182"/>
                      </a:lnTo>
                      <a:lnTo>
                        <a:pt x="334" y="182"/>
                      </a:lnTo>
                      <a:lnTo>
                        <a:pt x="351" y="184"/>
                      </a:lnTo>
                      <a:lnTo>
                        <a:pt x="353" y="176"/>
                      </a:lnTo>
                      <a:lnTo>
                        <a:pt x="362" y="172"/>
                      </a:lnTo>
                      <a:lnTo>
                        <a:pt x="372" y="161"/>
                      </a:lnTo>
                      <a:lnTo>
                        <a:pt x="383" y="159"/>
                      </a:lnTo>
                      <a:lnTo>
                        <a:pt x="382" y="148"/>
                      </a:lnTo>
                      <a:lnTo>
                        <a:pt x="382" y="138"/>
                      </a:lnTo>
                      <a:lnTo>
                        <a:pt x="390" y="119"/>
                      </a:lnTo>
                      <a:lnTo>
                        <a:pt x="384" y="111"/>
                      </a:lnTo>
                      <a:lnTo>
                        <a:pt x="388" y="103"/>
                      </a:lnTo>
                      <a:lnTo>
                        <a:pt x="415" y="103"/>
                      </a:lnTo>
                      <a:lnTo>
                        <a:pt x="420" y="95"/>
                      </a:lnTo>
                      <a:lnTo>
                        <a:pt x="420" y="75"/>
                      </a:lnTo>
                      <a:lnTo>
                        <a:pt x="412" y="62"/>
                      </a:lnTo>
                      <a:lnTo>
                        <a:pt x="406" y="40"/>
                      </a:lnTo>
                      <a:lnTo>
                        <a:pt x="406" y="26"/>
                      </a:lnTo>
                      <a:lnTo>
                        <a:pt x="398" y="15"/>
                      </a:lnTo>
                      <a:lnTo>
                        <a:pt x="362" y="19"/>
                      </a:lnTo>
                      <a:lnTo>
                        <a:pt x="348" y="6"/>
                      </a:lnTo>
                      <a:lnTo>
                        <a:pt x="340" y="1"/>
                      </a:lnTo>
                      <a:lnTo>
                        <a:pt x="307" y="0"/>
                      </a:lnTo>
                      <a:lnTo>
                        <a:pt x="301" y="10"/>
                      </a:lnTo>
                      <a:lnTo>
                        <a:pt x="297" y="19"/>
                      </a:lnTo>
                      <a:lnTo>
                        <a:pt x="287" y="27"/>
                      </a:lnTo>
                      <a:lnTo>
                        <a:pt x="278" y="31"/>
                      </a:lnTo>
                      <a:lnTo>
                        <a:pt x="267" y="32"/>
                      </a:lnTo>
                      <a:lnTo>
                        <a:pt x="256" y="31"/>
                      </a:lnTo>
                      <a:lnTo>
                        <a:pt x="249" y="25"/>
                      </a:lnTo>
                      <a:lnTo>
                        <a:pt x="235" y="20"/>
                      </a:lnTo>
                      <a:close/>
                    </a:path>
                  </a:pathLst>
                </a:custGeom>
                <a:solidFill>
                  <a:schemeClr val="bg2">
                    <a:lumMod val="60000"/>
                    <a:lumOff val="40000"/>
                  </a:schemeClr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87" name="Freeform 355"/>
                <p:cNvSpPr>
                  <a:spLocks/>
                </p:cNvSpPr>
                <p:nvPr/>
              </p:nvSpPr>
              <p:spPr bwMode="gray">
                <a:xfrm>
                  <a:off x="4629134" y="1759835"/>
                  <a:ext cx="192122" cy="182101"/>
                </a:xfrm>
                <a:custGeom>
                  <a:avLst/>
                  <a:gdLst>
                    <a:gd name="T0" fmla="*/ 46325 w 545"/>
                    <a:gd name="T1" fmla="*/ 26937 h 511"/>
                    <a:gd name="T2" fmla="*/ 48107 w 545"/>
                    <a:gd name="T3" fmla="*/ 29838 h 511"/>
                    <a:gd name="T4" fmla="*/ 48107 w 545"/>
                    <a:gd name="T5" fmla="*/ 33153 h 511"/>
                    <a:gd name="T6" fmla="*/ 43653 w 545"/>
                    <a:gd name="T7" fmla="*/ 36883 h 511"/>
                    <a:gd name="T8" fmla="*/ 41871 w 545"/>
                    <a:gd name="T9" fmla="*/ 42685 h 511"/>
                    <a:gd name="T10" fmla="*/ 39644 w 545"/>
                    <a:gd name="T11" fmla="*/ 42271 h 511"/>
                    <a:gd name="T12" fmla="*/ 36971 w 545"/>
                    <a:gd name="T13" fmla="*/ 40198 h 511"/>
                    <a:gd name="T14" fmla="*/ 33853 w 545"/>
                    <a:gd name="T15" fmla="*/ 40613 h 511"/>
                    <a:gd name="T16" fmla="*/ 30735 w 545"/>
                    <a:gd name="T17" fmla="*/ 40613 h 511"/>
                    <a:gd name="T18" fmla="*/ 28063 w 545"/>
                    <a:gd name="T19" fmla="*/ 41442 h 511"/>
                    <a:gd name="T20" fmla="*/ 25835 w 545"/>
                    <a:gd name="T21" fmla="*/ 39370 h 511"/>
                    <a:gd name="T22" fmla="*/ 23163 w 545"/>
                    <a:gd name="T23" fmla="*/ 39784 h 511"/>
                    <a:gd name="T24" fmla="*/ 18708 w 545"/>
                    <a:gd name="T25" fmla="*/ 36054 h 511"/>
                    <a:gd name="T26" fmla="*/ 17817 w 545"/>
                    <a:gd name="T27" fmla="*/ 34397 h 511"/>
                    <a:gd name="T28" fmla="*/ 13363 w 545"/>
                    <a:gd name="T29" fmla="*/ 33982 h 511"/>
                    <a:gd name="T30" fmla="*/ 12027 w 545"/>
                    <a:gd name="T31" fmla="*/ 34811 h 511"/>
                    <a:gd name="T32" fmla="*/ 10690 w 545"/>
                    <a:gd name="T33" fmla="*/ 32325 h 511"/>
                    <a:gd name="T34" fmla="*/ 8909 w 545"/>
                    <a:gd name="T35" fmla="*/ 31081 h 511"/>
                    <a:gd name="T36" fmla="*/ 5791 w 545"/>
                    <a:gd name="T37" fmla="*/ 29838 h 511"/>
                    <a:gd name="T38" fmla="*/ 3118 w 545"/>
                    <a:gd name="T39" fmla="*/ 30252 h 511"/>
                    <a:gd name="T40" fmla="*/ 4009 w 545"/>
                    <a:gd name="T41" fmla="*/ 26523 h 511"/>
                    <a:gd name="T42" fmla="*/ 2227 w 545"/>
                    <a:gd name="T43" fmla="*/ 22379 h 511"/>
                    <a:gd name="T44" fmla="*/ 1782 w 545"/>
                    <a:gd name="T45" fmla="*/ 19478 h 511"/>
                    <a:gd name="T46" fmla="*/ 0 w 545"/>
                    <a:gd name="T47" fmla="*/ 15748 h 511"/>
                    <a:gd name="T48" fmla="*/ 891 w 545"/>
                    <a:gd name="T49" fmla="*/ 13261 h 511"/>
                    <a:gd name="T50" fmla="*/ 445 w 545"/>
                    <a:gd name="T51" fmla="*/ 9117 h 511"/>
                    <a:gd name="T52" fmla="*/ 1782 w 545"/>
                    <a:gd name="T53" fmla="*/ 8703 h 511"/>
                    <a:gd name="T54" fmla="*/ 1336 w 545"/>
                    <a:gd name="T55" fmla="*/ 7045 h 511"/>
                    <a:gd name="T56" fmla="*/ 3563 w 545"/>
                    <a:gd name="T57" fmla="*/ 6216 h 511"/>
                    <a:gd name="T58" fmla="*/ 8909 w 545"/>
                    <a:gd name="T59" fmla="*/ 4559 h 511"/>
                    <a:gd name="T60" fmla="*/ 15145 w 545"/>
                    <a:gd name="T61" fmla="*/ 829 h 511"/>
                    <a:gd name="T62" fmla="*/ 21381 w 545"/>
                    <a:gd name="T63" fmla="*/ 414 h 511"/>
                    <a:gd name="T64" fmla="*/ 22717 w 545"/>
                    <a:gd name="T65" fmla="*/ 1658 h 511"/>
                    <a:gd name="T66" fmla="*/ 22272 w 545"/>
                    <a:gd name="T67" fmla="*/ 4144 h 511"/>
                    <a:gd name="T68" fmla="*/ 23163 w 545"/>
                    <a:gd name="T69" fmla="*/ 3730 h 511"/>
                    <a:gd name="T70" fmla="*/ 25835 w 545"/>
                    <a:gd name="T71" fmla="*/ 3315 h 511"/>
                    <a:gd name="T72" fmla="*/ 33853 w 545"/>
                    <a:gd name="T73" fmla="*/ 4144 h 511"/>
                    <a:gd name="T74" fmla="*/ 42316 w 545"/>
                    <a:gd name="T75" fmla="*/ 3315 h 511"/>
                    <a:gd name="T76" fmla="*/ 45880 w 545"/>
                    <a:gd name="T77" fmla="*/ 6216 h 511"/>
                    <a:gd name="T78" fmla="*/ 47662 w 545"/>
                    <a:gd name="T79" fmla="*/ 13676 h 511"/>
                    <a:gd name="T80" fmla="*/ 46325 w 545"/>
                    <a:gd name="T81" fmla="*/ 17820 h 511"/>
                    <a:gd name="T82" fmla="*/ 44544 w 545"/>
                    <a:gd name="T83" fmla="*/ 20306 h 511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545"/>
                    <a:gd name="T127" fmla="*/ 0 h 511"/>
                    <a:gd name="T128" fmla="*/ 545 w 545"/>
                    <a:gd name="T129" fmla="*/ 511 h 511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545" h="511">
                      <a:moveTo>
                        <a:pt x="513" y="298"/>
                      </a:moveTo>
                      <a:lnTo>
                        <a:pt x="520" y="311"/>
                      </a:lnTo>
                      <a:lnTo>
                        <a:pt x="521" y="323"/>
                      </a:lnTo>
                      <a:lnTo>
                        <a:pt x="528" y="342"/>
                      </a:lnTo>
                      <a:lnTo>
                        <a:pt x="529" y="346"/>
                      </a:lnTo>
                      <a:lnTo>
                        <a:pt x="540" y="357"/>
                      </a:lnTo>
                      <a:lnTo>
                        <a:pt x="539" y="368"/>
                      </a:lnTo>
                      <a:lnTo>
                        <a:pt x="545" y="382"/>
                      </a:lnTo>
                      <a:lnTo>
                        <a:pt x="540" y="397"/>
                      </a:lnTo>
                      <a:lnTo>
                        <a:pt x="522" y="412"/>
                      </a:lnTo>
                      <a:lnTo>
                        <a:pt x="502" y="425"/>
                      </a:lnTo>
                      <a:lnTo>
                        <a:pt x="488" y="444"/>
                      </a:lnTo>
                      <a:lnTo>
                        <a:pt x="470" y="482"/>
                      </a:lnTo>
                      <a:lnTo>
                        <a:pt x="468" y="497"/>
                      </a:lnTo>
                      <a:lnTo>
                        <a:pt x="470" y="509"/>
                      </a:lnTo>
                      <a:lnTo>
                        <a:pt x="461" y="511"/>
                      </a:lnTo>
                      <a:lnTo>
                        <a:pt x="456" y="510"/>
                      </a:lnTo>
                      <a:lnTo>
                        <a:pt x="446" y="506"/>
                      </a:lnTo>
                      <a:lnTo>
                        <a:pt x="435" y="498"/>
                      </a:lnTo>
                      <a:lnTo>
                        <a:pt x="426" y="491"/>
                      </a:lnTo>
                      <a:lnTo>
                        <a:pt x="416" y="483"/>
                      </a:lnTo>
                      <a:lnTo>
                        <a:pt x="403" y="482"/>
                      </a:lnTo>
                      <a:lnTo>
                        <a:pt x="391" y="483"/>
                      </a:lnTo>
                      <a:lnTo>
                        <a:pt x="379" y="488"/>
                      </a:lnTo>
                      <a:lnTo>
                        <a:pt x="372" y="494"/>
                      </a:lnTo>
                      <a:lnTo>
                        <a:pt x="362" y="487"/>
                      </a:lnTo>
                      <a:lnTo>
                        <a:pt x="343" y="487"/>
                      </a:lnTo>
                      <a:lnTo>
                        <a:pt x="334" y="495"/>
                      </a:lnTo>
                      <a:lnTo>
                        <a:pt x="324" y="500"/>
                      </a:lnTo>
                      <a:lnTo>
                        <a:pt x="317" y="498"/>
                      </a:lnTo>
                      <a:lnTo>
                        <a:pt x="309" y="489"/>
                      </a:lnTo>
                      <a:lnTo>
                        <a:pt x="300" y="479"/>
                      </a:lnTo>
                      <a:lnTo>
                        <a:pt x="291" y="473"/>
                      </a:lnTo>
                      <a:lnTo>
                        <a:pt x="281" y="478"/>
                      </a:lnTo>
                      <a:lnTo>
                        <a:pt x="270" y="481"/>
                      </a:lnTo>
                      <a:lnTo>
                        <a:pt x="259" y="475"/>
                      </a:lnTo>
                      <a:lnTo>
                        <a:pt x="241" y="466"/>
                      </a:lnTo>
                      <a:lnTo>
                        <a:pt x="221" y="438"/>
                      </a:lnTo>
                      <a:lnTo>
                        <a:pt x="212" y="433"/>
                      </a:lnTo>
                      <a:lnTo>
                        <a:pt x="207" y="435"/>
                      </a:lnTo>
                      <a:lnTo>
                        <a:pt x="198" y="428"/>
                      </a:lnTo>
                      <a:lnTo>
                        <a:pt x="198" y="412"/>
                      </a:lnTo>
                      <a:lnTo>
                        <a:pt x="178" y="409"/>
                      </a:lnTo>
                      <a:lnTo>
                        <a:pt x="153" y="401"/>
                      </a:lnTo>
                      <a:lnTo>
                        <a:pt x="152" y="407"/>
                      </a:lnTo>
                      <a:lnTo>
                        <a:pt x="155" y="413"/>
                      </a:lnTo>
                      <a:lnTo>
                        <a:pt x="144" y="421"/>
                      </a:lnTo>
                      <a:lnTo>
                        <a:pt x="136" y="418"/>
                      </a:lnTo>
                      <a:lnTo>
                        <a:pt x="117" y="400"/>
                      </a:lnTo>
                      <a:lnTo>
                        <a:pt x="121" y="389"/>
                      </a:lnTo>
                      <a:lnTo>
                        <a:pt x="121" y="386"/>
                      </a:lnTo>
                      <a:lnTo>
                        <a:pt x="120" y="384"/>
                      </a:lnTo>
                      <a:lnTo>
                        <a:pt x="109" y="382"/>
                      </a:lnTo>
                      <a:lnTo>
                        <a:pt x="99" y="370"/>
                      </a:lnTo>
                      <a:lnTo>
                        <a:pt x="79" y="365"/>
                      </a:lnTo>
                      <a:lnTo>
                        <a:pt x="71" y="366"/>
                      </a:lnTo>
                      <a:lnTo>
                        <a:pt x="65" y="357"/>
                      </a:lnTo>
                      <a:lnTo>
                        <a:pt x="55" y="352"/>
                      </a:lnTo>
                      <a:lnTo>
                        <a:pt x="40" y="366"/>
                      </a:lnTo>
                      <a:lnTo>
                        <a:pt x="34" y="363"/>
                      </a:lnTo>
                      <a:lnTo>
                        <a:pt x="38" y="354"/>
                      </a:lnTo>
                      <a:lnTo>
                        <a:pt x="42" y="337"/>
                      </a:lnTo>
                      <a:lnTo>
                        <a:pt x="43" y="316"/>
                      </a:lnTo>
                      <a:lnTo>
                        <a:pt x="42" y="312"/>
                      </a:lnTo>
                      <a:lnTo>
                        <a:pt x="26" y="293"/>
                      </a:lnTo>
                      <a:lnTo>
                        <a:pt x="23" y="269"/>
                      </a:lnTo>
                      <a:lnTo>
                        <a:pt x="23" y="258"/>
                      </a:lnTo>
                      <a:lnTo>
                        <a:pt x="22" y="242"/>
                      </a:lnTo>
                      <a:lnTo>
                        <a:pt x="20" y="233"/>
                      </a:lnTo>
                      <a:lnTo>
                        <a:pt x="17" y="209"/>
                      </a:lnTo>
                      <a:lnTo>
                        <a:pt x="16" y="201"/>
                      </a:lnTo>
                      <a:lnTo>
                        <a:pt x="1" y="190"/>
                      </a:lnTo>
                      <a:lnTo>
                        <a:pt x="0" y="182"/>
                      </a:lnTo>
                      <a:lnTo>
                        <a:pt x="5" y="170"/>
                      </a:lnTo>
                      <a:lnTo>
                        <a:pt x="11" y="158"/>
                      </a:lnTo>
                      <a:lnTo>
                        <a:pt x="12" y="145"/>
                      </a:lnTo>
                      <a:lnTo>
                        <a:pt x="12" y="128"/>
                      </a:lnTo>
                      <a:lnTo>
                        <a:pt x="4" y="111"/>
                      </a:lnTo>
                      <a:lnTo>
                        <a:pt x="1" y="102"/>
                      </a:lnTo>
                      <a:lnTo>
                        <a:pt x="18" y="110"/>
                      </a:lnTo>
                      <a:lnTo>
                        <a:pt x="21" y="105"/>
                      </a:lnTo>
                      <a:lnTo>
                        <a:pt x="21" y="96"/>
                      </a:lnTo>
                      <a:lnTo>
                        <a:pt x="7" y="93"/>
                      </a:lnTo>
                      <a:lnTo>
                        <a:pt x="16" y="86"/>
                      </a:lnTo>
                      <a:lnTo>
                        <a:pt x="26" y="83"/>
                      </a:lnTo>
                      <a:lnTo>
                        <a:pt x="27" y="86"/>
                      </a:lnTo>
                      <a:lnTo>
                        <a:pt x="38" y="74"/>
                      </a:lnTo>
                      <a:lnTo>
                        <a:pt x="51" y="67"/>
                      </a:lnTo>
                      <a:lnTo>
                        <a:pt x="70" y="63"/>
                      </a:lnTo>
                      <a:lnTo>
                        <a:pt x="102" y="53"/>
                      </a:lnTo>
                      <a:lnTo>
                        <a:pt x="134" y="26"/>
                      </a:lnTo>
                      <a:lnTo>
                        <a:pt x="149" y="21"/>
                      </a:lnTo>
                      <a:lnTo>
                        <a:pt x="172" y="9"/>
                      </a:lnTo>
                      <a:lnTo>
                        <a:pt x="215" y="0"/>
                      </a:lnTo>
                      <a:lnTo>
                        <a:pt x="228" y="0"/>
                      </a:lnTo>
                      <a:lnTo>
                        <a:pt x="239" y="3"/>
                      </a:lnTo>
                      <a:lnTo>
                        <a:pt x="248" y="7"/>
                      </a:lnTo>
                      <a:lnTo>
                        <a:pt x="255" y="15"/>
                      </a:lnTo>
                      <a:lnTo>
                        <a:pt x="254" y="21"/>
                      </a:lnTo>
                      <a:lnTo>
                        <a:pt x="236" y="10"/>
                      </a:lnTo>
                      <a:lnTo>
                        <a:pt x="237" y="16"/>
                      </a:lnTo>
                      <a:lnTo>
                        <a:pt x="250" y="50"/>
                      </a:lnTo>
                      <a:lnTo>
                        <a:pt x="257" y="52"/>
                      </a:lnTo>
                      <a:lnTo>
                        <a:pt x="258" y="48"/>
                      </a:lnTo>
                      <a:lnTo>
                        <a:pt x="262" y="45"/>
                      </a:lnTo>
                      <a:lnTo>
                        <a:pt x="266" y="48"/>
                      </a:lnTo>
                      <a:lnTo>
                        <a:pt x="276" y="45"/>
                      </a:lnTo>
                      <a:lnTo>
                        <a:pt x="290" y="42"/>
                      </a:lnTo>
                      <a:lnTo>
                        <a:pt x="300" y="36"/>
                      </a:lnTo>
                      <a:lnTo>
                        <a:pt x="314" y="41"/>
                      </a:lnTo>
                      <a:lnTo>
                        <a:pt x="378" y="52"/>
                      </a:lnTo>
                      <a:lnTo>
                        <a:pt x="426" y="51"/>
                      </a:lnTo>
                      <a:lnTo>
                        <a:pt x="453" y="45"/>
                      </a:lnTo>
                      <a:lnTo>
                        <a:pt x="477" y="42"/>
                      </a:lnTo>
                      <a:lnTo>
                        <a:pt x="491" y="50"/>
                      </a:lnTo>
                      <a:lnTo>
                        <a:pt x="510" y="63"/>
                      </a:lnTo>
                      <a:lnTo>
                        <a:pt x="515" y="74"/>
                      </a:lnTo>
                      <a:lnTo>
                        <a:pt x="515" y="81"/>
                      </a:lnTo>
                      <a:lnTo>
                        <a:pt x="516" y="91"/>
                      </a:lnTo>
                      <a:lnTo>
                        <a:pt x="534" y="163"/>
                      </a:lnTo>
                      <a:lnTo>
                        <a:pt x="534" y="179"/>
                      </a:lnTo>
                      <a:lnTo>
                        <a:pt x="533" y="196"/>
                      </a:lnTo>
                      <a:lnTo>
                        <a:pt x="522" y="212"/>
                      </a:lnTo>
                      <a:lnTo>
                        <a:pt x="507" y="220"/>
                      </a:lnTo>
                      <a:lnTo>
                        <a:pt x="496" y="234"/>
                      </a:lnTo>
                      <a:lnTo>
                        <a:pt x="502" y="245"/>
                      </a:lnTo>
                      <a:lnTo>
                        <a:pt x="517" y="257"/>
                      </a:lnTo>
                      <a:lnTo>
                        <a:pt x="513" y="298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  <p:sp>
              <p:nvSpPr>
                <p:cNvPr id="488" name="Freeform 356"/>
                <p:cNvSpPr>
                  <a:spLocks/>
                </p:cNvSpPr>
                <p:nvPr/>
              </p:nvSpPr>
              <p:spPr bwMode="gray">
                <a:xfrm>
                  <a:off x="4763494" y="1705476"/>
                  <a:ext cx="110501" cy="84256"/>
                </a:xfrm>
                <a:custGeom>
                  <a:avLst/>
                  <a:gdLst>
                    <a:gd name="T0" fmla="*/ 443 w 317"/>
                    <a:gd name="T1" fmla="*/ 4449 h 244"/>
                    <a:gd name="T2" fmla="*/ 443 w 317"/>
                    <a:gd name="T3" fmla="*/ 6067 h 244"/>
                    <a:gd name="T4" fmla="*/ 443 w 317"/>
                    <a:gd name="T5" fmla="*/ 5258 h 244"/>
                    <a:gd name="T6" fmla="*/ 885 w 317"/>
                    <a:gd name="T7" fmla="*/ 7280 h 244"/>
                    <a:gd name="T8" fmla="*/ 885 w 317"/>
                    <a:gd name="T9" fmla="*/ 8898 h 244"/>
                    <a:gd name="T10" fmla="*/ 1328 w 317"/>
                    <a:gd name="T11" fmla="*/ 9302 h 244"/>
                    <a:gd name="T12" fmla="*/ 2656 w 317"/>
                    <a:gd name="T13" fmla="*/ 9707 h 244"/>
                    <a:gd name="T14" fmla="*/ 3984 w 317"/>
                    <a:gd name="T15" fmla="*/ 10111 h 244"/>
                    <a:gd name="T16" fmla="*/ 6197 w 317"/>
                    <a:gd name="T17" fmla="*/ 10516 h 244"/>
                    <a:gd name="T18" fmla="*/ 7967 w 317"/>
                    <a:gd name="T19" fmla="*/ 10920 h 244"/>
                    <a:gd name="T20" fmla="*/ 8410 w 317"/>
                    <a:gd name="T21" fmla="*/ 13751 h 244"/>
                    <a:gd name="T22" fmla="*/ 8853 w 317"/>
                    <a:gd name="T23" fmla="*/ 16178 h 244"/>
                    <a:gd name="T24" fmla="*/ 11508 w 317"/>
                    <a:gd name="T25" fmla="*/ 17796 h 244"/>
                    <a:gd name="T26" fmla="*/ 11951 w 317"/>
                    <a:gd name="T27" fmla="*/ 19009 h 244"/>
                    <a:gd name="T28" fmla="*/ 14607 w 317"/>
                    <a:gd name="T29" fmla="*/ 19009 h 244"/>
                    <a:gd name="T30" fmla="*/ 16820 w 317"/>
                    <a:gd name="T31" fmla="*/ 19009 h 244"/>
                    <a:gd name="T32" fmla="*/ 18148 w 317"/>
                    <a:gd name="T33" fmla="*/ 19009 h 244"/>
                    <a:gd name="T34" fmla="*/ 18590 w 317"/>
                    <a:gd name="T35" fmla="*/ 17796 h 244"/>
                    <a:gd name="T36" fmla="*/ 19918 w 317"/>
                    <a:gd name="T37" fmla="*/ 17392 h 244"/>
                    <a:gd name="T38" fmla="*/ 20804 w 317"/>
                    <a:gd name="T39" fmla="*/ 16583 h 244"/>
                    <a:gd name="T40" fmla="*/ 21689 w 317"/>
                    <a:gd name="T41" fmla="*/ 17392 h 244"/>
                    <a:gd name="T42" fmla="*/ 23017 w 317"/>
                    <a:gd name="T43" fmla="*/ 17392 h 244"/>
                    <a:gd name="T44" fmla="*/ 22574 w 317"/>
                    <a:gd name="T45" fmla="*/ 16178 h 244"/>
                    <a:gd name="T46" fmla="*/ 22574 w 317"/>
                    <a:gd name="T47" fmla="*/ 14965 h 244"/>
                    <a:gd name="T48" fmla="*/ 23017 w 317"/>
                    <a:gd name="T49" fmla="*/ 13347 h 244"/>
                    <a:gd name="T50" fmla="*/ 23459 w 317"/>
                    <a:gd name="T51" fmla="*/ 12134 h 244"/>
                    <a:gd name="T52" fmla="*/ 23902 w 317"/>
                    <a:gd name="T53" fmla="*/ 11325 h 244"/>
                    <a:gd name="T54" fmla="*/ 25230 w 317"/>
                    <a:gd name="T55" fmla="*/ 10516 h 244"/>
                    <a:gd name="T56" fmla="*/ 27000 w 317"/>
                    <a:gd name="T57" fmla="*/ 10111 h 244"/>
                    <a:gd name="T58" fmla="*/ 27443 w 317"/>
                    <a:gd name="T59" fmla="*/ 8494 h 244"/>
                    <a:gd name="T60" fmla="*/ 26558 w 317"/>
                    <a:gd name="T61" fmla="*/ 7685 h 244"/>
                    <a:gd name="T62" fmla="*/ 27000 w 317"/>
                    <a:gd name="T63" fmla="*/ 6876 h 244"/>
                    <a:gd name="T64" fmla="*/ 27443 w 317"/>
                    <a:gd name="T65" fmla="*/ 6471 h 244"/>
                    <a:gd name="T66" fmla="*/ 27000 w 317"/>
                    <a:gd name="T67" fmla="*/ 5662 h 244"/>
                    <a:gd name="T68" fmla="*/ 24787 w 317"/>
                    <a:gd name="T69" fmla="*/ 3640 h 244"/>
                    <a:gd name="T70" fmla="*/ 20804 w 317"/>
                    <a:gd name="T71" fmla="*/ 2427 h 244"/>
                    <a:gd name="T72" fmla="*/ 19476 w 317"/>
                    <a:gd name="T73" fmla="*/ 404 h 244"/>
                    <a:gd name="T74" fmla="*/ 18148 w 317"/>
                    <a:gd name="T75" fmla="*/ 0 h 244"/>
                    <a:gd name="T76" fmla="*/ 15935 w 317"/>
                    <a:gd name="T77" fmla="*/ 1213 h 244"/>
                    <a:gd name="T78" fmla="*/ 12394 w 317"/>
                    <a:gd name="T79" fmla="*/ 404 h 244"/>
                    <a:gd name="T80" fmla="*/ 10180 w 317"/>
                    <a:gd name="T81" fmla="*/ 404 h 244"/>
                    <a:gd name="T82" fmla="*/ 8853 w 317"/>
                    <a:gd name="T83" fmla="*/ 404 h 244"/>
                    <a:gd name="T84" fmla="*/ 7967 w 317"/>
                    <a:gd name="T85" fmla="*/ 404 h 244"/>
                    <a:gd name="T86" fmla="*/ 5754 w 317"/>
                    <a:gd name="T87" fmla="*/ 404 h 244"/>
                    <a:gd name="T88" fmla="*/ 2213 w 317"/>
                    <a:gd name="T89" fmla="*/ 1618 h 244"/>
                    <a:gd name="T90" fmla="*/ 885 w 317"/>
                    <a:gd name="T91" fmla="*/ 2831 h 244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317"/>
                    <a:gd name="T139" fmla="*/ 0 h 244"/>
                    <a:gd name="T140" fmla="*/ 317 w 317"/>
                    <a:gd name="T141" fmla="*/ 244 h 244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317" h="244">
                      <a:moveTo>
                        <a:pt x="0" y="35"/>
                      </a:moveTo>
                      <a:lnTo>
                        <a:pt x="3" y="57"/>
                      </a:lnTo>
                      <a:lnTo>
                        <a:pt x="3" y="71"/>
                      </a:lnTo>
                      <a:lnTo>
                        <a:pt x="5" y="78"/>
                      </a:lnTo>
                      <a:lnTo>
                        <a:pt x="3" y="54"/>
                      </a:lnTo>
                      <a:lnTo>
                        <a:pt x="4" y="64"/>
                      </a:lnTo>
                      <a:lnTo>
                        <a:pt x="6" y="72"/>
                      </a:lnTo>
                      <a:lnTo>
                        <a:pt x="11" y="94"/>
                      </a:lnTo>
                      <a:lnTo>
                        <a:pt x="13" y="102"/>
                      </a:lnTo>
                      <a:lnTo>
                        <a:pt x="11" y="110"/>
                      </a:lnTo>
                      <a:lnTo>
                        <a:pt x="14" y="110"/>
                      </a:lnTo>
                      <a:lnTo>
                        <a:pt x="15" y="118"/>
                      </a:lnTo>
                      <a:lnTo>
                        <a:pt x="25" y="115"/>
                      </a:lnTo>
                      <a:lnTo>
                        <a:pt x="31" y="120"/>
                      </a:lnTo>
                      <a:lnTo>
                        <a:pt x="38" y="123"/>
                      </a:lnTo>
                      <a:lnTo>
                        <a:pt x="44" y="127"/>
                      </a:lnTo>
                      <a:lnTo>
                        <a:pt x="52" y="131"/>
                      </a:lnTo>
                      <a:lnTo>
                        <a:pt x="69" y="134"/>
                      </a:lnTo>
                      <a:lnTo>
                        <a:pt x="85" y="132"/>
                      </a:lnTo>
                      <a:lnTo>
                        <a:pt x="91" y="136"/>
                      </a:lnTo>
                      <a:lnTo>
                        <a:pt x="102" y="159"/>
                      </a:lnTo>
                      <a:lnTo>
                        <a:pt x="96" y="174"/>
                      </a:lnTo>
                      <a:lnTo>
                        <a:pt x="96" y="191"/>
                      </a:lnTo>
                      <a:lnTo>
                        <a:pt x="99" y="201"/>
                      </a:lnTo>
                      <a:lnTo>
                        <a:pt x="113" y="209"/>
                      </a:lnTo>
                      <a:lnTo>
                        <a:pt x="132" y="222"/>
                      </a:lnTo>
                      <a:lnTo>
                        <a:pt x="137" y="233"/>
                      </a:lnTo>
                      <a:lnTo>
                        <a:pt x="137" y="240"/>
                      </a:lnTo>
                      <a:lnTo>
                        <a:pt x="151" y="244"/>
                      </a:lnTo>
                      <a:lnTo>
                        <a:pt x="167" y="240"/>
                      </a:lnTo>
                      <a:lnTo>
                        <a:pt x="183" y="243"/>
                      </a:lnTo>
                      <a:lnTo>
                        <a:pt x="191" y="239"/>
                      </a:lnTo>
                      <a:lnTo>
                        <a:pt x="197" y="234"/>
                      </a:lnTo>
                      <a:lnTo>
                        <a:pt x="204" y="238"/>
                      </a:lnTo>
                      <a:lnTo>
                        <a:pt x="212" y="237"/>
                      </a:lnTo>
                      <a:lnTo>
                        <a:pt x="209" y="222"/>
                      </a:lnTo>
                      <a:lnTo>
                        <a:pt x="215" y="220"/>
                      </a:lnTo>
                      <a:lnTo>
                        <a:pt x="224" y="220"/>
                      </a:lnTo>
                      <a:lnTo>
                        <a:pt x="229" y="213"/>
                      </a:lnTo>
                      <a:lnTo>
                        <a:pt x="236" y="209"/>
                      </a:lnTo>
                      <a:lnTo>
                        <a:pt x="245" y="211"/>
                      </a:lnTo>
                      <a:lnTo>
                        <a:pt x="248" y="218"/>
                      </a:lnTo>
                      <a:lnTo>
                        <a:pt x="256" y="222"/>
                      </a:lnTo>
                      <a:lnTo>
                        <a:pt x="263" y="220"/>
                      </a:lnTo>
                      <a:lnTo>
                        <a:pt x="262" y="211"/>
                      </a:lnTo>
                      <a:lnTo>
                        <a:pt x="257" y="205"/>
                      </a:lnTo>
                      <a:lnTo>
                        <a:pt x="253" y="197"/>
                      </a:lnTo>
                      <a:lnTo>
                        <a:pt x="255" y="190"/>
                      </a:lnTo>
                      <a:lnTo>
                        <a:pt x="263" y="175"/>
                      </a:lnTo>
                      <a:lnTo>
                        <a:pt x="263" y="168"/>
                      </a:lnTo>
                      <a:lnTo>
                        <a:pt x="266" y="159"/>
                      </a:lnTo>
                      <a:lnTo>
                        <a:pt x="266" y="151"/>
                      </a:lnTo>
                      <a:lnTo>
                        <a:pt x="267" y="143"/>
                      </a:lnTo>
                      <a:lnTo>
                        <a:pt x="274" y="140"/>
                      </a:lnTo>
                      <a:lnTo>
                        <a:pt x="283" y="137"/>
                      </a:lnTo>
                      <a:lnTo>
                        <a:pt x="288" y="132"/>
                      </a:lnTo>
                      <a:lnTo>
                        <a:pt x="295" y="129"/>
                      </a:lnTo>
                      <a:lnTo>
                        <a:pt x="309" y="129"/>
                      </a:lnTo>
                      <a:lnTo>
                        <a:pt x="317" y="110"/>
                      </a:lnTo>
                      <a:lnTo>
                        <a:pt x="310" y="107"/>
                      </a:lnTo>
                      <a:lnTo>
                        <a:pt x="301" y="107"/>
                      </a:lnTo>
                      <a:lnTo>
                        <a:pt x="301" y="99"/>
                      </a:lnTo>
                      <a:lnTo>
                        <a:pt x="301" y="91"/>
                      </a:lnTo>
                      <a:lnTo>
                        <a:pt x="309" y="87"/>
                      </a:lnTo>
                      <a:lnTo>
                        <a:pt x="315" y="81"/>
                      </a:lnTo>
                      <a:lnTo>
                        <a:pt x="313" y="80"/>
                      </a:lnTo>
                      <a:lnTo>
                        <a:pt x="313" y="78"/>
                      </a:lnTo>
                      <a:lnTo>
                        <a:pt x="307" y="73"/>
                      </a:lnTo>
                      <a:lnTo>
                        <a:pt x="300" y="71"/>
                      </a:lnTo>
                      <a:lnTo>
                        <a:pt x="282" y="48"/>
                      </a:lnTo>
                      <a:lnTo>
                        <a:pt x="255" y="29"/>
                      </a:lnTo>
                      <a:lnTo>
                        <a:pt x="239" y="30"/>
                      </a:lnTo>
                      <a:lnTo>
                        <a:pt x="231" y="28"/>
                      </a:lnTo>
                      <a:lnTo>
                        <a:pt x="221" y="5"/>
                      </a:lnTo>
                      <a:lnTo>
                        <a:pt x="215" y="0"/>
                      </a:lnTo>
                      <a:lnTo>
                        <a:pt x="208" y="2"/>
                      </a:lnTo>
                      <a:lnTo>
                        <a:pt x="197" y="13"/>
                      </a:lnTo>
                      <a:lnTo>
                        <a:pt x="181" y="17"/>
                      </a:lnTo>
                      <a:lnTo>
                        <a:pt x="150" y="6"/>
                      </a:lnTo>
                      <a:lnTo>
                        <a:pt x="143" y="6"/>
                      </a:lnTo>
                      <a:lnTo>
                        <a:pt x="126" y="3"/>
                      </a:lnTo>
                      <a:lnTo>
                        <a:pt x="118" y="6"/>
                      </a:lnTo>
                      <a:lnTo>
                        <a:pt x="111" y="3"/>
                      </a:lnTo>
                      <a:lnTo>
                        <a:pt x="103" y="7"/>
                      </a:lnTo>
                      <a:lnTo>
                        <a:pt x="95" y="7"/>
                      </a:lnTo>
                      <a:lnTo>
                        <a:pt x="89" y="3"/>
                      </a:lnTo>
                      <a:lnTo>
                        <a:pt x="80" y="2"/>
                      </a:lnTo>
                      <a:lnTo>
                        <a:pt x="64" y="3"/>
                      </a:lnTo>
                      <a:lnTo>
                        <a:pt x="41" y="11"/>
                      </a:lnTo>
                      <a:lnTo>
                        <a:pt x="26" y="19"/>
                      </a:lnTo>
                      <a:lnTo>
                        <a:pt x="17" y="33"/>
                      </a:lnTo>
                      <a:lnTo>
                        <a:pt x="10" y="38"/>
                      </a:lnTo>
                      <a:lnTo>
                        <a:pt x="0" y="35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 sz="1400"/>
                </a:p>
              </p:txBody>
            </p:sp>
          </p:grpSp>
          <p:sp>
            <p:nvSpPr>
              <p:cNvPr id="253" name="Шестиугольник 252"/>
              <p:cNvSpPr>
                <a:spLocks noChangeAspect="1"/>
              </p:cNvSpPr>
              <p:nvPr/>
            </p:nvSpPr>
            <p:spPr bwMode="auto">
              <a:xfrm>
                <a:off x="2844902" y="2279329"/>
                <a:ext cx="116505" cy="108000"/>
              </a:xfrm>
              <a:prstGeom prst="hexagon">
                <a:avLst/>
              </a:prstGeom>
              <a:solidFill>
                <a:schemeClr val="accent2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1000" sy="111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54" name="Овал 253"/>
              <p:cNvSpPr>
                <a:spLocks noChangeAspect="1"/>
              </p:cNvSpPr>
              <p:nvPr/>
            </p:nvSpPr>
            <p:spPr bwMode="auto">
              <a:xfrm>
                <a:off x="2728950" y="2650096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1000" sy="111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55" name="Шестиугольник 254"/>
              <p:cNvSpPr>
                <a:spLocks noChangeAspect="1"/>
              </p:cNvSpPr>
              <p:nvPr/>
            </p:nvSpPr>
            <p:spPr bwMode="auto">
              <a:xfrm>
                <a:off x="3480837" y="2698515"/>
                <a:ext cx="116505" cy="108000"/>
              </a:xfrm>
              <a:prstGeom prst="hexagon">
                <a:avLst/>
              </a:prstGeom>
              <a:solidFill>
                <a:schemeClr val="accent2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1000" sy="111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56" name="Овал 255"/>
              <p:cNvSpPr>
                <a:spLocks noChangeAspect="1"/>
              </p:cNvSpPr>
              <p:nvPr/>
            </p:nvSpPr>
            <p:spPr bwMode="auto">
              <a:xfrm>
                <a:off x="3732242" y="1550578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1000" sy="111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57" name="Ромб 256"/>
              <p:cNvSpPr>
                <a:spLocks noChangeAspect="1"/>
              </p:cNvSpPr>
              <p:nvPr/>
            </p:nvSpPr>
            <p:spPr bwMode="auto">
              <a:xfrm>
                <a:off x="3898373" y="2473187"/>
                <a:ext cx="108000" cy="108000"/>
              </a:xfrm>
              <a:prstGeom prst="diamond">
                <a:avLst/>
              </a:prstGeom>
              <a:solidFill>
                <a:schemeClr val="accent4"/>
              </a:solidFill>
              <a:ln w="31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1000" sy="111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58" name="Овал 257"/>
              <p:cNvSpPr>
                <a:spLocks noChangeAspect="1"/>
              </p:cNvSpPr>
              <p:nvPr/>
            </p:nvSpPr>
            <p:spPr bwMode="auto">
              <a:xfrm>
                <a:off x="4301303" y="2054764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2000" sy="112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59" name="Овал 258"/>
              <p:cNvSpPr>
                <a:spLocks noChangeAspect="1"/>
              </p:cNvSpPr>
              <p:nvPr/>
            </p:nvSpPr>
            <p:spPr bwMode="auto">
              <a:xfrm>
                <a:off x="4584845" y="1846571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1000" sy="111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60" name="Овал 259"/>
              <p:cNvSpPr>
                <a:spLocks noChangeAspect="1"/>
              </p:cNvSpPr>
              <p:nvPr/>
            </p:nvSpPr>
            <p:spPr bwMode="auto">
              <a:xfrm>
                <a:off x="4590383" y="1581057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1000" sy="111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61" name="Овал 260"/>
              <p:cNvSpPr>
                <a:spLocks noChangeAspect="1"/>
              </p:cNvSpPr>
              <p:nvPr/>
            </p:nvSpPr>
            <p:spPr bwMode="auto">
              <a:xfrm>
                <a:off x="3757073" y="1662233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1000" sy="111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62" name="Шестиугольник 261"/>
              <p:cNvSpPr>
                <a:spLocks noChangeAspect="1"/>
              </p:cNvSpPr>
              <p:nvPr/>
            </p:nvSpPr>
            <p:spPr bwMode="auto">
              <a:xfrm>
                <a:off x="3814883" y="1637013"/>
                <a:ext cx="116505" cy="108000"/>
              </a:xfrm>
              <a:prstGeom prst="hexagon">
                <a:avLst/>
              </a:prstGeom>
              <a:solidFill>
                <a:schemeClr val="accent2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1000" sy="111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b="1" dirty="0">
                  <a:latin typeface="Arial" charset="0"/>
                </a:endParaRPr>
              </a:p>
            </p:txBody>
          </p:sp>
          <p:sp>
            <p:nvSpPr>
              <p:cNvPr id="263" name="Равнобедренный треугольник 262"/>
              <p:cNvSpPr>
                <a:spLocks noChangeAspect="1"/>
              </p:cNvSpPr>
              <p:nvPr/>
            </p:nvSpPr>
            <p:spPr bwMode="auto">
              <a:xfrm>
                <a:off x="3807646" y="1686966"/>
                <a:ext cx="108000" cy="108000"/>
              </a:xfrm>
              <a:prstGeom prst="triangle">
                <a:avLst/>
              </a:prstGeom>
              <a:solidFill>
                <a:schemeClr val="accent3"/>
              </a:solidFill>
              <a:ln w="3175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1000" sy="111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64" name="Овал 263"/>
              <p:cNvSpPr>
                <a:spLocks noChangeAspect="1"/>
              </p:cNvSpPr>
              <p:nvPr/>
            </p:nvSpPr>
            <p:spPr bwMode="auto">
              <a:xfrm>
                <a:off x="3899760" y="1707029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1000" sy="111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b="1" dirty="0">
                  <a:latin typeface="Arial" charset="0"/>
                </a:endParaRPr>
              </a:p>
            </p:txBody>
          </p:sp>
          <p:sp>
            <p:nvSpPr>
              <p:cNvPr id="265" name="Овал 264"/>
              <p:cNvSpPr>
                <a:spLocks noChangeAspect="1"/>
              </p:cNvSpPr>
              <p:nvPr/>
            </p:nvSpPr>
            <p:spPr bwMode="auto">
              <a:xfrm>
                <a:off x="4050147" y="1702268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1000" sy="111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66" name="Овал 265"/>
              <p:cNvSpPr>
                <a:spLocks noChangeAspect="1"/>
              </p:cNvSpPr>
              <p:nvPr/>
            </p:nvSpPr>
            <p:spPr bwMode="auto">
              <a:xfrm>
                <a:off x="4109596" y="1626169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1000" sy="111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67" name="Шестиугольник 266"/>
              <p:cNvSpPr>
                <a:spLocks noChangeAspect="1"/>
              </p:cNvSpPr>
              <p:nvPr/>
            </p:nvSpPr>
            <p:spPr bwMode="auto">
              <a:xfrm>
                <a:off x="4148897" y="1700398"/>
                <a:ext cx="116505" cy="108000"/>
              </a:xfrm>
              <a:prstGeom prst="hexagon">
                <a:avLst/>
              </a:prstGeom>
              <a:solidFill>
                <a:schemeClr val="accent2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1000" sy="111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b="1" dirty="0">
                  <a:latin typeface="Arial" charset="0"/>
                </a:endParaRPr>
              </a:p>
            </p:txBody>
          </p:sp>
          <p:sp>
            <p:nvSpPr>
              <p:cNvPr id="268" name="Овал 267"/>
              <p:cNvSpPr>
                <a:spLocks noChangeAspect="1"/>
              </p:cNvSpPr>
              <p:nvPr/>
            </p:nvSpPr>
            <p:spPr bwMode="auto">
              <a:xfrm>
                <a:off x="4109596" y="1777756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1000" sy="111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69" name="Овал 268"/>
              <p:cNvSpPr>
                <a:spLocks noChangeAspect="1"/>
              </p:cNvSpPr>
              <p:nvPr/>
            </p:nvSpPr>
            <p:spPr bwMode="auto">
              <a:xfrm>
                <a:off x="4178199" y="1777756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1000" sy="111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70" name="Овал 269"/>
              <p:cNvSpPr>
                <a:spLocks noChangeAspect="1"/>
              </p:cNvSpPr>
              <p:nvPr/>
            </p:nvSpPr>
            <p:spPr bwMode="auto">
              <a:xfrm>
                <a:off x="4299123" y="1784851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1000" sy="111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71" name="Овал 270"/>
              <p:cNvSpPr>
                <a:spLocks noChangeAspect="1"/>
              </p:cNvSpPr>
              <p:nvPr/>
            </p:nvSpPr>
            <p:spPr bwMode="auto">
              <a:xfrm>
                <a:off x="4413255" y="1812097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1000" sy="111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78" name="Овал 277"/>
              <p:cNvSpPr>
                <a:spLocks noChangeAspect="1"/>
              </p:cNvSpPr>
              <p:nvPr/>
            </p:nvSpPr>
            <p:spPr bwMode="auto">
              <a:xfrm>
                <a:off x="5284237" y="1406116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1000" sy="111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79" name="Овал 278"/>
              <p:cNvSpPr>
                <a:spLocks noChangeAspect="1"/>
              </p:cNvSpPr>
              <p:nvPr/>
            </p:nvSpPr>
            <p:spPr bwMode="auto">
              <a:xfrm>
                <a:off x="5162558" y="1331434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1000" sy="111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82" name="Овал 281"/>
              <p:cNvSpPr>
                <a:spLocks noChangeAspect="1"/>
              </p:cNvSpPr>
              <p:nvPr/>
            </p:nvSpPr>
            <p:spPr bwMode="auto">
              <a:xfrm>
                <a:off x="5217168" y="1641170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1000" sy="111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83" name="Овал 282"/>
              <p:cNvSpPr>
                <a:spLocks noChangeAspect="1"/>
              </p:cNvSpPr>
              <p:nvPr/>
            </p:nvSpPr>
            <p:spPr bwMode="auto">
              <a:xfrm>
                <a:off x="5621449" y="1817704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1000" sy="111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84" name="Равнобедренный треугольник 283"/>
              <p:cNvSpPr>
                <a:spLocks noChangeAspect="1"/>
              </p:cNvSpPr>
              <p:nvPr/>
            </p:nvSpPr>
            <p:spPr bwMode="auto">
              <a:xfrm>
                <a:off x="6171007" y="1712107"/>
                <a:ext cx="108000" cy="108000"/>
              </a:xfrm>
              <a:prstGeom prst="triangle">
                <a:avLst/>
              </a:prstGeom>
              <a:solidFill>
                <a:schemeClr val="accent3"/>
              </a:solidFill>
              <a:ln w="3175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1000" sy="111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85" name="Овал 284"/>
              <p:cNvSpPr>
                <a:spLocks noChangeAspect="1"/>
              </p:cNvSpPr>
              <p:nvPr/>
            </p:nvSpPr>
            <p:spPr bwMode="auto">
              <a:xfrm>
                <a:off x="6091481" y="1713449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1000" sy="111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86" name="Овал 285"/>
              <p:cNvSpPr>
                <a:spLocks noChangeAspect="1"/>
              </p:cNvSpPr>
              <p:nvPr/>
            </p:nvSpPr>
            <p:spPr bwMode="auto">
              <a:xfrm>
                <a:off x="6011955" y="1711788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1000" sy="111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b="1" dirty="0">
                  <a:latin typeface="Arial" charset="0"/>
                </a:endParaRPr>
              </a:p>
            </p:txBody>
          </p:sp>
          <p:sp>
            <p:nvSpPr>
              <p:cNvPr id="287" name="Овал 286"/>
              <p:cNvSpPr>
                <a:spLocks noChangeAspect="1"/>
              </p:cNvSpPr>
              <p:nvPr/>
            </p:nvSpPr>
            <p:spPr bwMode="auto">
              <a:xfrm>
                <a:off x="6656535" y="1806810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1000" sy="111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88" name="Прямоугольник 287"/>
              <p:cNvSpPr>
                <a:spLocks noChangeAspect="1"/>
              </p:cNvSpPr>
              <p:nvPr/>
            </p:nvSpPr>
            <p:spPr bwMode="auto">
              <a:xfrm>
                <a:off x="8259002" y="2073618"/>
                <a:ext cx="108000" cy="108000"/>
              </a:xfrm>
              <a:prstGeom prst="rect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1000" sy="111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89" name="Шестиугольник 288"/>
              <p:cNvSpPr>
                <a:spLocks noChangeAspect="1"/>
              </p:cNvSpPr>
              <p:nvPr/>
            </p:nvSpPr>
            <p:spPr bwMode="auto">
              <a:xfrm>
                <a:off x="7763966" y="3079780"/>
                <a:ext cx="116505" cy="108000"/>
              </a:xfrm>
              <a:prstGeom prst="hexagon">
                <a:avLst/>
              </a:prstGeom>
              <a:solidFill>
                <a:schemeClr val="accent2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1000" sy="111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90" name="Шестиугольник 289"/>
              <p:cNvSpPr>
                <a:spLocks noChangeAspect="1"/>
              </p:cNvSpPr>
              <p:nvPr/>
            </p:nvSpPr>
            <p:spPr bwMode="auto">
              <a:xfrm>
                <a:off x="7580399" y="2860445"/>
                <a:ext cx="116505" cy="108000"/>
              </a:xfrm>
              <a:prstGeom prst="hexagon">
                <a:avLst/>
              </a:prstGeom>
              <a:solidFill>
                <a:schemeClr val="accent2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1000" sy="111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91" name="Шестиугольник 290"/>
              <p:cNvSpPr>
                <a:spLocks noChangeAspect="1"/>
              </p:cNvSpPr>
              <p:nvPr/>
            </p:nvSpPr>
            <p:spPr bwMode="auto">
              <a:xfrm>
                <a:off x="7498288" y="3631439"/>
                <a:ext cx="116505" cy="108000"/>
              </a:xfrm>
              <a:prstGeom prst="hexagon">
                <a:avLst/>
              </a:prstGeom>
              <a:solidFill>
                <a:schemeClr val="accent2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1000" sy="111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92" name="Шестиугольник 291"/>
              <p:cNvSpPr>
                <a:spLocks noChangeAspect="1"/>
              </p:cNvSpPr>
              <p:nvPr/>
            </p:nvSpPr>
            <p:spPr bwMode="auto">
              <a:xfrm>
                <a:off x="7840120" y="3268436"/>
                <a:ext cx="116505" cy="108000"/>
              </a:xfrm>
              <a:prstGeom prst="hexagon">
                <a:avLst/>
              </a:prstGeom>
              <a:solidFill>
                <a:schemeClr val="accent2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1000" sy="111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93" name="Овал 292"/>
              <p:cNvSpPr>
                <a:spLocks noChangeAspect="1"/>
              </p:cNvSpPr>
              <p:nvPr/>
            </p:nvSpPr>
            <p:spPr bwMode="auto">
              <a:xfrm>
                <a:off x="5558770" y="3607152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1000" sy="111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94" name="Равнобедренный треугольник 293"/>
              <p:cNvSpPr>
                <a:spLocks noChangeAspect="1"/>
              </p:cNvSpPr>
              <p:nvPr/>
            </p:nvSpPr>
            <p:spPr bwMode="auto">
              <a:xfrm>
                <a:off x="4052397" y="2143454"/>
                <a:ext cx="108000" cy="108000"/>
              </a:xfrm>
              <a:prstGeom prst="triangle">
                <a:avLst/>
              </a:prstGeom>
              <a:solidFill>
                <a:schemeClr val="accent3"/>
              </a:solidFill>
              <a:ln w="3175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1000" sy="111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b="1" dirty="0">
                  <a:latin typeface="Arial" charset="0"/>
                </a:endParaRPr>
              </a:p>
            </p:txBody>
          </p:sp>
          <p:sp>
            <p:nvSpPr>
              <p:cNvPr id="297" name="Равнобедренный треугольник 296"/>
              <p:cNvSpPr>
                <a:spLocks noChangeAspect="1"/>
              </p:cNvSpPr>
              <p:nvPr/>
            </p:nvSpPr>
            <p:spPr bwMode="auto">
              <a:xfrm>
                <a:off x="3783471" y="1964500"/>
                <a:ext cx="108000" cy="108000"/>
              </a:xfrm>
              <a:prstGeom prst="triangle">
                <a:avLst/>
              </a:prstGeom>
              <a:solidFill>
                <a:schemeClr val="accent3"/>
              </a:solidFill>
              <a:ln w="3175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1000" sy="111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98" name="Овал 297"/>
              <p:cNvSpPr>
                <a:spLocks noChangeAspect="1"/>
              </p:cNvSpPr>
              <p:nvPr/>
            </p:nvSpPr>
            <p:spPr bwMode="auto">
              <a:xfrm>
                <a:off x="3703729" y="1973367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1000" sy="111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99" name="Овал 298"/>
              <p:cNvSpPr>
                <a:spLocks noChangeAspect="1"/>
              </p:cNvSpPr>
              <p:nvPr/>
            </p:nvSpPr>
            <p:spPr bwMode="auto">
              <a:xfrm>
                <a:off x="3971804" y="2147658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1000" sy="111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342" name="TextBox 341"/>
              <p:cNvSpPr txBox="1"/>
              <p:nvPr/>
            </p:nvSpPr>
            <p:spPr>
              <a:xfrm>
                <a:off x="3422135" y="1505694"/>
                <a:ext cx="368406" cy="1200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800"/>
                  </a:lnSpc>
                </a:pPr>
                <a:r>
                  <a:rPr lang="ru-RU" sz="700" dirty="0" smtClean="0">
                    <a:solidFill>
                      <a:schemeClr val="tx2"/>
                    </a:solidFill>
                  </a:rPr>
                  <a:t>Тверь</a:t>
                </a:r>
                <a:endParaRPr lang="en-US" sz="7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3" name="TextBox 342"/>
              <p:cNvSpPr txBox="1"/>
              <p:nvPr/>
            </p:nvSpPr>
            <p:spPr>
              <a:xfrm>
                <a:off x="3296066" y="1704171"/>
                <a:ext cx="505982" cy="1200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800"/>
                  </a:lnSpc>
                </a:pPr>
                <a:r>
                  <a:rPr lang="ru-RU" sz="700" dirty="0" smtClean="0">
                    <a:solidFill>
                      <a:schemeClr val="tx2"/>
                    </a:solidFill>
                  </a:rPr>
                  <a:t>МОСКВА</a:t>
                </a:r>
                <a:endParaRPr lang="en-US" sz="7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5" name="TextBox 344"/>
              <p:cNvSpPr txBox="1"/>
              <p:nvPr/>
            </p:nvSpPr>
            <p:spPr>
              <a:xfrm>
                <a:off x="4000722" y="2262555"/>
                <a:ext cx="520533" cy="1200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800"/>
                  </a:lnSpc>
                </a:pPr>
                <a:r>
                  <a:rPr lang="ru-RU" sz="700" dirty="0" smtClean="0">
                    <a:solidFill>
                      <a:schemeClr val="tx2"/>
                    </a:solidFill>
                  </a:rPr>
                  <a:t>Воронеж</a:t>
                </a:r>
                <a:endParaRPr lang="en-US" sz="7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6" name="TextBox 345"/>
              <p:cNvSpPr txBox="1"/>
              <p:nvPr/>
            </p:nvSpPr>
            <p:spPr>
              <a:xfrm>
                <a:off x="3904258" y="1991878"/>
                <a:ext cx="287968" cy="1200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800"/>
                  </a:lnSpc>
                </a:pPr>
                <a:r>
                  <a:rPr lang="ru-RU" sz="700" dirty="0" smtClean="0">
                    <a:solidFill>
                      <a:schemeClr val="tx2"/>
                    </a:solidFill>
                  </a:rPr>
                  <a:t>Курск</a:t>
                </a:r>
                <a:endParaRPr lang="en-US" sz="7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7" name="TextBox 346"/>
              <p:cNvSpPr txBox="1"/>
              <p:nvPr/>
            </p:nvSpPr>
            <p:spPr>
              <a:xfrm>
                <a:off x="4415247" y="2115419"/>
                <a:ext cx="951902" cy="1200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800"/>
                  </a:lnSpc>
                </a:pPr>
                <a:r>
                  <a:rPr lang="ru-RU" sz="700" dirty="0" smtClean="0">
                    <a:solidFill>
                      <a:schemeClr val="tx2"/>
                    </a:solidFill>
                  </a:rPr>
                  <a:t>Новокуйбышевск</a:t>
                </a:r>
                <a:endParaRPr lang="en-US" sz="7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8" name="TextBox 347"/>
              <p:cNvSpPr txBox="1"/>
              <p:nvPr/>
            </p:nvSpPr>
            <p:spPr>
              <a:xfrm>
                <a:off x="4585702" y="1965829"/>
                <a:ext cx="788825" cy="1200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800"/>
                  </a:lnSpc>
                </a:pPr>
                <a:r>
                  <a:rPr lang="ru-RU" sz="700" dirty="0" smtClean="0">
                    <a:solidFill>
                      <a:schemeClr val="tx2"/>
                    </a:solidFill>
                  </a:rPr>
                  <a:t>Благовещенск</a:t>
                </a:r>
                <a:endParaRPr lang="en-US" sz="7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9" name="TextBox 348"/>
              <p:cNvSpPr txBox="1"/>
              <p:nvPr/>
            </p:nvSpPr>
            <p:spPr>
              <a:xfrm>
                <a:off x="4718116" y="1586831"/>
                <a:ext cx="354974" cy="1200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800"/>
                  </a:lnSpc>
                </a:pPr>
                <a:r>
                  <a:rPr lang="ru-RU" sz="700" dirty="0" smtClean="0">
                    <a:solidFill>
                      <a:schemeClr val="tx2"/>
                    </a:solidFill>
                  </a:rPr>
                  <a:t>Пермь</a:t>
                </a:r>
                <a:endParaRPr lang="en-US" sz="7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50" name="TextBox 349"/>
              <p:cNvSpPr txBox="1"/>
              <p:nvPr/>
            </p:nvSpPr>
            <p:spPr>
              <a:xfrm>
                <a:off x="4426591" y="1711550"/>
                <a:ext cx="640497" cy="1200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800"/>
                  </a:lnSpc>
                </a:pPr>
                <a:r>
                  <a:rPr lang="ru-RU" sz="700" dirty="0" smtClean="0">
                    <a:solidFill>
                      <a:schemeClr val="tx2"/>
                    </a:solidFill>
                  </a:rPr>
                  <a:t>Нижнекамск</a:t>
                </a:r>
                <a:endParaRPr lang="en-US" sz="7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51" name="TextBox 350"/>
              <p:cNvSpPr txBox="1"/>
              <p:nvPr/>
            </p:nvSpPr>
            <p:spPr>
              <a:xfrm>
                <a:off x="4337457" y="1272495"/>
                <a:ext cx="386784" cy="1200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800"/>
                  </a:lnSpc>
                </a:pPr>
                <a:r>
                  <a:rPr lang="ru-RU" sz="700" dirty="0" smtClean="0">
                    <a:solidFill>
                      <a:schemeClr val="tx2"/>
                    </a:solidFill>
                  </a:rPr>
                  <a:t>Казань</a:t>
                </a:r>
                <a:endParaRPr lang="en-US" sz="7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52" name="TextBox 351"/>
              <p:cNvSpPr txBox="1"/>
              <p:nvPr/>
            </p:nvSpPr>
            <p:spPr>
              <a:xfrm>
                <a:off x="4226010" y="1109515"/>
                <a:ext cx="924255" cy="1200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800"/>
                  </a:lnSpc>
                </a:pPr>
                <a:r>
                  <a:rPr lang="ru-RU" sz="700" dirty="0" smtClean="0">
                    <a:solidFill>
                      <a:schemeClr val="tx2"/>
                    </a:solidFill>
                  </a:rPr>
                  <a:t>Нижний Новгород</a:t>
                </a:r>
                <a:endParaRPr lang="en-US" sz="7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53" name="TextBox 352"/>
              <p:cNvSpPr txBox="1"/>
              <p:nvPr/>
            </p:nvSpPr>
            <p:spPr>
              <a:xfrm>
                <a:off x="4158232" y="935857"/>
                <a:ext cx="924255" cy="1200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800"/>
                  </a:lnSpc>
                </a:pPr>
                <a:r>
                  <a:rPr lang="ru-RU" sz="700" dirty="0" smtClean="0">
                    <a:solidFill>
                      <a:schemeClr val="tx2"/>
                    </a:solidFill>
                  </a:rPr>
                  <a:t>Балахна</a:t>
                </a:r>
                <a:endParaRPr lang="en-US" sz="7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54" name="TextBox 353"/>
              <p:cNvSpPr txBox="1"/>
              <p:nvPr/>
            </p:nvSpPr>
            <p:spPr>
              <a:xfrm>
                <a:off x="4098577" y="779635"/>
                <a:ext cx="924255" cy="1200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800"/>
                  </a:lnSpc>
                </a:pPr>
                <a:r>
                  <a:rPr lang="ru-RU" sz="700" dirty="0" smtClean="0">
                    <a:solidFill>
                      <a:schemeClr val="tx2"/>
                    </a:solidFill>
                  </a:rPr>
                  <a:t>Дзержинск</a:t>
                </a:r>
                <a:endParaRPr lang="en-US" sz="7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55" name="TextBox 354"/>
              <p:cNvSpPr txBox="1"/>
              <p:nvPr/>
            </p:nvSpPr>
            <p:spPr>
              <a:xfrm>
                <a:off x="3997706" y="1867903"/>
                <a:ext cx="386784" cy="1200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800"/>
                  </a:lnSpc>
                </a:pPr>
                <a:r>
                  <a:rPr lang="ru-RU" sz="700" dirty="0" smtClean="0">
                    <a:solidFill>
                      <a:schemeClr val="tx2"/>
                    </a:solidFill>
                  </a:rPr>
                  <a:t>Кстово</a:t>
                </a:r>
                <a:endParaRPr lang="en-US" sz="700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106" name="Прямая соединительная линия 105"/>
              <p:cNvCxnSpPr/>
              <p:nvPr/>
            </p:nvCxnSpPr>
            <p:spPr bwMode="auto">
              <a:xfrm flipV="1">
                <a:off x="4349326" y="1391244"/>
                <a:ext cx="0" cy="385323"/>
              </a:xfrm>
              <a:prstGeom prst="line">
                <a:avLst/>
              </a:prstGeom>
              <a:solidFill>
                <a:schemeClr val="accent1"/>
              </a:solidFill>
              <a:ln w="9525" cap="rnd" cmpd="sng" algn="ctr">
                <a:solidFill>
                  <a:schemeClr val="tx2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58" name="Прямая соединительная линия 357"/>
              <p:cNvCxnSpPr>
                <a:stCxn id="267" idx="5"/>
              </p:cNvCxnSpPr>
              <p:nvPr/>
            </p:nvCxnSpPr>
            <p:spPr bwMode="auto">
              <a:xfrm flipV="1">
                <a:off x="4238402" y="1216403"/>
                <a:ext cx="0" cy="483995"/>
              </a:xfrm>
              <a:prstGeom prst="line">
                <a:avLst/>
              </a:prstGeom>
              <a:solidFill>
                <a:schemeClr val="accent1"/>
              </a:solidFill>
              <a:ln w="9525" cap="rnd" cmpd="sng" algn="ctr">
                <a:solidFill>
                  <a:schemeClr val="tx2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60" name="Прямая соединительная линия 359"/>
              <p:cNvCxnSpPr/>
              <p:nvPr/>
            </p:nvCxnSpPr>
            <p:spPr bwMode="auto">
              <a:xfrm flipV="1">
                <a:off x="4170531" y="1034549"/>
                <a:ext cx="0" cy="591352"/>
              </a:xfrm>
              <a:prstGeom prst="line">
                <a:avLst/>
              </a:prstGeom>
              <a:solidFill>
                <a:schemeClr val="accent1"/>
              </a:solidFill>
              <a:ln w="9525" cap="rnd" cmpd="sng" algn="ctr">
                <a:solidFill>
                  <a:schemeClr val="tx2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61" name="Прямая соединительная линия 360"/>
              <p:cNvCxnSpPr/>
              <p:nvPr/>
            </p:nvCxnSpPr>
            <p:spPr bwMode="auto">
              <a:xfrm flipV="1">
                <a:off x="4100500" y="901482"/>
                <a:ext cx="0" cy="808502"/>
              </a:xfrm>
              <a:prstGeom prst="line">
                <a:avLst/>
              </a:prstGeom>
              <a:solidFill>
                <a:schemeClr val="accent1"/>
              </a:solidFill>
              <a:ln w="9525" cap="rnd" cmpd="sng" algn="ctr">
                <a:solidFill>
                  <a:schemeClr val="tx2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366" name="TextBox 365"/>
              <p:cNvSpPr txBox="1"/>
              <p:nvPr/>
            </p:nvSpPr>
            <p:spPr>
              <a:xfrm>
                <a:off x="5094938" y="1750497"/>
                <a:ext cx="491632" cy="1200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800"/>
                  </a:lnSpc>
                </a:pPr>
                <a:r>
                  <a:rPr lang="ru-RU" sz="700" dirty="0" smtClean="0">
                    <a:solidFill>
                      <a:schemeClr val="tx2"/>
                    </a:solidFill>
                  </a:rPr>
                  <a:t>Тобольск</a:t>
                </a:r>
                <a:endParaRPr lang="en-US" sz="7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67" name="TextBox 366"/>
              <p:cNvSpPr txBox="1"/>
              <p:nvPr/>
            </p:nvSpPr>
            <p:spPr>
              <a:xfrm>
                <a:off x="5653273" y="1729342"/>
                <a:ext cx="291468" cy="1200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800"/>
                  </a:lnSpc>
                </a:pPr>
                <a:r>
                  <a:rPr lang="ru-RU" sz="700" dirty="0" smtClean="0">
                    <a:solidFill>
                      <a:schemeClr val="tx2"/>
                    </a:solidFill>
                  </a:rPr>
                  <a:t>Омск</a:t>
                </a:r>
                <a:endParaRPr lang="en-US" sz="7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68" name="TextBox 367"/>
              <p:cNvSpPr txBox="1"/>
              <p:nvPr/>
            </p:nvSpPr>
            <p:spPr>
              <a:xfrm>
                <a:off x="5929372" y="1527175"/>
                <a:ext cx="818023" cy="1200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800"/>
                  </a:lnSpc>
                </a:pPr>
                <a:r>
                  <a:rPr lang="ru-RU" sz="700" dirty="0" smtClean="0">
                    <a:solidFill>
                      <a:schemeClr val="tx2"/>
                    </a:solidFill>
                  </a:rPr>
                  <a:t>Нижневартовск</a:t>
                </a:r>
                <a:endParaRPr lang="en-US" sz="7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69" name="TextBox 368"/>
              <p:cNvSpPr txBox="1"/>
              <p:nvPr/>
            </p:nvSpPr>
            <p:spPr>
              <a:xfrm>
                <a:off x="6030476" y="1837984"/>
                <a:ext cx="325901" cy="1200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800"/>
                  </a:lnSpc>
                </a:pPr>
                <a:r>
                  <a:rPr lang="ru-RU" sz="700" dirty="0" smtClean="0">
                    <a:solidFill>
                      <a:schemeClr val="tx2"/>
                    </a:solidFill>
                  </a:rPr>
                  <a:t>Томск</a:t>
                </a:r>
                <a:endParaRPr lang="en-US" sz="7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0" name="TextBox 369"/>
              <p:cNvSpPr txBox="1"/>
              <p:nvPr/>
            </p:nvSpPr>
            <p:spPr>
              <a:xfrm>
                <a:off x="6801735" y="1837984"/>
                <a:ext cx="626060" cy="1200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800"/>
                  </a:lnSpc>
                </a:pPr>
                <a:r>
                  <a:rPr lang="ru-RU" sz="700" dirty="0" smtClean="0">
                    <a:solidFill>
                      <a:schemeClr val="tx2"/>
                    </a:solidFill>
                  </a:rPr>
                  <a:t>Красноярск</a:t>
                </a:r>
                <a:endParaRPr lang="en-US" sz="7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1" name="TextBox 370"/>
              <p:cNvSpPr txBox="1"/>
              <p:nvPr/>
            </p:nvSpPr>
            <p:spPr>
              <a:xfrm>
                <a:off x="7802920" y="1952946"/>
                <a:ext cx="614347" cy="1200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800"/>
                  </a:lnSpc>
                </a:pPr>
                <a:r>
                  <a:rPr lang="ru-RU" sz="700" dirty="0" smtClean="0">
                    <a:solidFill>
                      <a:schemeClr val="tx2"/>
                    </a:solidFill>
                  </a:rPr>
                  <a:t>Свободный</a:t>
                </a:r>
                <a:endParaRPr lang="en-US" sz="7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2" name="TextBox 371"/>
              <p:cNvSpPr txBox="1"/>
              <p:nvPr/>
            </p:nvSpPr>
            <p:spPr>
              <a:xfrm>
                <a:off x="7375611" y="3093412"/>
                <a:ext cx="414421" cy="1200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800"/>
                  </a:lnSpc>
                </a:pPr>
                <a:r>
                  <a:rPr lang="ru-RU" sz="700" dirty="0" smtClean="0">
                    <a:solidFill>
                      <a:schemeClr val="tx2"/>
                    </a:solidFill>
                  </a:rPr>
                  <a:t>Циндао</a:t>
                </a:r>
                <a:endParaRPr lang="en-US" sz="7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3" name="TextBox 372"/>
              <p:cNvSpPr txBox="1"/>
              <p:nvPr/>
            </p:nvSpPr>
            <p:spPr>
              <a:xfrm>
                <a:off x="7138696" y="3498121"/>
                <a:ext cx="537519" cy="1200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800"/>
                  </a:lnSpc>
                </a:pPr>
                <a:r>
                  <a:rPr lang="ru-RU" sz="700" dirty="0" smtClean="0">
                    <a:solidFill>
                      <a:schemeClr val="tx2"/>
                    </a:solidFill>
                  </a:rPr>
                  <a:t>Гуанчжоу</a:t>
                </a:r>
                <a:endParaRPr lang="en-US" sz="7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4" name="TextBox 373"/>
              <p:cNvSpPr txBox="1"/>
              <p:nvPr/>
            </p:nvSpPr>
            <p:spPr>
              <a:xfrm>
                <a:off x="7446793" y="3297514"/>
                <a:ext cx="410656" cy="1200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800"/>
                  </a:lnSpc>
                </a:pPr>
                <a:r>
                  <a:rPr lang="ru-RU" sz="700" dirty="0" smtClean="0">
                    <a:solidFill>
                      <a:schemeClr val="tx2"/>
                    </a:solidFill>
                  </a:rPr>
                  <a:t>Шанхай</a:t>
                </a:r>
                <a:endParaRPr lang="en-US" sz="7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5" name="TextBox 374"/>
              <p:cNvSpPr txBox="1"/>
              <p:nvPr/>
            </p:nvSpPr>
            <p:spPr>
              <a:xfrm>
                <a:off x="7230402" y="2870933"/>
                <a:ext cx="334520" cy="1200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800"/>
                  </a:lnSpc>
                </a:pPr>
                <a:r>
                  <a:rPr lang="ru-RU" sz="700" dirty="0" smtClean="0">
                    <a:solidFill>
                      <a:schemeClr val="tx2"/>
                    </a:solidFill>
                  </a:rPr>
                  <a:t>Пекин</a:t>
                </a:r>
                <a:endParaRPr lang="en-US" sz="7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6" name="TextBox 375"/>
              <p:cNvSpPr txBox="1"/>
              <p:nvPr/>
            </p:nvSpPr>
            <p:spPr>
              <a:xfrm>
                <a:off x="5708206" y="3618401"/>
                <a:ext cx="611656" cy="1200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800"/>
                  </a:lnSpc>
                </a:pPr>
                <a:r>
                  <a:rPr lang="ru-RU" sz="700" dirty="0" err="1" smtClean="0">
                    <a:solidFill>
                      <a:schemeClr val="tx2"/>
                    </a:solidFill>
                  </a:rPr>
                  <a:t>Джамнагар</a:t>
                </a:r>
                <a:endParaRPr lang="en-US" sz="7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7" name="TextBox 376"/>
              <p:cNvSpPr txBox="1"/>
              <p:nvPr/>
            </p:nvSpPr>
            <p:spPr>
              <a:xfrm>
                <a:off x="5285350" y="818754"/>
                <a:ext cx="1446239" cy="24000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800"/>
                  </a:lnSpc>
                </a:pPr>
                <a:r>
                  <a:rPr lang="ru-RU" sz="700" b="1" dirty="0" smtClean="0">
                    <a:solidFill>
                      <a:schemeClr val="tx2"/>
                    </a:solidFill>
                  </a:rPr>
                  <a:t>Газоперерабатывающие заводы </a:t>
                </a:r>
                <a:r>
                  <a:rPr lang="ru-RU" sz="700" b="1" dirty="0" err="1" smtClean="0">
                    <a:solidFill>
                      <a:schemeClr val="tx2"/>
                    </a:solidFill>
                  </a:rPr>
                  <a:t>СИБУРа</a:t>
                </a:r>
                <a:endParaRPr lang="en-US" sz="7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8" name="TextBox 377"/>
              <p:cNvSpPr txBox="1"/>
              <p:nvPr/>
            </p:nvSpPr>
            <p:spPr>
              <a:xfrm>
                <a:off x="5850113" y="1032344"/>
                <a:ext cx="644390" cy="1200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800"/>
                  </a:lnSpc>
                </a:pPr>
                <a:r>
                  <a:rPr lang="ru-RU" sz="700" dirty="0" err="1" smtClean="0">
                    <a:solidFill>
                      <a:schemeClr val="tx2"/>
                    </a:solidFill>
                  </a:rPr>
                  <a:t>Губкинский</a:t>
                </a:r>
                <a:endParaRPr lang="en-US" sz="7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9" name="TextBox 378"/>
              <p:cNvSpPr txBox="1"/>
              <p:nvPr/>
            </p:nvSpPr>
            <p:spPr>
              <a:xfrm>
                <a:off x="5747936" y="1212878"/>
                <a:ext cx="696127" cy="1200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800"/>
                  </a:lnSpc>
                </a:pPr>
                <a:r>
                  <a:rPr lang="ru-RU" sz="700" dirty="0" smtClean="0">
                    <a:solidFill>
                      <a:schemeClr val="tx2"/>
                    </a:solidFill>
                  </a:rPr>
                  <a:t>Муравленко</a:t>
                </a:r>
                <a:endParaRPr lang="en-US" sz="7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0" name="TextBox 379"/>
              <p:cNvSpPr txBox="1"/>
              <p:nvPr/>
            </p:nvSpPr>
            <p:spPr>
              <a:xfrm>
                <a:off x="5863791" y="1334117"/>
                <a:ext cx="867798" cy="1200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800"/>
                  </a:lnSpc>
                </a:pPr>
                <a:r>
                  <a:rPr lang="ru-RU" sz="700" dirty="0" err="1" smtClean="0">
                    <a:solidFill>
                      <a:schemeClr val="tx2"/>
                    </a:solidFill>
                  </a:rPr>
                  <a:t>Вынгапуровский</a:t>
                </a:r>
                <a:endParaRPr lang="en-US" sz="7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1" name="TextBox 380"/>
              <p:cNvSpPr txBox="1"/>
              <p:nvPr/>
            </p:nvSpPr>
            <p:spPr>
              <a:xfrm>
                <a:off x="4812949" y="1321061"/>
                <a:ext cx="367152" cy="1200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800"/>
                  </a:lnSpc>
                </a:pPr>
                <a:r>
                  <a:rPr lang="ru-RU" sz="700" dirty="0" err="1" smtClean="0">
                    <a:solidFill>
                      <a:schemeClr val="tx2"/>
                    </a:solidFill>
                  </a:rPr>
                  <a:t>Нягань</a:t>
                </a:r>
                <a:endParaRPr lang="en-US" sz="7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2" name="TextBox 381"/>
              <p:cNvSpPr txBox="1"/>
              <p:nvPr/>
            </p:nvSpPr>
            <p:spPr>
              <a:xfrm>
                <a:off x="4419298" y="1438428"/>
                <a:ext cx="910346" cy="1200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800"/>
                  </a:lnSpc>
                </a:pPr>
                <a:r>
                  <a:rPr lang="ru-RU" sz="700" dirty="0" smtClean="0">
                    <a:solidFill>
                      <a:schemeClr val="tx2"/>
                    </a:solidFill>
                  </a:rPr>
                  <a:t>Ханты-Мансийск</a:t>
                </a:r>
                <a:endParaRPr lang="en-US" sz="7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3" name="TextBox 382"/>
              <p:cNvSpPr txBox="1"/>
              <p:nvPr/>
            </p:nvSpPr>
            <p:spPr>
              <a:xfrm>
                <a:off x="5070250" y="1535886"/>
                <a:ext cx="453966" cy="1200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800"/>
                  </a:lnSpc>
                </a:pPr>
                <a:r>
                  <a:rPr lang="ru-RU" sz="700" dirty="0" err="1" smtClean="0">
                    <a:solidFill>
                      <a:schemeClr val="tx2"/>
                    </a:solidFill>
                  </a:rPr>
                  <a:t>Пыть-Ях</a:t>
                </a:r>
                <a:endParaRPr lang="en-US" sz="7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4" name="TextBox 383"/>
              <p:cNvSpPr txBox="1"/>
              <p:nvPr/>
            </p:nvSpPr>
            <p:spPr>
              <a:xfrm>
                <a:off x="2596371" y="2307471"/>
                <a:ext cx="298547" cy="1200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800"/>
                  </a:lnSpc>
                </a:pPr>
                <a:r>
                  <a:rPr lang="ru-RU" sz="700" dirty="0" smtClean="0">
                    <a:solidFill>
                      <a:schemeClr val="tx2"/>
                    </a:solidFill>
                  </a:rPr>
                  <a:t>Вена</a:t>
                </a:r>
                <a:endParaRPr lang="en-US" sz="7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5" name="TextBox 384"/>
              <p:cNvSpPr txBox="1"/>
              <p:nvPr/>
            </p:nvSpPr>
            <p:spPr>
              <a:xfrm>
                <a:off x="2612476" y="2531109"/>
                <a:ext cx="853643" cy="1200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800"/>
                  </a:lnSpc>
                </a:pPr>
                <a:r>
                  <a:rPr lang="ru-RU" sz="700" dirty="0" err="1" smtClean="0">
                    <a:solidFill>
                      <a:schemeClr val="tx2"/>
                    </a:solidFill>
                  </a:rPr>
                  <a:t>Сесса-Аурунка</a:t>
                </a:r>
                <a:endParaRPr lang="en-US" sz="7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6" name="TextBox 385"/>
              <p:cNvSpPr txBox="1"/>
              <p:nvPr/>
            </p:nvSpPr>
            <p:spPr>
              <a:xfrm>
                <a:off x="3624185" y="2725708"/>
                <a:ext cx="489620" cy="1200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800"/>
                  </a:lnSpc>
                </a:pPr>
                <a:r>
                  <a:rPr lang="ru-RU" sz="700" dirty="0" smtClean="0">
                    <a:solidFill>
                      <a:schemeClr val="tx2"/>
                    </a:solidFill>
                  </a:rPr>
                  <a:t>Стамбул</a:t>
                </a:r>
                <a:endParaRPr lang="en-US" sz="7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7" name="TextBox 386"/>
              <p:cNvSpPr txBox="1"/>
              <p:nvPr/>
            </p:nvSpPr>
            <p:spPr>
              <a:xfrm>
                <a:off x="4012164" y="2482911"/>
                <a:ext cx="336265" cy="1200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800"/>
                  </a:lnSpc>
                </a:pPr>
                <a:r>
                  <a:rPr lang="ru-RU" sz="700" dirty="0" smtClean="0">
                    <a:solidFill>
                      <a:schemeClr val="tx2"/>
                    </a:solidFill>
                  </a:rPr>
                  <a:t>Анапа</a:t>
                </a:r>
                <a:endParaRPr lang="en-US" sz="700" dirty="0">
                  <a:solidFill>
                    <a:schemeClr val="tx2"/>
                  </a:solidFill>
                </a:endParaRPr>
              </a:p>
            </p:txBody>
          </p:sp>
          <p:pic>
            <p:nvPicPr>
              <p:cNvPr id="112" name="Рисунок 111"/>
              <p:cNvPicPr>
                <a:picLocks noChangeAspect="1"/>
              </p:cNvPicPr>
              <p:nvPr/>
            </p:nvPicPr>
            <p:blipFill rotWithShape="1">
              <a:blip r:embed="rId2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4774" t="79117" r="18318"/>
              <a:stretch/>
            </p:blipFill>
            <p:spPr>
              <a:xfrm>
                <a:off x="3681629" y="2461379"/>
                <a:ext cx="236220" cy="112036"/>
              </a:xfrm>
              <a:prstGeom prst="rect">
                <a:avLst/>
              </a:prstGeom>
            </p:spPr>
          </p:pic>
          <p:sp>
            <p:nvSpPr>
              <p:cNvPr id="114" name="Полилиния 113"/>
              <p:cNvSpPr/>
              <p:nvPr/>
            </p:nvSpPr>
            <p:spPr bwMode="auto">
              <a:xfrm>
                <a:off x="5311140" y="1021080"/>
                <a:ext cx="441960" cy="659130"/>
              </a:xfrm>
              <a:custGeom>
                <a:avLst/>
                <a:gdLst>
                  <a:gd name="connsiteX0" fmla="*/ 441960 w 441960"/>
                  <a:gd name="connsiteY0" fmla="*/ 0 h 659130"/>
                  <a:gd name="connsiteX1" fmla="*/ 407670 w 441960"/>
                  <a:gd name="connsiteY1" fmla="*/ 140970 h 659130"/>
                  <a:gd name="connsiteX2" fmla="*/ 327660 w 441960"/>
                  <a:gd name="connsiteY2" fmla="*/ 304800 h 659130"/>
                  <a:gd name="connsiteX3" fmla="*/ 213360 w 441960"/>
                  <a:gd name="connsiteY3" fmla="*/ 491490 h 659130"/>
                  <a:gd name="connsiteX4" fmla="*/ 0 w 441960"/>
                  <a:gd name="connsiteY4" fmla="*/ 659130 h 659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1960" h="659130">
                    <a:moveTo>
                      <a:pt x="441960" y="0"/>
                    </a:moveTo>
                    <a:cubicBezTo>
                      <a:pt x="434340" y="45085"/>
                      <a:pt x="426720" y="90170"/>
                      <a:pt x="407670" y="140970"/>
                    </a:cubicBezTo>
                    <a:cubicBezTo>
                      <a:pt x="388620" y="191770"/>
                      <a:pt x="360045" y="246380"/>
                      <a:pt x="327660" y="304800"/>
                    </a:cubicBezTo>
                    <a:cubicBezTo>
                      <a:pt x="295275" y="363220"/>
                      <a:pt x="267970" y="432435"/>
                      <a:pt x="213360" y="491490"/>
                    </a:cubicBezTo>
                    <a:cubicBezTo>
                      <a:pt x="158750" y="550545"/>
                      <a:pt x="79375" y="604837"/>
                      <a:pt x="0" y="659130"/>
                    </a:cubicBezTo>
                  </a:path>
                </a:pathLst>
              </a:custGeom>
              <a:noFill/>
              <a:ln w="19050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ru-RU" sz="16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115" name="Полилиния 114"/>
              <p:cNvSpPr/>
              <p:nvPr/>
            </p:nvSpPr>
            <p:spPr bwMode="auto">
              <a:xfrm>
                <a:off x="5625464" y="1333284"/>
                <a:ext cx="165735" cy="42127"/>
              </a:xfrm>
              <a:custGeom>
                <a:avLst/>
                <a:gdLst>
                  <a:gd name="connsiteX0" fmla="*/ 160020 w 160020"/>
                  <a:gd name="connsiteY0" fmla="*/ 86350 h 86350"/>
                  <a:gd name="connsiteX1" fmla="*/ 133350 w 160020"/>
                  <a:gd name="connsiteY1" fmla="*/ 17770 h 86350"/>
                  <a:gd name="connsiteX2" fmla="*/ 57150 w 160020"/>
                  <a:gd name="connsiteY2" fmla="*/ 2530 h 86350"/>
                  <a:gd name="connsiteX3" fmla="*/ 0 w 160020"/>
                  <a:gd name="connsiteY3" fmla="*/ 59680 h 86350"/>
                  <a:gd name="connsiteX0" fmla="*/ 160020 w 160020"/>
                  <a:gd name="connsiteY0" fmla="*/ 69461 h 69461"/>
                  <a:gd name="connsiteX1" fmla="*/ 133350 w 160020"/>
                  <a:gd name="connsiteY1" fmla="*/ 881 h 69461"/>
                  <a:gd name="connsiteX2" fmla="*/ 76200 w 160020"/>
                  <a:gd name="connsiteY2" fmla="*/ 31361 h 69461"/>
                  <a:gd name="connsiteX3" fmla="*/ 0 w 160020"/>
                  <a:gd name="connsiteY3" fmla="*/ 42791 h 69461"/>
                  <a:gd name="connsiteX0" fmla="*/ 160020 w 160020"/>
                  <a:gd name="connsiteY0" fmla="*/ 41395 h 41395"/>
                  <a:gd name="connsiteX1" fmla="*/ 127635 w 160020"/>
                  <a:gd name="connsiteY1" fmla="*/ 3295 h 41395"/>
                  <a:gd name="connsiteX2" fmla="*/ 76200 w 160020"/>
                  <a:gd name="connsiteY2" fmla="*/ 3295 h 41395"/>
                  <a:gd name="connsiteX3" fmla="*/ 0 w 160020"/>
                  <a:gd name="connsiteY3" fmla="*/ 14725 h 41395"/>
                  <a:gd name="connsiteX0" fmla="*/ 160020 w 160020"/>
                  <a:gd name="connsiteY0" fmla="*/ 41142 h 41142"/>
                  <a:gd name="connsiteX1" fmla="*/ 76200 w 160020"/>
                  <a:gd name="connsiteY1" fmla="*/ 3042 h 41142"/>
                  <a:gd name="connsiteX2" fmla="*/ 0 w 160020"/>
                  <a:gd name="connsiteY2" fmla="*/ 14472 h 41142"/>
                  <a:gd name="connsiteX0" fmla="*/ 160020 w 160020"/>
                  <a:gd name="connsiteY0" fmla="*/ 39000 h 39000"/>
                  <a:gd name="connsiteX1" fmla="*/ 100965 w 160020"/>
                  <a:gd name="connsiteY1" fmla="*/ 6615 h 39000"/>
                  <a:gd name="connsiteX2" fmla="*/ 0 w 160020"/>
                  <a:gd name="connsiteY2" fmla="*/ 12330 h 39000"/>
                  <a:gd name="connsiteX0" fmla="*/ 160020 w 160020"/>
                  <a:gd name="connsiteY0" fmla="*/ 36393 h 36393"/>
                  <a:gd name="connsiteX1" fmla="*/ 100965 w 160020"/>
                  <a:gd name="connsiteY1" fmla="*/ 4008 h 36393"/>
                  <a:gd name="connsiteX2" fmla="*/ 0 w 160020"/>
                  <a:gd name="connsiteY2" fmla="*/ 17343 h 36393"/>
                  <a:gd name="connsiteX0" fmla="*/ 160020 w 160020"/>
                  <a:gd name="connsiteY0" fmla="*/ 36393 h 36393"/>
                  <a:gd name="connsiteX1" fmla="*/ 100965 w 160020"/>
                  <a:gd name="connsiteY1" fmla="*/ 4008 h 36393"/>
                  <a:gd name="connsiteX2" fmla="*/ 0 w 160020"/>
                  <a:gd name="connsiteY2" fmla="*/ 17343 h 36393"/>
                  <a:gd name="connsiteX0" fmla="*/ 165735 w 165735"/>
                  <a:gd name="connsiteY0" fmla="*/ 42127 h 42127"/>
                  <a:gd name="connsiteX1" fmla="*/ 106680 w 165735"/>
                  <a:gd name="connsiteY1" fmla="*/ 9742 h 42127"/>
                  <a:gd name="connsiteX2" fmla="*/ 0 w 165735"/>
                  <a:gd name="connsiteY2" fmla="*/ 13552 h 42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5735" h="42127">
                    <a:moveTo>
                      <a:pt x="165735" y="42127"/>
                    </a:moveTo>
                    <a:cubicBezTo>
                      <a:pt x="153988" y="22760"/>
                      <a:pt x="134302" y="14504"/>
                      <a:pt x="106680" y="9742"/>
                    </a:cubicBezTo>
                    <a:cubicBezTo>
                      <a:pt x="79058" y="4980"/>
                      <a:pt x="17462" y="-11531"/>
                      <a:pt x="0" y="13552"/>
                    </a:cubicBezTo>
                  </a:path>
                </a:pathLst>
              </a:custGeom>
              <a:noFill/>
              <a:ln w="19050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b="1">
                  <a:latin typeface="Arial" charset="0"/>
                </a:endParaRPr>
              </a:p>
            </p:txBody>
          </p:sp>
          <p:sp>
            <p:nvSpPr>
              <p:cNvPr id="393" name="Полилиния 392"/>
              <p:cNvSpPr/>
              <p:nvPr/>
            </p:nvSpPr>
            <p:spPr bwMode="auto">
              <a:xfrm>
                <a:off x="5482785" y="1483793"/>
                <a:ext cx="336991" cy="89273"/>
              </a:xfrm>
              <a:custGeom>
                <a:avLst/>
                <a:gdLst>
                  <a:gd name="connsiteX0" fmla="*/ 160020 w 160020"/>
                  <a:gd name="connsiteY0" fmla="*/ 86350 h 86350"/>
                  <a:gd name="connsiteX1" fmla="*/ 133350 w 160020"/>
                  <a:gd name="connsiteY1" fmla="*/ 17770 h 86350"/>
                  <a:gd name="connsiteX2" fmla="*/ 57150 w 160020"/>
                  <a:gd name="connsiteY2" fmla="*/ 2530 h 86350"/>
                  <a:gd name="connsiteX3" fmla="*/ 0 w 160020"/>
                  <a:gd name="connsiteY3" fmla="*/ 59680 h 86350"/>
                  <a:gd name="connsiteX0" fmla="*/ 160020 w 160020"/>
                  <a:gd name="connsiteY0" fmla="*/ 77661 h 77661"/>
                  <a:gd name="connsiteX1" fmla="*/ 133350 w 160020"/>
                  <a:gd name="connsiteY1" fmla="*/ 9081 h 77661"/>
                  <a:gd name="connsiteX2" fmla="*/ 66247 w 160020"/>
                  <a:gd name="connsiteY2" fmla="*/ 5271 h 77661"/>
                  <a:gd name="connsiteX3" fmla="*/ 0 w 160020"/>
                  <a:gd name="connsiteY3" fmla="*/ 50991 h 77661"/>
                  <a:gd name="connsiteX0" fmla="*/ 160020 w 160020"/>
                  <a:gd name="connsiteY0" fmla="*/ 72674 h 72674"/>
                  <a:gd name="connsiteX1" fmla="*/ 125163 w 160020"/>
                  <a:gd name="connsiteY1" fmla="*/ 28859 h 72674"/>
                  <a:gd name="connsiteX2" fmla="*/ 66247 w 160020"/>
                  <a:gd name="connsiteY2" fmla="*/ 284 h 72674"/>
                  <a:gd name="connsiteX3" fmla="*/ 0 w 160020"/>
                  <a:gd name="connsiteY3" fmla="*/ 46004 h 72674"/>
                  <a:gd name="connsiteX0" fmla="*/ 171847 w 171847"/>
                  <a:gd name="connsiteY0" fmla="*/ 55497 h 55497"/>
                  <a:gd name="connsiteX1" fmla="*/ 125163 w 171847"/>
                  <a:gd name="connsiteY1" fmla="*/ 28827 h 55497"/>
                  <a:gd name="connsiteX2" fmla="*/ 66247 w 171847"/>
                  <a:gd name="connsiteY2" fmla="*/ 252 h 55497"/>
                  <a:gd name="connsiteX3" fmla="*/ 0 w 171847"/>
                  <a:gd name="connsiteY3" fmla="*/ 45972 h 55497"/>
                  <a:gd name="connsiteX0" fmla="*/ 178215 w 178215"/>
                  <a:gd name="connsiteY0" fmla="*/ 34511 h 45941"/>
                  <a:gd name="connsiteX1" fmla="*/ 125163 w 178215"/>
                  <a:gd name="connsiteY1" fmla="*/ 28796 h 45941"/>
                  <a:gd name="connsiteX2" fmla="*/ 66247 w 178215"/>
                  <a:gd name="connsiteY2" fmla="*/ 221 h 45941"/>
                  <a:gd name="connsiteX3" fmla="*/ 0 w 178215"/>
                  <a:gd name="connsiteY3" fmla="*/ 45941 h 45941"/>
                  <a:gd name="connsiteX0" fmla="*/ 178215 w 178215"/>
                  <a:gd name="connsiteY0" fmla="*/ 34511 h 45941"/>
                  <a:gd name="connsiteX1" fmla="*/ 125163 w 178215"/>
                  <a:gd name="connsiteY1" fmla="*/ 28796 h 45941"/>
                  <a:gd name="connsiteX2" fmla="*/ 66247 w 178215"/>
                  <a:gd name="connsiteY2" fmla="*/ 221 h 45941"/>
                  <a:gd name="connsiteX3" fmla="*/ 0 w 178215"/>
                  <a:gd name="connsiteY3" fmla="*/ 45941 h 45941"/>
                  <a:gd name="connsiteX0" fmla="*/ 178215 w 178215"/>
                  <a:gd name="connsiteY0" fmla="*/ 34511 h 45941"/>
                  <a:gd name="connsiteX1" fmla="*/ 124253 w 178215"/>
                  <a:gd name="connsiteY1" fmla="*/ 28796 h 45941"/>
                  <a:gd name="connsiteX2" fmla="*/ 66247 w 178215"/>
                  <a:gd name="connsiteY2" fmla="*/ 221 h 45941"/>
                  <a:gd name="connsiteX3" fmla="*/ 0 w 178215"/>
                  <a:gd name="connsiteY3" fmla="*/ 45941 h 45941"/>
                  <a:gd name="connsiteX0" fmla="*/ 178215 w 178215"/>
                  <a:gd name="connsiteY0" fmla="*/ 59181 h 70611"/>
                  <a:gd name="connsiteX1" fmla="*/ 124253 w 178215"/>
                  <a:gd name="connsiteY1" fmla="*/ 53466 h 70611"/>
                  <a:gd name="connsiteX2" fmla="*/ 77164 w 178215"/>
                  <a:gd name="connsiteY2" fmla="*/ 126 h 70611"/>
                  <a:gd name="connsiteX3" fmla="*/ 0 w 178215"/>
                  <a:gd name="connsiteY3" fmla="*/ 70611 h 70611"/>
                  <a:gd name="connsiteX0" fmla="*/ 165479 w 165479"/>
                  <a:gd name="connsiteY0" fmla="*/ 59248 h 59852"/>
                  <a:gd name="connsiteX1" fmla="*/ 111517 w 165479"/>
                  <a:gd name="connsiteY1" fmla="*/ 53533 h 59852"/>
                  <a:gd name="connsiteX2" fmla="*/ 64428 w 165479"/>
                  <a:gd name="connsiteY2" fmla="*/ 193 h 59852"/>
                  <a:gd name="connsiteX3" fmla="*/ 0 w 165479"/>
                  <a:gd name="connsiteY3" fmla="*/ 40198 h 59852"/>
                  <a:gd name="connsiteX0" fmla="*/ 165479 w 165479"/>
                  <a:gd name="connsiteY0" fmla="*/ 78202 h 80022"/>
                  <a:gd name="connsiteX1" fmla="*/ 111517 w 165479"/>
                  <a:gd name="connsiteY1" fmla="*/ 72487 h 80022"/>
                  <a:gd name="connsiteX2" fmla="*/ 68067 w 165479"/>
                  <a:gd name="connsiteY2" fmla="*/ 97 h 80022"/>
                  <a:gd name="connsiteX3" fmla="*/ 0 w 165479"/>
                  <a:gd name="connsiteY3" fmla="*/ 59152 h 80022"/>
                  <a:gd name="connsiteX0" fmla="*/ 165479 w 165479"/>
                  <a:gd name="connsiteY0" fmla="*/ 78458 h 90303"/>
                  <a:gd name="connsiteX1" fmla="*/ 109697 w 165479"/>
                  <a:gd name="connsiteY1" fmla="*/ 86078 h 90303"/>
                  <a:gd name="connsiteX2" fmla="*/ 68067 w 165479"/>
                  <a:gd name="connsiteY2" fmla="*/ 353 h 90303"/>
                  <a:gd name="connsiteX3" fmla="*/ 0 w 165479"/>
                  <a:gd name="connsiteY3" fmla="*/ 59408 h 90303"/>
                  <a:gd name="connsiteX0" fmla="*/ 160930 w 160930"/>
                  <a:gd name="connsiteY0" fmla="*/ 72743 h 89273"/>
                  <a:gd name="connsiteX1" fmla="*/ 109697 w 160930"/>
                  <a:gd name="connsiteY1" fmla="*/ 86078 h 89273"/>
                  <a:gd name="connsiteX2" fmla="*/ 68067 w 160930"/>
                  <a:gd name="connsiteY2" fmla="*/ 353 h 89273"/>
                  <a:gd name="connsiteX3" fmla="*/ 0 w 160930"/>
                  <a:gd name="connsiteY3" fmla="*/ 59408 h 89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0930" h="89273">
                    <a:moveTo>
                      <a:pt x="160930" y="72743"/>
                    </a:moveTo>
                    <a:cubicBezTo>
                      <a:pt x="145250" y="72108"/>
                      <a:pt x="125174" y="98143"/>
                      <a:pt x="109697" y="86078"/>
                    </a:cubicBezTo>
                    <a:cubicBezTo>
                      <a:pt x="94220" y="74013"/>
                      <a:pt x="86350" y="4798"/>
                      <a:pt x="68067" y="353"/>
                    </a:cubicBezTo>
                    <a:cubicBezTo>
                      <a:pt x="49784" y="-4092"/>
                      <a:pt x="17462" y="34325"/>
                      <a:pt x="0" y="59408"/>
                    </a:cubicBezTo>
                  </a:path>
                </a:pathLst>
              </a:custGeom>
              <a:noFill/>
              <a:ln w="19050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b="1">
                  <a:latin typeface="Arial" charset="0"/>
                </a:endParaRPr>
              </a:p>
            </p:txBody>
          </p:sp>
          <p:sp>
            <p:nvSpPr>
              <p:cNvPr id="272" name="Овал 271"/>
              <p:cNvSpPr>
                <a:spLocks noChangeAspect="1"/>
              </p:cNvSpPr>
              <p:nvPr/>
            </p:nvSpPr>
            <p:spPr bwMode="auto">
              <a:xfrm>
                <a:off x="5673289" y="1085088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1000" sy="111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73" name="Овал 272"/>
              <p:cNvSpPr>
                <a:spLocks noChangeAspect="1"/>
              </p:cNvSpPr>
              <p:nvPr/>
            </p:nvSpPr>
            <p:spPr bwMode="auto">
              <a:xfrm>
                <a:off x="5592237" y="1232673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1000" sy="111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75" name="Овал 274"/>
              <p:cNvSpPr>
                <a:spLocks noChangeAspect="1"/>
              </p:cNvSpPr>
              <p:nvPr/>
            </p:nvSpPr>
            <p:spPr bwMode="auto">
              <a:xfrm>
                <a:off x="5737961" y="1324481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1000" sy="111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77" name="Овал 276"/>
              <p:cNvSpPr>
                <a:spLocks noChangeAspect="1"/>
              </p:cNvSpPr>
              <p:nvPr/>
            </p:nvSpPr>
            <p:spPr bwMode="auto">
              <a:xfrm>
                <a:off x="5449433" y="1466873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1000" sy="111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80" name="Овал 279"/>
              <p:cNvSpPr>
                <a:spLocks noChangeAspect="1"/>
              </p:cNvSpPr>
              <p:nvPr/>
            </p:nvSpPr>
            <p:spPr bwMode="auto">
              <a:xfrm>
                <a:off x="5698870" y="1510883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1000" sy="111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95" name="Овал 294"/>
              <p:cNvSpPr>
                <a:spLocks noChangeAspect="1"/>
              </p:cNvSpPr>
              <p:nvPr/>
            </p:nvSpPr>
            <p:spPr bwMode="auto">
              <a:xfrm>
                <a:off x="5795030" y="1512820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1000" sy="111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b="1" dirty="0">
                  <a:latin typeface="Arial" charset="0"/>
                </a:endParaRPr>
              </a:p>
            </p:txBody>
          </p:sp>
          <p:sp>
            <p:nvSpPr>
              <p:cNvPr id="296" name="Равнобедренный треугольник 295"/>
              <p:cNvSpPr>
                <a:spLocks noChangeAspect="1"/>
              </p:cNvSpPr>
              <p:nvPr/>
            </p:nvSpPr>
            <p:spPr bwMode="auto">
              <a:xfrm>
                <a:off x="5289329" y="1640755"/>
                <a:ext cx="108000" cy="108000"/>
              </a:xfrm>
              <a:prstGeom prst="triangle">
                <a:avLst/>
              </a:prstGeom>
              <a:solidFill>
                <a:schemeClr val="accent3"/>
              </a:solidFill>
              <a:ln w="3175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63500" sx="111000" sy="111000" algn="ctr" rotWithShape="0">
                  <a:prstClr val="black">
                    <a:alpha val="35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b="1" dirty="0">
                  <a:latin typeface="Arial" charset="0"/>
                </a:endParaRPr>
              </a:p>
            </p:txBody>
          </p:sp>
        </p:grpSp>
        <p:sp>
          <p:nvSpPr>
            <p:cNvPr id="305" name="Равнобедренный треугольник 304"/>
            <p:cNvSpPr>
              <a:spLocks/>
            </p:cNvSpPr>
            <p:nvPr/>
          </p:nvSpPr>
          <p:spPr bwMode="auto">
            <a:xfrm>
              <a:off x="4315992" y="1839316"/>
              <a:ext cx="97113" cy="101403"/>
            </a:xfrm>
            <a:prstGeom prst="triangle">
              <a:avLst/>
            </a:prstGeom>
            <a:solidFill>
              <a:schemeClr val="accent3"/>
            </a:solidFill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63500" sx="111000" sy="111000" algn="ctr" rotWithShape="0">
                <a:prstClr val="black">
                  <a:alpha val="35000"/>
                </a:prstClr>
              </a:outerShdw>
            </a:effectLst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chemeClr val="bg1"/>
                </a:solidFill>
                <a:latin typeface="Arial" charset="0"/>
              </a:endParaRPr>
            </a:p>
          </p:txBody>
        </p:sp>
        <p:sp>
          <p:nvSpPr>
            <p:cNvPr id="308" name="Равнобедренный треугольник 307"/>
            <p:cNvSpPr>
              <a:spLocks/>
            </p:cNvSpPr>
            <p:nvPr/>
          </p:nvSpPr>
          <p:spPr bwMode="auto">
            <a:xfrm>
              <a:off x="4430152" y="1870679"/>
              <a:ext cx="97113" cy="101403"/>
            </a:xfrm>
            <a:prstGeom prst="triangle">
              <a:avLst/>
            </a:prstGeom>
            <a:solidFill>
              <a:schemeClr val="accent3"/>
            </a:solidFill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63500" sx="111000" sy="111000" algn="ctr" rotWithShape="0">
                <a:prstClr val="black">
                  <a:alpha val="35000"/>
                </a:prstClr>
              </a:outerShdw>
            </a:effectLst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chemeClr val="bg1"/>
                </a:solidFill>
                <a:latin typeface="Arial" charset="0"/>
              </a:endParaRPr>
            </a:p>
          </p:txBody>
        </p:sp>
      </p:grpSp>
      <p:sp>
        <p:nvSpPr>
          <p:cNvPr id="328" name="Прямоугольник 327"/>
          <p:cNvSpPr/>
          <p:nvPr/>
        </p:nvSpPr>
        <p:spPr bwMode="auto">
          <a:xfrm>
            <a:off x="0" y="-2"/>
            <a:ext cx="2916000" cy="346411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0" name="Прямоугольник 99"/>
          <p:cNvSpPr/>
          <p:nvPr/>
        </p:nvSpPr>
        <p:spPr bwMode="auto">
          <a:xfrm>
            <a:off x="0" y="4565222"/>
            <a:ext cx="6101280" cy="57827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4</a:t>
            </a:fld>
            <a:endParaRPr lang="ru-RU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3216072" y="347883"/>
            <a:ext cx="5262413" cy="672627"/>
          </a:xfrm>
        </p:spPr>
        <p:txBody>
          <a:bodyPr vert="horz"/>
          <a:lstStyle/>
          <a:p>
            <a:r>
              <a:rPr lang="ru-RU" dirty="0" smtClean="0"/>
              <a:t>География компании</a:t>
            </a:r>
            <a:endParaRPr lang="ru-RU" dirty="0"/>
          </a:p>
        </p:txBody>
      </p:sp>
      <p:sp>
        <p:nvSpPr>
          <p:cNvPr id="311" name="TextBox 310"/>
          <p:cNvSpPr txBox="1"/>
          <p:nvPr>
            <p:custDataLst>
              <p:tags r:id="rId3"/>
            </p:custDataLst>
          </p:nvPr>
        </p:nvSpPr>
        <p:spPr>
          <a:xfrm>
            <a:off x="344620" y="1092493"/>
            <a:ext cx="671444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779144">
              <a:defRPr/>
            </a:pPr>
            <a:r>
              <a:rPr lang="ru-RU" sz="2400" b="1" dirty="0" smtClean="0">
                <a:ln w="0"/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,8</a:t>
            </a:r>
            <a:endParaRPr lang="ru-RU" sz="2400" b="1" dirty="0">
              <a:ln w="0"/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1" name="Группа 10"/>
          <p:cNvGrpSpPr>
            <a:grpSpLocks noChangeAspect="1"/>
          </p:cNvGrpSpPr>
          <p:nvPr/>
        </p:nvGrpSpPr>
        <p:grpSpPr>
          <a:xfrm>
            <a:off x="2900904" y="4006024"/>
            <a:ext cx="4870886" cy="560172"/>
            <a:chOff x="325190" y="4006024"/>
            <a:chExt cx="4870886" cy="560172"/>
          </a:xfrm>
        </p:grpSpPr>
        <p:sp>
          <p:nvSpPr>
            <p:cNvPr id="2" name="Прямоугольник 1"/>
            <p:cNvSpPr/>
            <p:nvPr/>
          </p:nvSpPr>
          <p:spPr bwMode="auto">
            <a:xfrm>
              <a:off x="325190" y="4006024"/>
              <a:ext cx="4870886" cy="560172"/>
            </a:xfrm>
            <a:prstGeom prst="rect">
              <a:avLst/>
            </a:prstGeom>
            <a:solidFill>
              <a:schemeClr val="bg1">
                <a:alpha val="71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99" name="TextBox 998"/>
            <p:cNvSpPr txBox="1"/>
            <p:nvPr/>
          </p:nvSpPr>
          <p:spPr>
            <a:xfrm>
              <a:off x="424689" y="4188601"/>
              <a:ext cx="1595529" cy="1949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ru-RU" sz="800" dirty="0">
                  <a:solidFill>
                    <a:schemeClr val="tx2"/>
                  </a:solidFill>
                </a:rPr>
                <a:t>п</a:t>
              </a:r>
              <a:r>
                <a:rPr lang="ru-RU" sz="800" dirty="0" smtClean="0">
                  <a:solidFill>
                    <a:schemeClr val="tx2"/>
                  </a:solidFill>
                </a:rPr>
                <a:t>ромышленные предприятия</a:t>
              </a:r>
              <a:endParaRPr lang="en-US" sz="800" dirty="0">
                <a:solidFill>
                  <a:schemeClr val="tx2"/>
                </a:solidFill>
              </a:endParaRPr>
            </a:p>
          </p:txBody>
        </p:sp>
        <p:sp>
          <p:nvSpPr>
            <p:cNvPr id="1000" name="TextBox 999"/>
            <p:cNvSpPr txBox="1"/>
            <p:nvPr/>
          </p:nvSpPr>
          <p:spPr>
            <a:xfrm>
              <a:off x="2497250" y="4260212"/>
              <a:ext cx="955728" cy="2975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ru-RU" sz="800" dirty="0" smtClean="0">
                  <a:solidFill>
                    <a:schemeClr val="tx2"/>
                  </a:solidFill>
                </a:rPr>
                <a:t>бизнес-офисы компании</a:t>
              </a:r>
              <a:endParaRPr lang="en-US" sz="800" dirty="0">
                <a:solidFill>
                  <a:schemeClr val="tx2"/>
                </a:solidFill>
              </a:endParaRPr>
            </a:p>
          </p:txBody>
        </p:sp>
        <p:sp>
          <p:nvSpPr>
            <p:cNvPr id="1001" name="TextBox 1000"/>
            <p:cNvSpPr txBox="1"/>
            <p:nvPr/>
          </p:nvSpPr>
          <p:spPr>
            <a:xfrm>
              <a:off x="3643931" y="4020243"/>
              <a:ext cx="1484709" cy="2975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ru-RU" sz="800" dirty="0" smtClean="0">
                  <a:solidFill>
                    <a:schemeClr val="tx2"/>
                  </a:solidFill>
                </a:rPr>
                <a:t>научно-исследовательские и учебные центры</a:t>
              </a:r>
              <a:endParaRPr lang="en-US" sz="800" dirty="0">
                <a:solidFill>
                  <a:schemeClr val="tx2"/>
                </a:solidFill>
              </a:endParaRPr>
            </a:p>
          </p:txBody>
        </p:sp>
        <p:sp>
          <p:nvSpPr>
            <p:cNvPr id="1002" name="TextBox 1001"/>
            <p:cNvSpPr txBox="1"/>
            <p:nvPr/>
          </p:nvSpPr>
          <p:spPr>
            <a:xfrm>
              <a:off x="3639061" y="4260212"/>
              <a:ext cx="1195693" cy="2975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ru-RU" sz="800" dirty="0" smtClean="0">
                  <a:solidFill>
                    <a:schemeClr val="tx2"/>
                  </a:solidFill>
                </a:rPr>
                <a:t>корпоративный центр оздоровления</a:t>
              </a:r>
              <a:endParaRPr lang="en-US" sz="800" dirty="0">
                <a:solidFill>
                  <a:schemeClr val="tx2"/>
                </a:solidFill>
              </a:endParaRPr>
            </a:p>
          </p:txBody>
        </p:sp>
        <p:sp>
          <p:nvSpPr>
            <p:cNvPr id="1003" name="Овал 1002"/>
            <p:cNvSpPr>
              <a:spLocks/>
            </p:cNvSpPr>
            <p:nvPr/>
          </p:nvSpPr>
          <p:spPr bwMode="auto">
            <a:xfrm>
              <a:off x="377789" y="4250063"/>
              <a:ext cx="72000" cy="72000"/>
            </a:xfrm>
            <a:prstGeom prst="ellipse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  <p:sp>
          <p:nvSpPr>
            <p:cNvPr id="1004" name="Прямоугольник 1003"/>
            <p:cNvSpPr>
              <a:spLocks/>
            </p:cNvSpPr>
            <p:nvPr/>
          </p:nvSpPr>
          <p:spPr bwMode="auto">
            <a:xfrm>
              <a:off x="377789" y="4429504"/>
              <a:ext cx="72000" cy="7200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  <p:sp>
          <p:nvSpPr>
            <p:cNvPr id="1005" name="Шестиугольник 1004"/>
            <p:cNvSpPr>
              <a:spLocks/>
            </p:cNvSpPr>
            <p:nvPr/>
          </p:nvSpPr>
          <p:spPr bwMode="auto">
            <a:xfrm>
              <a:off x="2446040" y="4330024"/>
              <a:ext cx="80620" cy="72000"/>
            </a:xfrm>
            <a:prstGeom prst="hexagon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  <p:sp>
          <p:nvSpPr>
            <p:cNvPr id="1006" name="Равнобедренный треугольник 1005"/>
            <p:cNvSpPr>
              <a:spLocks/>
            </p:cNvSpPr>
            <p:nvPr/>
          </p:nvSpPr>
          <p:spPr bwMode="auto">
            <a:xfrm>
              <a:off x="3597031" y="4081705"/>
              <a:ext cx="72000" cy="72000"/>
            </a:xfrm>
            <a:prstGeom prst="triangle">
              <a:avLst/>
            </a:prstGeom>
            <a:solidFill>
              <a:schemeClr val="accent3"/>
            </a:solidFill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800" b="1" dirty="0">
                <a:solidFill>
                  <a:schemeClr val="bg1"/>
                </a:solidFill>
                <a:latin typeface="Arial" charset="0"/>
              </a:endParaRPr>
            </a:p>
          </p:txBody>
        </p:sp>
        <p:sp>
          <p:nvSpPr>
            <p:cNvPr id="1007" name="Ромб 1006"/>
            <p:cNvSpPr>
              <a:spLocks/>
            </p:cNvSpPr>
            <p:nvPr/>
          </p:nvSpPr>
          <p:spPr bwMode="auto">
            <a:xfrm>
              <a:off x="3592161" y="4330024"/>
              <a:ext cx="72000" cy="72000"/>
            </a:xfrm>
            <a:prstGeom prst="diamond">
              <a:avLst/>
            </a:prstGeom>
            <a:solidFill>
              <a:schemeClr val="accent4"/>
            </a:solidFill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  <p:sp>
          <p:nvSpPr>
            <p:cNvPr id="1008" name="TextBox 1007"/>
            <p:cNvSpPr txBox="1"/>
            <p:nvPr/>
          </p:nvSpPr>
          <p:spPr>
            <a:xfrm>
              <a:off x="424689" y="4368042"/>
              <a:ext cx="1958974" cy="1949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ru-RU" sz="800" dirty="0" smtClean="0">
                  <a:solidFill>
                    <a:schemeClr val="tx2"/>
                  </a:solidFill>
                </a:rPr>
                <a:t>предприятия в стадии строительства</a:t>
              </a:r>
              <a:endParaRPr lang="en-US" sz="800" dirty="0">
                <a:solidFill>
                  <a:schemeClr val="tx2"/>
                </a:solidFill>
              </a:endParaRPr>
            </a:p>
          </p:txBody>
        </p:sp>
        <p:sp>
          <p:nvSpPr>
            <p:cNvPr id="1009" name="Прямоугольник 1008"/>
            <p:cNvSpPr>
              <a:spLocks/>
            </p:cNvSpPr>
            <p:nvPr/>
          </p:nvSpPr>
          <p:spPr bwMode="auto">
            <a:xfrm>
              <a:off x="377789" y="4081705"/>
              <a:ext cx="72000" cy="720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 dirty="0" smtClean="0">
                <a:ln>
                  <a:noFill/>
                </a:ln>
                <a:solidFill>
                  <a:schemeClr val="bg2"/>
                </a:solidFill>
                <a:effectLst/>
                <a:latin typeface="Arial" charset="0"/>
              </a:endParaRPr>
            </a:p>
          </p:txBody>
        </p:sp>
        <p:sp>
          <p:nvSpPr>
            <p:cNvPr id="1010" name="TextBox 1009"/>
            <p:cNvSpPr txBox="1"/>
            <p:nvPr/>
          </p:nvSpPr>
          <p:spPr>
            <a:xfrm>
              <a:off x="424689" y="4020243"/>
              <a:ext cx="1731988" cy="1949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ru-RU" sz="800" dirty="0">
                  <a:solidFill>
                    <a:schemeClr val="tx2"/>
                  </a:solidFill>
                </a:rPr>
                <a:t>г</a:t>
              </a:r>
              <a:r>
                <a:rPr lang="ru-RU" sz="800" dirty="0" smtClean="0">
                  <a:solidFill>
                    <a:schemeClr val="tx2"/>
                  </a:solidFill>
                </a:rPr>
                <a:t>еография присутствия </a:t>
              </a:r>
              <a:r>
                <a:rPr lang="ru-RU" sz="800" dirty="0" err="1" smtClean="0">
                  <a:solidFill>
                    <a:schemeClr val="tx2"/>
                  </a:solidFill>
                </a:rPr>
                <a:t>СИБУРа</a:t>
              </a:r>
              <a:endParaRPr lang="en-US" sz="800" dirty="0">
                <a:solidFill>
                  <a:schemeClr val="tx2"/>
                </a:solidFill>
              </a:endParaRPr>
            </a:p>
          </p:txBody>
        </p:sp>
        <p:sp>
          <p:nvSpPr>
            <p:cNvPr id="1011" name="Прямоугольник 1010"/>
            <p:cNvSpPr>
              <a:spLocks/>
            </p:cNvSpPr>
            <p:nvPr/>
          </p:nvSpPr>
          <p:spPr bwMode="auto">
            <a:xfrm>
              <a:off x="2450350" y="4099705"/>
              <a:ext cx="72000" cy="36000"/>
            </a:xfrm>
            <a:prstGeom prst="rect">
              <a:avLst/>
            </a:prstGeom>
            <a:solidFill>
              <a:schemeClr val="accent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  <p:sp>
          <p:nvSpPr>
            <p:cNvPr id="1012" name="TextBox 1011"/>
            <p:cNvSpPr txBox="1"/>
            <p:nvPr/>
          </p:nvSpPr>
          <p:spPr>
            <a:xfrm>
              <a:off x="2497250" y="4020243"/>
              <a:ext cx="970042" cy="2975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ru-RU" sz="800" dirty="0" smtClean="0">
                  <a:solidFill>
                    <a:schemeClr val="tx2"/>
                  </a:solidFill>
                </a:rPr>
                <a:t>продуктопровод </a:t>
              </a:r>
              <a:r>
                <a:rPr lang="ru-RU" sz="800" dirty="0" err="1" smtClean="0">
                  <a:solidFill>
                    <a:schemeClr val="tx2"/>
                  </a:solidFill>
                </a:rPr>
                <a:t>СИБУРа</a:t>
              </a:r>
              <a:endParaRPr lang="en-US" sz="800" dirty="0">
                <a:solidFill>
                  <a:schemeClr val="tx2"/>
                </a:solidFill>
              </a:endParaRPr>
            </a:p>
          </p:txBody>
        </p:sp>
      </p:grpSp>
      <p:sp>
        <p:nvSpPr>
          <p:cNvPr id="337" name="Нижний колонтитул 117"/>
          <p:cNvSpPr>
            <a:spLocks noGrp="1"/>
          </p:cNvSpPr>
          <p:nvPr>
            <p:ph type="ftr" sz="quarter" idx="11"/>
          </p:nvPr>
        </p:nvSpPr>
        <p:spPr>
          <a:xfrm>
            <a:off x="921599" y="4755454"/>
            <a:ext cx="5317841" cy="200732"/>
          </a:xfrm>
        </p:spPr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316" name="TextBox 315"/>
          <p:cNvSpPr txBox="1"/>
          <p:nvPr>
            <p:custDataLst>
              <p:tags r:id="rId4"/>
            </p:custDataLst>
          </p:nvPr>
        </p:nvSpPr>
        <p:spPr>
          <a:xfrm>
            <a:off x="1717915" y="1092493"/>
            <a:ext cx="723518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779144">
              <a:defRPr/>
            </a:pPr>
            <a:r>
              <a:rPr lang="ru-RU" sz="2400" b="1" dirty="0" smtClean="0">
                <a:ln w="0"/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,7</a:t>
            </a:r>
            <a:endParaRPr lang="ru-RU" sz="2400" b="1" dirty="0">
              <a:ln w="0"/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9" name="TextBox 318"/>
          <p:cNvSpPr txBox="1"/>
          <p:nvPr>
            <p:custDataLst>
              <p:tags r:id="rId5"/>
            </p:custDataLst>
          </p:nvPr>
        </p:nvSpPr>
        <p:spPr>
          <a:xfrm>
            <a:off x="344620" y="1720509"/>
            <a:ext cx="731508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779144">
              <a:defRPr/>
            </a:pPr>
            <a:r>
              <a:rPr lang="ru-RU" sz="2400" b="1" dirty="0" smtClean="0">
                <a:ln w="0"/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,2</a:t>
            </a:r>
            <a:endParaRPr lang="ru-RU" sz="2400" b="1" dirty="0">
              <a:ln w="0"/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2" name="TextBox 321"/>
          <p:cNvSpPr txBox="1"/>
          <p:nvPr>
            <p:custDataLst>
              <p:tags r:id="rId6"/>
            </p:custDataLst>
          </p:nvPr>
        </p:nvSpPr>
        <p:spPr>
          <a:xfrm>
            <a:off x="1717915" y="2348525"/>
            <a:ext cx="708099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779144">
              <a:defRPr/>
            </a:pPr>
            <a:r>
              <a:rPr lang="ru-RU" sz="2400" b="1" dirty="0" smtClean="0">
                <a:ln w="0"/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0,4</a:t>
            </a:r>
            <a:endParaRPr lang="ru-RU" sz="2400" b="1" dirty="0">
              <a:ln w="0"/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5" name="TextBox 324"/>
          <p:cNvSpPr txBox="1"/>
          <p:nvPr>
            <p:custDataLst>
              <p:tags r:id="rId7"/>
            </p:custDataLst>
          </p:nvPr>
        </p:nvSpPr>
        <p:spPr>
          <a:xfrm>
            <a:off x="373581" y="2348525"/>
            <a:ext cx="708099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779144">
              <a:defRPr/>
            </a:pPr>
            <a:r>
              <a:rPr lang="ru-RU" sz="2400" b="1" dirty="0" smtClean="0">
                <a:ln w="0"/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0,3</a:t>
            </a:r>
            <a:endParaRPr lang="ru-RU" sz="2400" b="1" dirty="0">
              <a:ln w="0"/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9" name="TextBox 328"/>
          <p:cNvSpPr txBox="1"/>
          <p:nvPr>
            <p:custDataLst>
              <p:tags r:id="rId8"/>
            </p:custDataLst>
          </p:nvPr>
        </p:nvSpPr>
        <p:spPr>
          <a:xfrm>
            <a:off x="373581" y="2976541"/>
            <a:ext cx="708099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779144">
              <a:defRPr/>
            </a:pPr>
            <a:r>
              <a:rPr lang="ru-RU" sz="2400" b="1" dirty="0" smtClean="0">
                <a:ln w="0"/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0,3</a:t>
            </a:r>
            <a:endParaRPr lang="ru-RU" sz="2400" b="1" dirty="0">
              <a:ln w="0"/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2" name="TextBox 331"/>
          <p:cNvSpPr txBox="1"/>
          <p:nvPr>
            <p:custDataLst>
              <p:tags r:id="rId9"/>
            </p:custDataLst>
          </p:nvPr>
        </p:nvSpPr>
        <p:spPr>
          <a:xfrm>
            <a:off x="1717915" y="2976541"/>
            <a:ext cx="708099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779144">
              <a:defRPr/>
            </a:pPr>
            <a:r>
              <a:rPr lang="ru-RU" sz="2400" b="1" dirty="0" smtClean="0">
                <a:ln w="0"/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0,1</a:t>
            </a:r>
            <a:endParaRPr lang="ru-RU" sz="2400" b="1" dirty="0">
              <a:ln w="0"/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5" name="TextBox 13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58775" y="347883"/>
            <a:ext cx="2498523" cy="5493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79144" eaLnBrk="1" hangingPunct="1">
              <a:lnSpc>
                <a:spcPct val="85000"/>
              </a:lnSpc>
            </a:pPr>
            <a:r>
              <a:rPr lang="ru-RU" sz="1400" dirty="0" smtClean="0">
                <a:solidFill>
                  <a:schemeClr val="bg1"/>
                </a:solidFill>
                <a:cs typeface="Arial" charset="0"/>
              </a:rPr>
              <a:t>Наши основные производственные мощности, млн т</a:t>
            </a:r>
            <a:endParaRPr lang="ru-RU" sz="14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14" name="TextBox 13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44620" y="976702"/>
            <a:ext cx="828000" cy="141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79144" eaLnBrk="1" hangingPunct="1">
              <a:lnSpc>
                <a:spcPts val="1100"/>
              </a:lnSpc>
            </a:pPr>
            <a:r>
              <a:rPr lang="ru-RU" sz="1000" dirty="0" smtClean="0">
                <a:solidFill>
                  <a:schemeClr val="bg1"/>
                </a:solidFill>
                <a:cs typeface="Arial" charset="0"/>
              </a:rPr>
              <a:t>полиэтилен</a:t>
            </a:r>
            <a:endParaRPr lang="ru-RU" sz="10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18" name="TextBox 13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717915" y="976702"/>
            <a:ext cx="1008000" cy="141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79144" eaLnBrk="1" hangingPunct="1">
              <a:lnSpc>
                <a:spcPts val="1100"/>
              </a:lnSpc>
            </a:pPr>
            <a:r>
              <a:rPr lang="ru-RU" sz="1000" dirty="0" smtClean="0">
                <a:solidFill>
                  <a:schemeClr val="bg1"/>
                </a:solidFill>
                <a:cs typeface="Arial" charset="0"/>
              </a:rPr>
              <a:t>полипропилен</a:t>
            </a:r>
            <a:endParaRPr lang="ru-RU" sz="10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21" name="TextBox 13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44620" y="1594269"/>
            <a:ext cx="1725976" cy="141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79144" eaLnBrk="1" hangingPunct="1">
              <a:lnSpc>
                <a:spcPts val="1100"/>
              </a:lnSpc>
            </a:pPr>
            <a:r>
              <a:rPr lang="ru-RU" sz="1000" dirty="0">
                <a:solidFill>
                  <a:schemeClr val="bg1"/>
                </a:solidFill>
                <a:cs typeface="Arial" charset="0"/>
              </a:rPr>
              <a:t>с</a:t>
            </a:r>
            <a:r>
              <a:rPr lang="ru-RU" sz="1000" dirty="0" smtClean="0">
                <a:solidFill>
                  <a:schemeClr val="bg1"/>
                </a:solidFill>
                <a:cs typeface="Arial" charset="0"/>
              </a:rPr>
              <a:t>интетические каучуки</a:t>
            </a:r>
            <a:endParaRPr lang="ru-RU" sz="10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24" name="TextBox 13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717915" y="2229091"/>
            <a:ext cx="828000" cy="141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79144" eaLnBrk="1" hangingPunct="1">
              <a:lnSpc>
                <a:spcPts val="1100"/>
              </a:lnSpc>
            </a:pPr>
            <a:r>
              <a:rPr lang="ru-RU" sz="1000" dirty="0" smtClean="0">
                <a:solidFill>
                  <a:schemeClr val="bg1"/>
                </a:solidFill>
                <a:cs typeface="Arial" charset="0"/>
              </a:rPr>
              <a:t>полистирол</a:t>
            </a:r>
            <a:endParaRPr lang="ru-RU" sz="10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27" name="TextBox 13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373581" y="2229091"/>
            <a:ext cx="360000" cy="141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79144" eaLnBrk="1" hangingPunct="1">
              <a:lnSpc>
                <a:spcPts val="1100"/>
              </a:lnSpc>
            </a:pPr>
            <a:r>
              <a:rPr lang="ru-RU" sz="1000" dirty="0" smtClean="0">
                <a:solidFill>
                  <a:schemeClr val="bg1"/>
                </a:solidFill>
                <a:cs typeface="Arial" charset="0"/>
              </a:rPr>
              <a:t>ПЭТ</a:t>
            </a:r>
            <a:endParaRPr lang="ru-RU" sz="10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31" name="TextBox 131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373581" y="2850039"/>
            <a:ext cx="396000" cy="141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79144" eaLnBrk="1" hangingPunct="1">
              <a:lnSpc>
                <a:spcPts val="1100"/>
              </a:lnSpc>
            </a:pPr>
            <a:r>
              <a:rPr lang="ru-RU" sz="1000" dirty="0" smtClean="0">
                <a:solidFill>
                  <a:schemeClr val="bg1"/>
                </a:solidFill>
                <a:cs typeface="Arial" charset="0"/>
              </a:rPr>
              <a:t>ПВХ</a:t>
            </a:r>
            <a:endParaRPr lang="ru-RU" sz="10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34" name="TextBox 131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717915" y="2850039"/>
            <a:ext cx="972000" cy="141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79144" eaLnBrk="1" hangingPunct="1">
              <a:lnSpc>
                <a:spcPts val="1100"/>
              </a:lnSpc>
            </a:pPr>
            <a:r>
              <a:rPr lang="ru-RU" sz="1000" dirty="0" smtClean="0">
                <a:solidFill>
                  <a:schemeClr val="bg1"/>
                </a:solidFill>
                <a:cs typeface="Arial" charset="0"/>
              </a:rPr>
              <a:t>поликарбонат</a:t>
            </a:r>
            <a:endParaRPr lang="ru-RU" sz="10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0" y="3450898"/>
            <a:ext cx="2916000" cy="1112068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20" name="TextBox 319"/>
          <p:cNvSpPr txBox="1"/>
          <p:nvPr>
            <p:custDataLst>
              <p:tags r:id="rId18"/>
            </p:custDataLst>
          </p:nvPr>
        </p:nvSpPr>
        <p:spPr>
          <a:xfrm>
            <a:off x="357921" y="3665516"/>
            <a:ext cx="1403801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defTabSz="779144">
              <a:defRPr sz="2400" b="1">
                <a:ln w="0"/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800" dirty="0"/>
              <a:t>&gt;</a:t>
            </a:r>
            <a:r>
              <a:rPr lang="ru-RU" dirty="0"/>
              <a:t>1800</a:t>
            </a:r>
          </a:p>
        </p:txBody>
      </p:sp>
      <p:sp>
        <p:nvSpPr>
          <p:cNvPr id="323" name="TextBox 322"/>
          <p:cNvSpPr txBox="1"/>
          <p:nvPr>
            <p:custDataLst>
              <p:tags r:id="rId19"/>
            </p:custDataLst>
          </p:nvPr>
        </p:nvSpPr>
        <p:spPr>
          <a:xfrm>
            <a:off x="1548486" y="3665516"/>
            <a:ext cx="742791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779144">
              <a:defRPr/>
            </a:pPr>
            <a:r>
              <a:rPr lang="ru-RU" sz="1000" b="1" dirty="0" smtClean="0">
                <a:ln w="0"/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в </a:t>
            </a:r>
            <a:r>
              <a:rPr lang="ru-RU" sz="2400" b="1" dirty="0" smtClean="0">
                <a:ln w="0"/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100</a:t>
            </a:r>
            <a:r>
              <a:rPr lang="ru-RU" sz="1400" b="1" dirty="0" smtClean="0">
                <a:ln w="0"/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b="1" dirty="0" smtClean="0">
                <a:ln w="0"/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1400" b="1" dirty="0">
              <a:ln w="0"/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6" name="Прямоугольник 325"/>
          <p:cNvSpPr/>
          <p:nvPr/>
        </p:nvSpPr>
        <p:spPr>
          <a:xfrm>
            <a:off x="1718984" y="4014975"/>
            <a:ext cx="718230" cy="2821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defTabSz="779144">
              <a:lnSpc>
                <a:spcPts val="1100"/>
              </a:lnSpc>
            </a:pPr>
            <a:r>
              <a:rPr lang="ru-RU" sz="1000" b="1" dirty="0">
                <a:solidFill>
                  <a:schemeClr val="tx2"/>
                </a:solidFill>
                <a:latin typeface="Arial" charset="0"/>
                <a:cs typeface="Arial" charset="0"/>
              </a:rPr>
              <a:t>стран</a:t>
            </a:r>
            <a:r>
              <a:rPr lang="en-US" sz="1000" b="1" dirty="0">
                <a:solidFill>
                  <a:schemeClr val="tx2"/>
                </a:solidFill>
                <a:latin typeface="Arial" charset="0"/>
                <a:cs typeface="Arial" charset="0"/>
              </a:rPr>
              <a:t> </a:t>
            </a:r>
            <a:r>
              <a:rPr lang="ru-RU" sz="1000" b="1" dirty="0">
                <a:solidFill>
                  <a:schemeClr val="tx2"/>
                </a:solidFill>
                <a:latin typeface="Arial" charset="0"/>
                <a:cs typeface="Arial" charset="0"/>
              </a:rPr>
              <a:t>экспорт</a:t>
            </a:r>
          </a:p>
        </p:txBody>
      </p:sp>
      <p:sp>
        <p:nvSpPr>
          <p:cNvPr id="330" name="TextBox 131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358775" y="4014975"/>
            <a:ext cx="931644" cy="2821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defTabSz="779144">
              <a:lnSpc>
                <a:spcPts val="1100"/>
              </a:lnSpc>
              <a:defRPr sz="1000" b="1">
                <a:solidFill>
                  <a:schemeClr val="tx2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b="1">
                <a:latin typeface="Arial" charset="0"/>
              </a:defRPr>
            </a:lvl2pPr>
            <a:lvl3pPr marL="1143000" indent="-228600" eaLnBrk="0" hangingPunct="0">
              <a:defRPr b="1">
                <a:latin typeface="Arial" charset="0"/>
              </a:defRPr>
            </a:lvl3pPr>
            <a:lvl4pPr marL="1600200" indent="-228600" eaLnBrk="0" hangingPunct="0">
              <a:defRPr b="1">
                <a:latin typeface="Arial" charset="0"/>
              </a:defRPr>
            </a:lvl4pPr>
            <a:lvl5pPr marL="2057400" indent="-228600" eaLnBrk="0" hangingPunct="0">
              <a:defRPr b="1"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latin typeface="Arial" charset="0"/>
              </a:defRPr>
            </a:lvl9pPr>
          </a:lstStyle>
          <a:p>
            <a:r>
              <a:rPr lang="ru-RU" dirty="0"/>
              <a:t>клиентов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во </a:t>
            </a:r>
            <a:r>
              <a:rPr lang="ru-RU" dirty="0"/>
              <a:t>всем мире</a:t>
            </a:r>
          </a:p>
        </p:txBody>
      </p:sp>
    </p:spTree>
    <p:extLst>
      <p:ext uri="{BB962C8B-B14F-4D97-AF65-F5344CB8AC3E}">
        <p14:creationId xmlns:p14="http://schemas.microsoft.com/office/powerpoint/2010/main" val="4084946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0739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265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7" name="Прямоугольник 116"/>
          <p:cNvSpPr/>
          <p:nvPr/>
        </p:nvSpPr>
        <p:spPr bwMode="auto">
          <a:xfrm>
            <a:off x="2326511" y="1131888"/>
            <a:ext cx="4496877" cy="343556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3" name="Прямоугольник 72"/>
          <p:cNvSpPr/>
          <p:nvPr/>
        </p:nvSpPr>
        <p:spPr bwMode="auto">
          <a:xfrm>
            <a:off x="2492706" y="1923818"/>
            <a:ext cx="1296000" cy="2519941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4" name="Прямоугольник 73"/>
          <p:cNvSpPr/>
          <p:nvPr/>
        </p:nvSpPr>
        <p:spPr bwMode="auto">
          <a:xfrm>
            <a:off x="3927753" y="1923818"/>
            <a:ext cx="1296000" cy="2519941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5" name="Прямоугольник 74"/>
          <p:cNvSpPr/>
          <p:nvPr/>
        </p:nvSpPr>
        <p:spPr bwMode="auto">
          <a:xfrm>
            <a:off x="5354104" y="1923818"/>
            <a:ext cx="1296000" cy="2519941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1" name="Прямоугольник 110"/>
          <p:cNvSpPr/>
          <p:nvPr/>
        </p:nvSpPr>
        <p:spPr bwMode="auto">
          <a:xfrm>
            <a:off x="2476992" y="1131888"/>
            <a:ext cx="4173112" cy="705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2" name="Прямоугольник 71"/>
          <p:cNvSpPr/>
          <p:nvPr/>
        </p:nvSpPr>
        <p:spPr bwMode="auto">
          <a:xfrm>
            <a:off x="6650104" y="1131888"/>
            <a:ext cx="1432537" cy="70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358774" y="1131888"/>
            <a:ext cx="1412464" cy="70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Наши ценности лежат </a:t>
            </a:r>
            <a:r>
              <a:rPr lang="ru-RU" dirty="0" smtClean="0"/>
              <a:t>в </a:t>
            </a:r>
            <a:r>
              <a:rPr lang="ru-RU" dirty="0"/>
              <a:t>основе обновленной  стратегии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в </a:t>
            </a:r>
            <a:r>
              <a:rPr lang="ru-RU" dirty="0"/>
              <a:t>области  устойчивого развития</a:t>
            </a:r>
            <a:br>
              <a:rPr lang="ru-RU" dirty="0"/>
            </a:br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5</a:t>
            </a:fld>
            <a:endParaRPr lang="ru-RU" dirty="0"/>
          </a:p>
        </p:txBody>
      </p:sp>
      <p:sp>
        <p:nvSpPr>
          <p:cNvPr id="26" name="object 16">
            <a:extLst>
              <a:ext uri="{FF2B5EF4-FFF2-40B4-BE49-F238E27FC236}">
                <a16:creationId xmlns:a16="http://schemas.microsoft.com/office/drawing/2014/main" id="{549C62AD-95AB-9D44-8F98-CEAC9CE18183}"/>
              </a:ext>
            </a:extLst>
          </p:cNvPr>
          <p:cNvSpPr txBox="1"/>
          <p:nvPr/>
        </p:nvSpPr>
        <p:spPr>
          <a:xfrm>
            <a:off x="836036" y="3017097"/>
            <a:ext cx="1167570" cy="166692"/>
          </a:xfrm>
          <a:prstGeom prst="rect">
            <a:avLst/>
          </a:prstGeom>
        </p:spPr>
        <p:txBody>
          <a:bodyPr vert="horz" wrap="square" lIns="0" tIns="12680" rIns="0" bIns="0" rtlCol="0">
            <a:spAutoFit/>
          </a:bodyPr>
          <a:lstStyle/>
          <a:p>
            <a:pPr marL="12681" defTabSz="685800">
              <a:spcBef>
                <a:spcPts val="100"/>
              </a:spcBef>
              <a:defRPr/>
            </a:pPr>
            <a:r>
              <a:rPr lang="ru-RU" sz="1000" b="1" spc="-5" dirty="0">
                <a:solidFill>
                  <a:schemeClr val="tx2"/>
                </a:solidFill>
                <a:cs typeface="Arial" panose="020B0604020202020204" pitchFamily="34" charset="0"/>
              </a:rPr>
              <a:t>Взаимоуважение</a:t>
            </a:r>
          </a:p>
        </p:txBody>
      </p:sp>
      <p:sp>
        <p:nvSpPr>
          <p:cNvPr id="40" name="object 30">
            <a:extLst>
              <a:ext uri="{FF2B5EF4-FFF2-40B4-BE49-F238E27FC236}">
                <a16:creationId xmlns:a16="http://schemas.microsoft.com/office/drawing/2014/main" id="{59707BA3-4978-B443-9998-D41E69746AEB}"/>
              </a:ext>
            </a:extLst>
          </p:cNvPr>
          <p:cNvSpPr txBox="1"/>
          <p:nvPr/>
        </p:nvSpPr>
        <p:spPr>
          <a:xfrm>
            <a:off x="836034" y="4175480"/>
            <a:ext cx="887389" cy="166692"/>
          </a:xfrm>
          <a:prstGeom prst="rect">
            <a:avLst/>
          </a:prstGeom>
        </p:spPr>
        <p:txBody>
          <a:bodyPr vert="horz" wrap="square" lIns="0" tIns="12680" rIns="0" bIns="0" rtlCol="0">
            <a:spAutoFit/>
          </a:bodyPr>
          <a:lstStyle/>
          <a:p>
            <a:pPr marL="12681" defTabSz="685800">
              <a:spcBef>
                <a:spcPts val="100"/>
              </a:spcBef>
              <a:defRPr/>
            </a:pPr>
            <a:r>
              <a:rPr lang="ru-RU" sz="1000" b="1" dirty="0">
                <a:solidFill>
                  <a:schemeClr val="tx2"/>
                </a:solidFill>
                <a:cs typeface="Arial" panose="020B0604020202020204" pitchFamily="34" charset="0"/>
              </a:rPr>
              <a:t>Партнерство</a:t>
            </a:r>
            <a:endParaRPr sz="1000" b="1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46" name="object 42">
            <a:extLst>
              <a:ext uri="{FF2B5EF4-FFF2-40B4-BE49-F238E27FC236}">
                <a16:creationId xmlns:a16="http://schemas.microsoft.com/office/drawing/2014/main" id="{CC1A4246-2C4E-CF45-BCE4-CEE6DC2B1D71}"/>
              </a:ext>
            </a:extLst>
          </p:cNvPr>
          <p:cNvSpPr txBox="1"/>
          <p:nvPr/>
        </p:nvSpPr>
        <p:spPr>
          <a:xfrm>
            <a:off x="2584381" y="2544337"/>
            <a:ext cx="1141236" cy="5078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81" marR="5072" algn="ctr" defTabSz="685800">
              <a:spcBef>
                <a:spcPts val="100"/>
              </a:spcBef>
              <a:defRPr/>
            </a:pPr>
            <a:r>
              <a:rPr lang="ru-RU" sz="1100" b="1" spc="-5" dirty="0">
                <a:solidFill>
                  <a:schemeClr val="tx2"/>
                </a:solidFill>
                <a:cs typeface="Arial" panose="020B0604020202020204" pitchFamily="34" charset="0"/>
              </a:rPr>
              <a:t>Охрана окружающей среды и климат</a:t>
            </a:r>
            <a:endParaRPr sz="1100" b="1" spc="-5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47" name="object 43">
            <a:extLst>
              <a:ext uri="{FF2B5EF4-FFF2-40B4-BE49-F238E27FC236}">
                <a16:creationId xmlns:a16="http://schemas.microsoft.com/office/drawing/2014/main" id="{F73A468B-7CDD-0D4E-8FCA-1505DEDD1959}"/>
              </a:ext>
            </a:extLst>
          </p:cNvPr>
          <p:cNvSpPr txBox="1"/>
          <p:nvPr/>
        </p:nvSpPr>
        <p:spPr>
          <a:xfrm>
            <a:off x="2676825" y="3320060"/>
            <a:ext cx="956348" cy="5078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81" marR="5072" algn="ctr" defTabSz="685800">
              <a:spcBef>
                <a:spcPts val="100"/>
              </a:spcBef>
              <a:defRPr/>
            </a:pPr>
            <a:r>
              <a:rPr lang="ru-RU" sz="1100" b="1" spc="-5" dirty="0">
                <a:solidFill>
                  <a:schemeClr val="tx2"/>
                </a:solidFill>
                <a:cs typeface="Arial" panose="020B0604020202020204" pitchFamily="34" charset="0"/>
              </a:rPr>
              <a:t>Устойчивый продуктовый портфель</a:t>
            </a:r>
            <a:endParaRPr sz="1100" b="1" spc="-5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49" name="object 45">
            <a:extLst>
              <a:ext uri="{FF2B5EF4-FFF2-40B4-BE49-F238E27FC236}">
                <a16:creationId xmlns:a16="http://schemas.microsoft.com/office/drawing/2014/main" id="{FB215BED-357A-774C-ACF6-4F699F6D0DC5}"/>
              </a:ext>
            </a:extLst>
          </p:cNvPr>
          <p:cNvSpPr txBox="1"/>
          <p:nvPr/>
        </p:nvSpPr>
        <p:spPr>
          <a:xfrm>
            <a:off x="3942080" y="2545555"/>
            <a:ext cx="1245411" cy="5206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81" algn="ctr" defTabSz="685800">
              <a:spcBef>
                <a:spcPts val="100"/>
              </a:spcBef>
              <a:defRPr/>
            </a:pPr>
            <a:r>
              <a:rPr lang="ru-RU" sz="1100" b="1" dirty="0">
                <a:solidFill>
                  <a:schemeClr val="tx2"/>
                </a:solidFill>
                <a:cs typeface="Arial" panose="020B0604020202020204" pitchFamily="34" charset="0"/>
              </a:rPr>
              <a:t>Охрана труда</a:t>
            </a:r>
          </a:p>
          <a:p>
            <a:pPr marL="12681" algn="ctr" defTabSz="685800">
              <a:spcBef>
                <a:spcPts val="100"/>
              </a:spcBef>
              <a:defRPr/>
            </a:pPr>
            <a:r>
              <a:rPr lang="ru-RU" sz="1100" b="1" dirty="0">
                <a:solidFill>
                  <a:schemeClr val="tx2"/>
                </a:solidFill>
                <a:cs typeface="Arial" panose="020B0604020202020204" pitchFamily="34" charset="0"/>
              </a:rPr>
              <a:t>и промышленная  безопасность</a:t>
            </a:r>
            <a:endParaRPr sz="1100" b="1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50" name="object 46">
            <a:extLst>
              <a:ext uri="{FF2B5EF4-FFF2-40B4-BE49-F238E27FC236}">
                <a16:creationId xmlns:a16="http://schemas.microsoft.com/office/drawing/2014/main" id="{99051520-5466-A14B-B649-85188D519655}"/>
              </a:ext>
            </a:extLst>
          </p:cNvPr>
          <p:cNvSpPr txBox="1"/>
          <p:nvPr/>
        </p:nvSpPr>
        <p:spPr>
          <a:xfrm>
            <a:off x="5444542" y="2544337"/>
            <a:ext cx="1115896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81" marR="5072" algn="ctr" defTabSz="685800">
              <a:spcBef>
                <a:spcPts val="100"/>
              </a:spcBef>
              <a:defRPr/>
            </a:pPr>
            <a:r>
              <a:rPr lang="ru-RU" sz="1100" b="1" spc="-5" dirty="0">
                <a:solidFill>
                  <a:schemeClr val="tx2"/>
                </a:solidFill>
                <a:cs typeface="Arial" panose="020B0604020202020204" pitchFamily="34" charset="0"/>
              </a:rPr>
              <a:t>Корпоративное управление</a:t>
            </a:r>
            <a:endParaRPr sz="1100" b="1" spc="-5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51" name="object 61">
            <a:extLst>
              <a:ext uri="{FF2B5EF4-FFF2-40B4-BE49-F238E27FC236}">
                <a16:creationId xmlns:a16="http://schemas.microsoft.com/office/drawing/2014/main" id="{7E3B24ED-67F2-7E43-BFEC-06091B192BF4}"/>
              </a:ext>
            </a:extLst>
          </p:cNvPr>
          <p:cNvSpPr/>
          <p:nvPr/>
        </p:nvSpPr>
        <p:spPr>
          <a:xfrm>
            <a:off x="2199658" y="1247765"/>
            <a:ext cx="4745651" cy="376609"/>
          </a:xfrm>
          <a:custGeom>
            <a:avLst/>
            <a:gdLst/>
            <a:ahLst/>
            <a:cxnLst/>
            <a:rect l="l" t="t" r="r" b="b"/>
            <a:pathLst>
              <a:path w="4752975" h="377189">
                <a:moveTo>
                  <a:pt x="86398" y="0"/>
                </a:moveTo>
                <a:lnTo>
                  <a:pt x="0" y="0"/>
                </a:lnTo>
                <a:lnTo>
                  <a:pt x="0" y="376809"/>
                </a:lnTo>
                <a:lnTo>
                  <a:pt x="86398" y="376809"/>
                </a:lnTo>
                <a:lnTo>
                  <a:pt x="86398" y="0"/>
                </a:lnTo>
                <a:close/>
              </a:path>
              <a:path w="4752975" h="377189">
                <a:moveTo>
                  <a:pt x="4752606" y="0"/>
                </a:moveTo>
                <a:lnTo>
                  <a:pt x="4666208" y="0"/>
                </a:lnTo>
                <a:lnTo>
                  <a:pt x="4666208" y="376809"/>
                </a:lnTo>
                <a:lnTo>
                  <a:pt x="4752606" y="376809"/>
                </a:lnTo>
                <a:lnTo>
                  <a:pt x="4752606" y="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lIns="0" tIns="0" rIns="0" bIns="0" rtlCol="0"/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7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3" name="object 83">
            <a:extLst>
              <a:ext uri="{FF2B5EF4-FFF2-40B4-BE49-F238E27FC236}">
                <a16:creationId xmlns:a16="http://schemas.microsoft.com/office/drawing/2014/main" id="{7716AF0E-5CBF-2E4B-91BE-D28A0833BF92}"/>
              </a:ext>
            </a:extLst>
          </p:cNvPr>
          <p:cNvSpPr txBox="1"/>
          <p:nvPr/>
        </p:nvSpPr>
        <p:spPr>
          <a:xfrm>
            <a:off x="4043908" y="4028122"/>
            <a:ext cx="1041754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81" algn="ctr" defTabSz="685800">
              <a:spcBef>
                <a:spcPts val="100"/>
              </a:spcBef>
              <a:defRPr/>
            </a:pPr>
            <a:r>
              <a:rPr lang="ru-RU" sz="1100" b="1" spc="-5" dirty="0">
                <a:solidFill>
                  <a:schemeClr val="tx2"/>
                </a:solidFill>
                <a:cs typeface="Arial" panose="020B0604020202020204" pitchFamily="34" charset="0"/>
              </a:rPr>
              <a:t>Общество </a:t>
            </a:r>
            <a:r>
              <a:rPr lang="en-US" sz="1100" b="1" spc="-5" dirty="0">
                <a:solidFill>
                  <a:schemeClr val="tx2"/>
                </a:solidFill>
                <a:cs typeface="Arial" panose="020B0604020202020204" pitchFamily="34" charset="0"/>
              </a:rPr>
              <a:t/>
            </a:r>
            <a:br>
              <a:rPr lang="en-US" sz="1100" b="1" spc="-5" dirty="0">
                <a:solidFill>
                  <a:schemeClr val="tx2"/>
                </a:solidFill>
                <a:cs typeface="Arial" panose="020B0604020202020204" pitchFamily="34" charset="0"/>
              </a:rPr>
            </a:br>
            <a:r>
              <a:rPr lang="ru-RU" sz="1100" b="1" spc="-5" dirty="0">
                <a:solidFill>
                  <a:schemeClr val="tx2"/>
                </a:solidFill>
                <a:cs typeface="Arial" panose="020B0604020202020204" pitchFamily="34" charset="0"/>
              </a:rPr>
              <a:t>и партнерство</a:t>
            </a:r>
            <a:endParaRPr sz="1100" b="1" spc="-5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54" name="object 90">
            <a:extLst>
              <a:ext uri="{FF2B5EF4-FFF2-40B4-BE49-F238E27FC236}">
                <a16:creationId xmlns:a16="http://schemas.microsoft.com/office/drawing/2014/main" id="{EDD87BCB-520E-3744-99B7-19F7FE356F7C}"/>
              </a:ext>
            </a:extLst>
          </p:cNvPr>
          <p:cNvSpPr txBox="1"/>
          <p:nvPr/>
        </p:nvSpPr>
        <p:spPr>
          <a:xfrm>
            <a:off x="2663430" y="1205966"/>
            <a:ext cx="3946967" cy="564237"/>
          </a:xfrm>
          <a:prstGeom prst="rect">
            <a:avLst/>
          </a:prstGeom>
        </p:spPr>
        <p:txBody>
          <a:bodyPr vert="horz" wrap="square" lIns="0" tIns="12680" rIns="0" bIns="0" rtlCol="0">
            <a:spAutoFit/>
          </a:bodyPr>
          <a:lstStyle/>
          <a:p>
            <a:pPr marL="1902" defTabSz="685800">
              <a:lnSpc>
                <a:spcPts val="1418"/>
              </a:lnSpc>
              <a:spcBef>
                <a:spcPts val="100"/>
              </a:spcBef>
              <a:defRPr/>
            </a:pPr>
            <a:r>
              <a:rPr lang="ru-RU" sz="1400" b="1" spc="-5" dirty="0" smtClean="0">
                <a:solidFill>
                  <a:schemeClr val="bg1"/>
                </a:solidFill>
                <a:cs typeface="Arial" panose="020B0604020202020204" pitchFamily="34" charset="0"/>
              </a:rPr>
              <a:t>Стратегия </a:t>
            </a:r>
            <a:r>
              <a:rPr lang="ru-RU" sz="1400" b="1" spc="-5" dirty="0" err="1" smtClean="0">
                <a:solidFill>
                  <a:schemeClr val="bg1"/>
                </a:solidFill>
                <a:cs typeface="Arial" panose="020B0604020202020204" pitchFamily="34" charset="0"/>
              </a:rPr>
              <a:t>СИБУРа</a:t>
            </a:r>
            <a:endParaRPr lang="ru-RU" sz="1400" b="1" spc="-5" dirty="0" smtClean="0">
              <a:solidFill>
                <a:schemeClr val="bg1"/>
              </a:solidFill>
              <a:cs typeface="Arial" panose="020B0604020202020204" pitchFamily="34" charset="0"/>
            </a:endParaRPr>
          </a:p>
          <a:p>
            <a:pPr marL="1902" defTabSz="685800">
              <a:lnSpc>
                <a:spcPts val="1418"/>
              </a:lnSpc>
              <a:spcBef>
                <a:spcPts val="100"/>
              </a:spcBef>
              <a:defRPr/>
            </a:pPr>
            <a:r>
              <a:rPr lang="ru-RU" sz="1400" b="1" spc="-5" dirty="0" smtClean="0">
                <a:solidFill>
                  <a:schemeClr val="bg1"/>
                </a:solidFill>
                <a:cs typeface="Arial" panose="020B0604020202020204" pitchFamily="34" charset="0"/>
              </a:rPr>
              <a:t>в области устойчивого развития </a:t>
            </a:r>
            <a:br>
              <a:rPr lang="ru-RU" sz="1400" b="1" spc="-5" dirty="0" smtClean="0">
                <a:solidFill>
                  <a:schemeClr val="bg1"/>
                </a:solidFill>
                <a:cs typeface="Arial" panose="020B0604020202020204" pitchFamily="34" charset="0"/>
              </a:rPr>
            </a:br>
            <a:r>
              <a:rPr lang="ru-RU" sz="1400" b="1" spc="-5" dirty="0" smtClean="0">
                <a:solidFill>
                  <a:schemeClr val="bg1"/>
                </a:solidFill>
                <a:cs typeface="Arial" panose="020B0604020202020204" pitchFamily="34" charset="0"/>
              </a:rPr>
              <a:t>до 2025 г.</a:t>
            </a:r>
            <a:endParaRPr sz="14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55" name="object 22">
            <a:extLst>
              <a:ext uri="{FF2B5EF4-FFF2-40B4-BE49-F238E27FC236}">
                <a16:creationId xmlns:a16="http://schemas.microsoft.com/office/drawing/2014/main" id="{C2FC69C3-411B-E742-B249-E8EED96EFFB1}"/>
              </a:ext>
            </a:extLst>
          </p:cNvPr>
          <p:cNvSpPr txBox="1"/>
          <p:nvPr/>
        </p:nvSpPr>
        <p:spPr>
          <a:xfrm>
            <a:off x="836035" y="2206130"/>
            <a:ext cx="1266562" cy="320580"/>
          </a:xfrm>
          <a:prstGeom prst="rect">
            <a:avLst/>
          </a:prstGeom>
        </p:spPr>
        <p:txBody>
          <a:bodyPr vert="horz" wrap="square" lIns="0" tIns="12680" rIns="0" bIns="0" rtlCol="0">
            <a:spAutoFit/>
          </a:bodyPr>
          <a:lstStyle/>
          <a:p>
            <a:pPr defTabSz="685800">
              <a:defRPr/>
            </a:pPr>
            <a:r>
              <a:rPr lang="ru-RU" sz="1000" b="1" spc="-5" dirty="0">
                <a:solidFill>
                  <a:schemeClr val="tx2"/>
                </a:solidFill>
                <a:cs typeface="Arial" panose="020B0604020202020204" pitchFamily="34" charset="0"/>
              </a:rPr>
              <a:t>Каждый день становимся лучше</a:t>
            </a:r>
          </a:p>
        </p:txBody>
      </p:sp>
      <p:sp>
        <p:nvSpPr>
          <p:cNvPr id="56" name="object 22">
            <a:extLst>
              <a:ext uri="{FF2B5EF4-FFF2-40B4-BE49-F238E27FC236}">
                <a16:creationId xmlns:a16="http://schemas.microsoft.com/office/drawing/2014/main" id="{2E8F36B2-7867-2D48-AE61-393762E3DC76}"/>
              </a:ext>
            </a:extLst>
          </p:cNvPr>
          <p:cNvSpPr txBox="1"/>
          <p:nvPr/>
        </p:nvSpPr>
        <p:spPr>
          <a:xfrm>
            <a:off x="836034" y="2670417"/>
            <a:ext cx="1885941" cy="166692"/>
          </a:xfrm>
          <a:prstGeom prst="rect">
            <a:avLst/>
          </a:prstGeom>
        </p:spPr>
        <p:txBody>
          <a:bodyPr vert="horz" wrap="square" lIns="0" tIns="12680" rIns="0" bIns="0" rtlCol="0">
            <a:spAutoFit/>
          </a:bodyPr>
          <a:lstStyle/>
          <a:p>
            <a:pPr marL="12681" marR="322722" defTabSz="685800">
              <a:spcBef>
                <a:spcPts val="884"/>
              </a:spcBef>
              <a:defRPr/>
            </a:pPr>
            <a:r>
              <a:rPr lang="ru-RU" sz="1000" b="1" spc="-5" dirty="0">
                <a:solidFill>
                  <a:schemeClr val="tx2"/>
                </a:solidFill>
                <a:cs typeface="Arial" panose="020B0604020202020204" pitchFamily="34" charset="0"/>
              </a:rPr>
              <a:t>Сплоченная  команда</a:t>
            </a:r>
            <a:endParaRPr sz="1000" b="1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57" name="object 36">
            <a:extLst>
              <a:ext uri="{FF2B5EF4-FFF2-40B4-BE49-F238E27FC236}">
                <a16:creationId xmlns:a16="http://schemas.microsoft.com/office/drawing/2014/main" id="{2B09253B-8DD7-5842-9FDB-4C9460FAAD95}"/>
              </a:ext>
            </a:extLst>
          </p:cNvPr>
          <p:cNvSpPr txBox="1"/>
          <p:nvPr/>
        </p:nvSpPr>
        <p:spPr>
          <a:xfrm>
            <a:off x="836035" y="3309348"/>
            <a:ext cx="1270981" cy="333404"/>
          </a:xfrm>
          <a:prstGeom prst="rect">
            <a:avLst/>
          </a:prstGeom>
        </p:spPr>
        <p:txBody>
          <a:bodyPr vert="horz" wrap="square" lIns="0" tIns="12680" rIns="0" bIns="0" rtlCol="0">
            <a:spAutoFit/>
          </a:bodyPr>
          <a:lstStyle/>
          <a:p>
            <a:pPr marL="12681" defTabSz="685800">
              <a:spcBef>
                <a:spcPts val="100"/>
              </a:spcBef>
              <a:defRPr/>
            </a:pPr>
            <a:r>
              <a:rPr lang="ru-RU" sz="1000" b="1" spc="-5" dirty="0">
                <a:solidFill>
                  <a:schemeClr val="tx2"/>
                </a:solidFill>
                <a:cs typeface="Arial" panose="020B0604020202020204" pitchFamily="34" charset="0"/>
              </a:rPr>
              <a:t>Безопасность</a:t>
            </a:r>
          </a:p>
          <a:p>
            <a:pPr marL="12681" defTabSz="685800">
              <a:spcBef>
                <a:spcPts val="100"/>
              </a:spcBef>
              <a:defRPr/>
            </a:pPr>
            <a:r>
              <a:rPr lang="ru-RU" sz="1000" b="1" spc="-5" dirty="0">
                <a:solidFill>
                  <a:schemeClr val="tx2"/>
                </a:solidFill>
                <a:cs typeface="Arial" panose="020B0604020202020204" pitchFamily="34" charset="0"/>
              </a:rPr>
              <a:t>без компромиссов</a:t>
            </a:r>
            <a:endParaRPr sz="1000" b="1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58" name="object 36">
            <a:extLst>
              <a:ext uri="{FF2B5EF4-FFF2-40B4-BE49-F238E27FC236}">
                <a16:creationId xmlns:a16="http://schemas.microsoft.com/office/drawing/2014/main" id="{69F53AD7-5FE9-D943-B20A-47B0D7A5D1DC}"/>
              </a:ext>
            </a:extLst>
          </p:cNvPr>
          <p:cNvSpPr txBox="1"/>
          <p:nvPr/>
        </p:nvSpPr>
        <p:spPr>
          <a:xfrm>
            <a:off x="836035" y="3835501"/>
            <a:ext cx="1619990" cy="166692"/>
          </a:xfrm>
          <a:prstGeom prst="rect">
            <a:avLst/>
          </a:prstGeom>
        </p:spPr>
        <p:txBody>
          <a:bodyPr vert="horz" wrap="square" lIns="0" tIns="12680" rIns="0" bIns="0" rtlCol="0">
            <a:spAutoFit/>
          </a:bodyPr>
          <a:lstStyle/>
          <a:p>
            <a:pPr marL="12681" marR="424167" defTabSz="685800">
              <a:spcBef>
                <a:spcPts val="884"/>
              </a:spcBef>
              <a:defRPr/>
            </a:pPr>
            <a:r>
              <a:rPr lang="ru-RU" sz="1000" b="1" spc="-10" dirty="0" smtClean="0">
                <a:solidFill>
                  <a:schemeClr val="tx2"/>
                </a:solidFill>
                <a:cs typeface="Arial" panose="020B0604020202020204" pitchFamily="34" charset="0"/>
              </a:rPr>
              <a:t>Умный</a:t>
            </a:r>
            <a:r>
              <a:rPr lang="en-US" sz="1000" b="1" spc="-10" dirty="0" smtClean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000" b="1" spc="-10" dirty="0" smtClean="0">
                <a:solidFill>
                  <a:schemeClr val="tx2"/>
                </a:solidFill>
                <a:cs typeface="Arial" panose="020B0604020202020204" pitchFamily="34" charset="0"/>
              </a:rPr>
              <a:t>результат</a:t>
            </a:r>
            <a:endParaRPr sz="1000" b="1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7051128" y="1996006"/>
            <a:ext cx="1400747" cy="2379376"/>
            <a:chOff x="7237285" y="2088118"/>
            <a:chExt cx="1400747" cy="2379376"/>
          </a:xfrm>
        </p:grpSpPr>
        <p:pic>
          <p:nvPicPr>
            <p:cNvPr id="59" name="Рисунок 58">
              <a:extLst>
                <a:ext uri="{FF2B5EF4-FFF2-40B4-BE49-F238E27FC236}">
                  <a16:creationId xmlns:a16="http://schemas.microsoft.com/office/drawing/2014/main" id="{F16857AE-3DD2-8D4B-A558-18F51FD9840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239381" y="2089074"/>
              <a:ext cx="405146" cy="405146"/>
            </a:xfrm>
            <a:prstGeom prst="rect">
              <a:avLst/>
            </a:prstGeom>
          </p:spPr>
        </p:pic>
        <p:pic>
          <p:nvPicPr>
            <p:cNvPr id="60" name="Рисунок 59">
              <a:extLst>
                <a:ext uri="{FF2B5EF4-FFF2-40B4-BE49-F238E27FC236}">
                  <a16:creationId xmlns:a16="http://schemas.microsoft.com/office/drawing/2014/main" id="{DB71C29A-9608-AD42-B86C-CD2B8B53510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733035" y="2088118"/>
              <a:ext cx="405146" cy="405146"/>
            </a:xfrm>
            <a:prstGeom prst="rect">
              <a:avLst/>
            </a:prstGeom>
          </p:spPr>
        </p:pic>
        <p:pic>
          <p:nvPicPr>
            <p:cNvPr id="61" name="Рисунок 60">
              <a:extLst>
                <a:ext uri="{FF2B5EF4-FFF2-40B4-BE49-F238E27FC236}">
                  <a16:creationId xmlns:a16="http://schemas.microsoft.com/office/drawing/2014/main" id="{9A8D05EC-D9EA-0D4F-BC17-FF5D94D843D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227018" y="2088118"/>
              <a:ext cx="405146" cy="405146"/>
            </a:xfrm>
            <a:prstGeom prst="rect">
              <a:avLst/>
            </a:prstGeom>
          </p:spPr>
        </p:pic>
        <p:pic>
          <p:nvPicPr>
            <p:cNvPr id="62" name="Рисунок 61">
              <a:extLst>
                <a:ext uri="{FF2B5EF4-FFF2-40B4-BE49-F238E27FC236}">
                  <a16:creationId xmlns:a16="http://schemas.microsoft.com/office/drawing/2014/main" id="{E71F1D13-A212-EC4B-B71A-1EA70004366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7239381" y="2580783"/>
              <a:ext cx="405146" cy="405146"/>
            </a:xfrm>
            <a:prstGeom prst="rect">
              <a:avLst/>
            </a:prstGeom>
          </p:spPr>
        </p:pic>
        <p:pic>
          <p:nvPicPr>
            <p:cNvPr id="63" name="Рисунок 62">
              <a:extLst>
                <a:ext uri="{FF2B5EF4-FFF2-40B4-BE49-F238E27FC236}">
                  <a16:creationId xmlns:a16="http://schemas.microsoft.com/office/drawing/2014/main" id="{FACCFBC9-EF26-644E-92D3-A7FACC92CDC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7733035" y="2580783"/>
              <a:ext cx="405146" cy="405146"/>
            </a:xfrm>
            <a:prstGeom prst="rect">
              <a:avLst/>
            </a:prstGeom>
          </p:spPr>
        </p:pic>
        <p:pic>
          <p:nvPicPr>
            <p:cNvPr id="64" name="Рисунок 63">
              <a:extLst>
                <a:ext uri="{FF2B5EF4-FFF2-40B4-BE49-F238E27FC236}">
                  <a16:creationId xmlns:a16="http://schemas.microsoft.com/office/drawing/2014/main" id="{82924B23-1174-7F42-BA2D-0B07539D3A6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8228426" y="2573238"/>
              <a:ext cx="405146" cy="405146"/>
            </a:xfrm>
            <a:prstGeom prst="rect">
              <a:avLst/>
            </a:prstGeom>
          </p:spPr>
        </p:pic>
        <p:pic>
          <p:nvPicPr>
            <p:cNvPr id="65" name="Рисунок 64">
              <a:extLst>
                <a:ext uri="{FF2B5EF4-FFF2-40B4-BE49-F238E27FC236}">
                  <a16:creationId xmlns:a16="http://schemas.microsoft.com/office/drawing/2014/main" id="{DD29D436-0213-1F46-B920-9AF95721B5E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7239381" y="3075672"/>
              <a:ext cx="405146" cy="405146"/>
            </a:xfrm>
            <a:prstGeom prst="rect">
              <a:avLst/>
            </a:prstGeom>
          </p:spPr>
        </p:pic>
        <p:pic>
          <p:nvPicPr>
            <p:cNvPr id="66" name="Рисунок 65">
              <a:extLst>
                <a:ext uri="{FF2B5EF4-FFF2-40B4-BE49-F238E27FC236}">
                  <a16:creationId xmlns:a16="http://schemas.microsoft.com/office/drawing/2014/main" id="{9349E681-CAAB-6A4B-883D-F54B8A9B7B9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7735283" y="3075672"/>
              <a:ext cx="405146" cy="405146"/>
            </a:xfrm>
            <a:prstGeom prst="rect">
              <a:avLst/>
            </a:prstGeom>
          </p:spPr>
        </p:pic>
        <p:pic>
          <p:nvPicPr>
            <p:cNvPr id="67" name="Рисунок 66">
              <a:extLst>
                <a:ext uri="{FF2B5EF4-FFF2-40B4-BE49-F238E27FC236}">
                  <a16:creationId xmlns:a16="http://schemas.microsoft.com/office/drawing/2014/main" id="{6FE99AE5-D452-B941-BF2E-F40A2C585AF3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8232886" y="3075672"/>
              <a:ext cx="405146" cy="405146"/>
            </a:xfrm>
            <a:prstGeom prst="rect">
              <a:avLst/>
            </a:prstGeom>
          </p:spPr>
        </p:pic>
        <p:pic>
          <p:nvPicPr>
            <p:cNvPr id="68" name="Рисунок 67">
              <a:extLst>
                <a:ext uri="{FF2B5EF4-FFF2-40B4-BE49-F238E27FC236}">
                  <a16:creationId xmlns:a16="http://schemas.microsoft.com/office/drawing/2014/main" id="{944317E4-E9D9-AC4B-8CC6-CE3A5BA85D75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7237285" y="3569010"/>
              <a:ext cx="405146" cy="405146"/>
            </a:xfrm>
            <a:prstGeom prst="rect">
              <a:avLst/>
            </a:prstGeom>
          </p:spPr>
        </p:pic>
        <p:pic>
          <p:nvPicPr>
            <p:cNvPr id="69" name="Рисунок 68">
              <a:extLst>
                <a:ext uri="{FF2B5EF4-FFF2-40B4-BE49-F238E27FC236}">
                  <a16:creationId xmlns:a16="http://schemas.microsoft.com/office/drawing/2014/main" id="{EE416A52-18BA-BC42-B4F0-4A2C707BEEEC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7733035" y="3569010"/>
              <a:ext cx="405146" cy="405146"/>
            </a:xfrm>
            <a:prstGeom prst="rect">
              <a:avLst/>
            </a:prstGeom>
          </p:spPr>
        </p:pic>
        <p:pic>
          <p:nvPicPr>
            <p:cNvPr id="70" name="Рисунок 69">
              <a:extLst>
                <a:ext uri="{FF2B5EF4-FFF2-40B4-BE49-F238E27FC236}">
                  <a16:creationId xmlns:a16="http://schemas.microsoft.com/office/drawing/2014/main" id="{12200298-1A96-9F42-A7EE-5B0D09658CF0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8228426" y="3569010"/>
              <a:ext cx="405146" cy="405146"/>
            </a:xfrm>
            <a:prstGeom prst="rect">
              <a:avLst/>
            </a:prstGeom>
          </p:spPr>
        </p:pic>
        <p:pic>
          <p:nvPicPr>
            <p:cNvPr id="71" name="Рисунок 70">
              <a:extLst>
                <a:ext uri="{FF2B5EF4-FFF2-40B4-BE49-F238E27FC236}">
                  <a16:creationId xmlns:a16="http://schemas.microsoft.com/office/drawing/2014/main" id="{8D8ABBC8-0C5C-6949-9819-957B6A6406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7237285" y="4062348"/>
              <a:ext cx="405146" cy="405146"/>
            </a:xfrm>
            <a:prstGeom prst="rect">
              <a:avLst/>
            </a:prstGeom>
          </p:spPr>
        </p:pic>
      </p:grpSp>
      <p:sp>
        <p:nvSpPr>
          <p:cNvPr id="82" name="object 63">
            <a:extLst>
              <a:ext uri="{FF2B5EF4-FFF2-40B4-BE49-F238E27FC236}">
                <a16:creationId xmlns:a16="http://schemas.microsoft.com/office/drawing/2014/main" id="{9A859B36-BC37-AA47-9898-6563C6558A8B}"/>
              </a:ext>
            </a:extLst>
          </p:cNvPr>
          <p:cNvSpPr txBox="1"/>
          <p:nvPr/>
        </p:nvSpPr>
        <p:spPr>
          <a:xfrm>
            <a:off x="540870" y="1293620"/>
            <a:ext cx="1169689" cy="382136"/>
          </a:xfrm>
          <a:prstGeom prst="rect">
            <a:avLst/>
          </a:prstGeom>
        </p:spPr>
        <p:txBody>
          <a:bodyPr vert="horz" wrap="square" lIns="0" tIns="12680" rIns="0" bIns="0" rtlCol="0">
            <a:spAutoFit/>
          </a:bodyPr>
          <a:lstStyle/>
          <a:p>
            <a:pPr marL="12681" defTabSz="685800">
              <a:spcBef>
                <a:spcPts val="100"/>
              </a:spcBef>
              <a:defRPr/>
            </a:pPr>
            <a:r>
              <a:rPr lang="ru-RU" sz="1200" b="1" spc="5" dirty="0" smtClean="0">
                <a:solidFill>
                  <a:schemeClr val="tx2"/>
                </a:solidFill>
                <a:cs typeface="Arial" panose="020B0604020202020204" pitchFamily="34" charset="0"/>
              </a:rPr>
              <a:t>Н</a:t>
            </a:r>
            <a:r>
              <a:rPr lang="ru-RU" sz="1200" b="1" dirty="0" smtClean="0">
                <a:solidFill>
                  <a:schemeClr val="tx2"/>
                </a:solidFill>
                <a:cs typeface="Arial" panose="020B0604020202020204" pitchFamily="34" charset="0"/>
              </a:rPr>
              <a:t>аши </a:t>
            </a:r>
            <a:r>
              <a:rPr lang="ru-RU" sz="1200" b="1" spc="-5" dirty="0" smtClean="0">
                <a:solidFill>
                  <a:schemeClr val="tx2"/>
                </a:solidFill>
                <a:cs typeface="Arial" panose="020B0604020202020204" pitchFamily="34" charset="0"/>
              </a:rPr>
              <a:t>ценно</a:t>
            </a:r>
            <a:r>
              <a:rPr lang="ru-RU" sz="1200" b="1" spc="-15" dirty="0" smtClean="0">
                <a:solidFill>
                  <a:schemeClr val="tx2"/>
                </a:solidFill>
                <a:cs typeface="Arial" panose="020B0604020202020204" pitchFamily="34" charset="0"/>
              </a:rPr>
              <a:t>с</a:t>
            </a:r>
            <a:r>
              <a:rPr lang="ru-RU" sz="1200" b="1" dirty="0" smtClean="0">
                <a:solidFill>
                  <a:schemeClr val="tx2"/>
                </a:solidFill>
                <a:cs typeface="Arial" panose="020B0604020202020204" pitchFamily="34" charset="0"/>
              </a:rPr>
              <a:t>ти</a:t>
            </a:r>
            <a:endParaRPr lang="ru-RU" sz="120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84" name="object 91">
            <a:extLst>
              <a:ext uri="{FF2B5EF4-FFF2-40B4-BE49-F238E27FC236}">
                <a16:creationId xmlns:a16="http://schemas.microsoft.com/office/drawing/2014/main" id="{E5AAC577-82B8-BF4C-BAF2-1BBC3079A3C0}"/>
              </a:ext>
            </a:extLst>
          </p:cNvPr>
          <p:cNvSpPr txBox="1"/>
          <p:nvPr/>
        </p:nvSpPr>
        <p:spPr>
          <a:xfrm>
            <a:off x="6844183" y="1145888"/>
            <a:ext cx="1265401" cy="677601"/>
          </a:xfrm>
          <a:prstGeom prst="rect">
            <a:avLst/>
          </a:prstGeom>
        </p:spPr>
        <p:txBody>
          <a:bodyPr vert="horz" wrap="square" lIns="0" tIns="12680" rIns="0" bIns="0" rtlCol="0">
            <a:spAutoFit/>
          </a:bodyPr>
          <a:lstStyle/>
          <a:p>
            <a:pPr marR="5072" defTabSz="685800">
              <a:lnSpc>
                <a:spcPct val="90000"/>
              </a:lnSpc>
              <a:defRPr/>
            </a:pPr>
            <a:r>
              <a:rPr lang="ru-RU" sz="1200" b="1" dirty="0" smtClean="0">
                <a:solidFill>
                  <a:schemeClr val="tx2"/>
                </a:solidFill>
                <a:cs typeface="Arial" panose="020B0604020202020204" pitchFamily="34" charset="0"/>
              </a:rPr>
              <a:t>Наш</a:t>
            </a:r>
            <a:r>
              <a:rPr lang="ru-RU" sz="1200" b="1" spc="-30" dirty="0" smtClean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b="1" dirty="0" smtClean="0">
                <a:solidFill>
                  <a:schemeClr val="tx2"/>
                </a:solidFill>
                <a:cs typeface="Arial" panose="020B0604020202020204" pitchFamily="34" charset="0"/>
              </a:rPr>
              <a:t>вклад</a:t>
            </a:r>
            <a:r>
              <a:rPr lang="ru-RU" sz="1200" b="1" spc="-30" dirty="0" smtClean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en-US" sz="1200" b="1" spc="-30" dirty="0" smtClean="0">
                <a:solidFill>
                  <a:schemeClr val="tx2"/>
                </a:solidFill>
                <a:cs typeface="Arial" panose="020B0604020202020204" pitchFamily="34" charset="0"/>
              </a:rPr>
              <a:t/>
            </a:r>
            <a:br>
              <a:rPr lang="en-US" sz="1200" b="1" spc="-30" dirty="0" smtClean="0">
                <a:solidFill>
                  <a:schemeClr val="tx2"/>
                </a:solidFill>
                <a:cs typeface="Arial" panose="020B0604020202020204" pitchFamily="34" charset="0"/>
              </a:rPr>
            </a:br>
            <a:r>
              <a:rPr lang="ru-RU" sz="1200" b="1" spc="-30" dirty="0" smtClean="0">
                <a:solidFill>
                  <a:schemeClr val="tx2"/>
                </a:solidFill>
                <a:cs typeface="Arial" panose="020B0604020202020204" pitchFamily="34" charset="0"/>
              </a:rPr>
              <a:t>в</a:t>
            </a:r>
            <a:r>
              <a:rPr lang="ru-RU" sz="1200" b="1" spc="-35" dirty="0" smtClean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b="1" spc="-5" dirty="0" smtClean="0">
                <a:solidFill>
                  <a:schemeClr val="tx2"/>
                </a:solidFill>
                <a:cs typeface="Arial" panose="020B0604020202020204" pitchFamily="34" charset="0"/>
              </a:rPr>
              <a:t>цели </a:t>
            </a:r>
            <a:r>
              <a:rPr lang="ru-RU" sz="1200" b="1" spc="-185" dirty="0" smtClean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b="1" spc="-10" dirty="0" smtClean="0">
                <a:solidFill>
                  <a:schemeClr val="tx2"/>
                </a:solidFill>
                <a:cs typeface="Arial" panose="020B0604020202020204" pitchFamily="34" charset="0"/>
              </a:rPr>
              <a:t>устойчивого</a:t>
            </a:r>
            <a:r>
              <a:rPr lang="ru-RU" sz="1200" b="1" spc="-15" dirty="0" smtClean="0">
                <a:solidFill>
                  <a:schemeClr val="tx2"/>
                </a:solidFill>
                <a:cs typeface="Arial" panose="020B0604020202020204" pitchFamily="34" charset="0"/>
              </a:rPr>
              <a:t> развития</a:t>
            </a:r>
            <a:r>
              <a:rPr lang="ru-RU" sz="1200" b="1" spc="-10" dirty="0" smtClean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200" b="1" dirty="0" smtClean="0">
                <a:solidFill>
                  <a:schemeClr val="tx2"/>
                </a:solidFill>
                <a:cs typeface="Arial" panose="020B0604020202020204" pitchFamily="34" charset="0"/>
              </a:rPr>
              <a:t>ООН</a:t>
            </a:r>
            <a:endParaRPr lang="ru-RU" sz="120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2951701" y="1874976"/>
            <a:ext cx="45878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>
                <a:solidFill>
                  <a:schemeClr val="accent1"/>
                </a:solidFill>
              </a:rPr>
              <a:t>E</a:t>
            </a:r>
            <a:endParaRPr lang="ru-RU" sz="3200" b="1" dirty="0">
              <a:solidFill>
                <a:schemeClr val="accent1"/>
              </a:solidFill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4361487" y="1874976"/>
            <a:ext cx="45878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 smtClean="0">
                <a:solidFill>
                  <a:schemeClr val="accent1"/>
                </a:solidFill>
              </a:rPr>
              <a:t>S</a:t>
            </a:r>
            <a:endParaRPr lang="ru-RU" sz="3200" b="1" dirty="0">
              <a:solidFill>
                <a:schemeClr val="accent1"/>
              </a:solidFill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5767934" y="1874976"/>
            <a:ext cx="50366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 smtClean="0">
                <a:solidFill>
                  <a:schemeClr val="accent1"/>
                </a:solidFill>
              </a:rPr>
              <a:t>G</a:t>
            </a:r>
            <a:endParaRPr lang="ru-RU" sz="3200" b="1" dirty="0">
              <a:solidFill>
                <a:schemeClr val="accent1"/>
              </a:solidFill>
            </a:endParaRPr>
          </a:p>
        </p:txBody>
      </p:sp>
      <p:sp>
        <p:nvSpPr>
          <p:cNvPr id="90" name="Прямоугольник 89"/>
          <p:cNvSpPr/>
          <p:nvPr/>
        </p:nvSpPr>
        <p:spPr>
          <a:xfrm>
            <a:off x="3793403" y="3317526"/>
            <a:ext cx="1542765" cy="5078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81" algn="ctr" defTabSz="685800">
              <a:spcBef>
                <a:spcPts val="100"/>
              </a:spcBef>
            </a:pPr>
            <a:r>
              <a:rPr lang="ru-RU" sz="1100" b="1" spc="-5" dirty="0">
                <a:solidFill>
                  <a:schemeClr val="tx2"/>
                </a:solidFill>
                <a:cs typeface="Arial" panose="020B0604020202020204" pitchFamily="34" charset="0"/>
              </a:rPr>
              <a:t>Управление  персоналом </a:t>
            </a:r>
            <a:br>
              <a:rPr lang="ru-RU" sz="1100" b="1" spc="-5" dirty="0">
                <a:solidFill>
                  <a:schemeClr val="tx2"/>
                </a:solidFill>
                <a:cs typeface="Arial" panose="020B0604020202020204" pitchFamily="34" charset="0"/>
              </a:rPr>
            </a:br>
            <a:r>
              <a:rPr lang="ru-RU" sz="1100" b="1" spc="-5" dirty="0">
                <a:solidFill>
                  <a:schemeClr val="tx2"/>
                </a:solidFill>
                <a:cs typeface="Arial" panose="020B0604020202020204" pitchFamily="34" charset="0"/>
              </a:rPr>
              <a:t>и права человека</a:t>
            </a:r>
          </a:p>
        </p:txBody>
      </p:sp>
      <p:sp>
        <p:nvSpPr>
          <p:cNvPr id="91" name="Овал 90"/>
          <p:cNvSpPr>
            <a:spLocks noChangeAspect="1"/>
          </p:cNvSpPr>
          <p:nvPr/>
        </p:nvSpPr>
        <p:spPr bwMode="auto">
          <a:xfrm flipH="1" flipV="1">
            <a:off x="3085575" y="2401075"/>
            <a:ext cx="136578" cy="136578"/>
          </a:xfrm>
          <a:prstGeom prst="ellipse">
            <a:avLst/>
          </a:prstGeom>
          <a:solidFill>
            <a:schemeClr val="bg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2" name="Овал 91"/>
          <p:cNvSpPr>
            <a:spLocks noChangeAspect="1"/>
          </p:cNvSpPr>
          <p:nvPr/>
        </p:nvSpPr>
        <p:spPr bwMode="auto">
          <a:xfrm flipH="1" flipV="1">
            <a:off x="3085575" y="3154336"/>
            <a:ext cx="136578" cy="136578"/>
          </a:xfrm>
          <a:prstGeom prst="ellipse">
            <a:avLst/>
          </a:prstGeom>
          <a:solidFill>
            <a:schemeClr val="bg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3" name="Овал 92"/>
          <p:cNvSpPr>
            <a:spLocks noChangeAspect="1"/>
          </p:cNvSpPr>
          <p:nvPr/>
        </p:nvSpPr>
        <p:spPr bwMode="auto">
          <a:xfrm flipH="1" flipV="1">
            <a:off x="4504904" y="2401075"/>
            <a:ext cx="136578" cy="136578"/>
          </a:xfrm>
          <a:prstGeom prst="ellipse">
            <a:avLst/>
          </a:prstGeom>
          <a:solidFill>
            <a:schemeClr val="bg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4" name="Овал 93"/>
          <p:cNvSpPr>
            <a:spLocks noChangeAspect="1"/>
          </p:cNvSpPr>
          <p:nvPr/>
        </p:nvSpPr>
        <p:spPr bwMode="auto">
          <a:xfrm flipH="1" flipV="1">
            <a:off x="4504904" y="3154336"/>
            <a:ext cx="136578" cy="136578"/>
          </a:xfrm>
          <a:prstGeom prst="ellipse">
            <a:avLst/>
          </a:prstGeom>
          <a:solidFill>
            <a:schemeClr val="bg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5" name="Овал 94"/>
          <p:cNvSpPr>
            <a:spLocks noChangeAspect="1"/>
          </p:cNvSpPr>
          <p:nvPr/>
        </p:nvSpPr>
        <p:spPr bwMode="auto">
          <a:xfrm flipH="1" flipV="1">
            <a:off x="5959422" y="2401075"/>
            <a:ext cx="136578" cy="136578"/>
          </a:xfrm>
          <a:prstGeom prst="ellipse">
            <a:avLst/>
          </a:prstGeom>
          <a:solidFill>
            <a:schemeClr val="bg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6" name="Овал 95"/>
          <p:cNvSpPr>
            <a:spLocks noChangeAspect="1"/>
          </p:cNvSpPr>
          <p:nvPr/>
        </p:nvSpPr>
        <p:spPr bwMode="auto">
          <a:xfrm flipH="1" flipV="1">
            <a:off x="4504904" y="3874199"/>
            <a:ext cx="136578" cy="136578"/>
          </a:xfrm>
          <a:prstGeom prst="ellipse">
            <a:avLst/>
          </a:prstGeom>
          <a:solidFill>
            <a:schemeClr val="bg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97" name="Рисунок 96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463" y="2593656"/>
            <a:ext cx="358632" cy="306502"/>
          </a:xfrm>
          <a:prstGeom prst="rect">
            <a:avLst/>
          </a:prstGeom>
        </p:spPr>
      </p:pic>
      <p:pic>
        <p:nvPicPr>
          <p:cNvPr id="98" name="Рисунок 97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465" y="2989374"/>
            <a:ext cx="308629" cy="259611"/>
          </a:xfrm>
          <a:prstGeom prst="rect">
            <a:avLst/>
          </a:prstGeom>
        </p:spPr>
      </p:pic>
      <p:pic>
        <p:nvPicPr>
          <p:cNvPr id="99" name="Рисунок 98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093" y="2197634"/>
            <a:ext cx="309373" cy="306806"/>
          </a:xfrm>
          <a:prstGeom prst="rect">
            <a:avLst/>
          </a:prstGeom>
        </p:spPr>
      </p:pic>
      <p:pic>
        <p:nvPicPr>
          <p:cNvPr id="100" name="Рисунок 99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118" y="3809572"/>
            <a:ext cx="311323" cy="218550"/>
          </a:xfrm>
          <a:prstGeom prst="rect">
            <a:avLst/>
          </a:prstGeom>
        </p:spPr>
      </p:pic>
      <p:pic>
        <p:nvPicPr>
          <p:cNvPr id="101" name="Рисунок 100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535" y="4148461"/>
            <a:ext cx="296489" cy="283046"/>
          </a:xfrm>
          <a:prstGeom prst="rect">
            <a:avLst/>
          </a:prstGeom>
        </p:spPr>
      </p:pic>
      <p:pic>
        <p:nvPicPr>
          <p:cNvPr id="102" name="Рисунок 101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518" y="3338201"/>
            <a:ext cx="324522" cy="331070"/>
          </a:xfrm>
          <a:prstGeom prst="rect">
            <a:avLst/>
          </a:prstGeom>
        </p:spPr>
      </p:pic>
      <p:sp>
        <p:nvSpPr>
          <p:cNvPr id="109" name="Прямоугольник 108"/>
          <p:cNvSpPr/>
          <p:nvPr/>
        </p:nvSpPr>
        <p:spPr bwMode="auto">
          <a:xfrm>
            <a:off x="1771998" y="1131888"/>
            <a:ext cx="705600" cy="705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5" name="Полилиния 104"/>
          <p:cNvSpPr>
            <a:spLocks noChangeAspect="1"/>
          </p:cNvSpPr>
          <p:nvPr/>
        </p:nvSpPr>
        <p:spPr bwMode="auto">
          <a:xfrm>
            <a:off x="1771238" y="1131888"/>
            <a:ext cx="706360" cy="70636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12" name="Полилиния 111"/>
          <p:cNvSpPr>
            <a:spLocks noChangeAspect="1"/>
          </p:cNvSpPr>
          <p:nvPr/>
        </p:nvSpPr>
        <p:spPr bwMode="auto">
          <a:xfrm>
            <a:off x="5943744" y="1131888"/>
            <a:ext cx="706360" cy="70636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grpSp>
        <p:nvGrpSpPr>
          <p:cNvPr id="113" name="Группа 112"/>
          <p:cNvGrpSpPr>
            <a:grpSpLocks noChangeAspect="1"/>
          </p:cNvGrpSpPr>
          <p:nvPr/>
        </p:nvGrpSpPr>
        <p:grpSpPr>
          <a:xfrm>
            <a:off x="8079624" y="1131888"/>
            <a:ext cx="705601" cy="705600"/>
            <a:chOff x="1951174" y="4132044"/>
            <a:chExt cx="1332000" cy="1332000"/>
          </a:xfrm>
        </p:grpSpPr>
        <p:sp>
          <p:nvSpPr>
            <p:cNvPr id="114" name="Прямоугольник 113"/>
            <p:cNvSpPr/>
            <p:nvPr/>
          </p:nvSpPr>
          <p:spPr bwMode="auto">
            <a:xfrm>
              <a:off x="1951174" y="4132044"/>
              <a:ext cx="1332000" cy="133200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  <p:sp>
          <p:nvSpPr>
            <p:cNvPr id="115" name="Кольцо 114"/>
            <p:cNvSpPr>
              <a:spLocks noChangeAspect="1"/>
            </p:cNvSpPr>
            <p:nvPr/>
          </p:nvSpPr>
          <p:spPr bwMode="auto">
            <a:xfrm>
              <a:off x="2058593" y="4239463"/>
              <a:ext cx="1117161" cy="1117161"/>
            </a:xfrm>
            <a:prstGeom prst="donut">
              <a:avLst>
                <a:gd name="adj" fmla="val 29966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  <p:sp>
          <p:nvSpPr>
            <p:cNvPr id="116" name="Овал 115"/>
            <p:cNvSpPr>
              <a:spLocks noChangeAspect="1"/>
            </p:cNvSpPr>
            <p:nvPr/>
          </p:nvSpPr>
          <p:spPr bwMode="auto">
            <a:xfrm>
              <a:off x="2380851" y="4561721"/>
              <a:ext cx="472645" cy="47264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</p:grpSp>
      <p:sp>
        <p:nvSpPr>
          <p:cNvPr id="5" name="Прямоугольник 4"/>
          <p:cNvSpPr/>
          <p:nvPr/>
        </p:nvSpPr>
        <p:spPr bwMode="auto">
          <a:xfrm>
            <a:off x="6815779" y="1837488"/>
            <a:ext cx="1969446" cy="2713875"/>
          </a:xfrm>
          <a:prstGeom prst="rect">
            <a:avLst/>
          </a:prstGeom>
          <a:solidFill>
            <a:schemeClr val="bg1">
              <a:alpha val="62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sz="1800" b="1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586713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301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5" name="Прямоугольник 424"/>
          <p:cNvSpPr/>
          <p:nvPr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6</a:t>
            </a:fld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4716780" y="301765"/>
            <a:ext cx="4084010" cy="684213"/>
          </a:xfrm>
        </p:spPr>
        <p:txBody>
          <a:bodyPr vert="horz"/>
          <a:lstStyle/>
          <a:p>
            <a:r>
              <a:rPr lang="ru-RU" sz="1800" dirty="0" smtClean="0">
                <a:solidFill>
                  <a:schemeClr val="tx2"/>
                </a:solidFill>
                <a:latin typeface="+mn-lt"/>
              </a:rPr>
              <a:t>Победы в конкурсах в 2021 году</a:t>
            </a:r>
            <a:endParaRPr lang="ru-RU" sz="1800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484E89D0-5C99-4B61-98D5-B329D914ED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383" y="942807"/>
            <a:ext cx="808465" cy="3096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7">
            <a:extLst>
              <a:ext uri="{FF2B5EF4-FFF2-40B4-BE49-F238E27FC236}">
                <a16:creationId xmlns:a16="http://schemas.microsoft.com/office/drawing/2014/main" id="{41AA4E20-D465-475C-B7D0-501CBB64F4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3010" y="961838"/>
            <a:ext cx="530882" cy="2715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7">
            <a:extLst>
              <a:ext uri="{FF2B5EF4-FFF2-40B4-BE49-F238E27FC236}">
                <a16:creationId xmlns:a16="http://schemas.microsoft.com/office/drawing/2014/main" id="{478FF4BB-01D6-406B-A721-224B71A0BF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9578" y="981939"/>
            <a:ext cx="918888" cy="231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Рисунок 25">
            <a:extLst>
              <a:ext uri="{FF2B5EF4-FFF2-40B4-BE49-F238E27FC236}">
                <a16:creationId xmlns:a16="http://schemas.microsoft.com/office/drawing/2014/main" id="{DDCDE207-DFBF-4BE0-ACEA-5CA59A271688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47447" y="2325698"/>
            <a:ext cx="797915" cy="155185"/>
          </a:xfrm>
          <a:prstGeom prst="rect">
            <a:avLst/>
          </a:prstGeom>
        </p:spPr>
      </p:pic>
      <p:pic>
        <p:nvPicPr>
          <p:cNvPr id="34" name="Picture 2" descr="RAEX подготовил первый рейтинг служб доставки">
            <a:extLst>
              <a:ext uri="{FF2B5EF4-FFF2-40B4-BE49-F238E27FC236}">
                <a16:creationId xmlns:a16="http://schemas.microsoft.com/office/drawing/2014/main" id="{EB53A11C-1C88-4461-BB70-C9ABCA6D9EA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561"/>
          <a:stretch/>
        </p:blipFill>
        <p:spPr bwMode="auto">
          <a:xfrm>
            <a:off x="2117572" y="2325698"/>
            <a:ext cx="533878" cy="155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Rectangle 3">
            <a:extLst>
              <a:ext uri="{FF2B5EF4-FFF2-40B4-BE49-F238E27FC236}">
                <a16:creationId xmlns:a16="http://schemas.microsoft.com/office/drawing/2014/main" id="{D31DBEB6-0CF8-47B6-883A-A1D61BC67053}"/>
              </a:ext>
            </a:extLst>
          </p:cNvPr>
          <p:cNvSpPr/>
          <p:nvPr/>
        </p:nvSpPr>
        <p:spPr>
          <a:xfrm>
            <a:off x="349516" y="301765"/>
            <a:ext cx="4542523" cy="5539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685783"/>
            <a:r>
              <a:rPr lang="ru-RU" altLang="ru-RU" sz="1800" b="1" dirty="0" smtClean="0">
                <a:solidFill>
                  <a:schemeClr val="tx2"/>
                </a:solidFill>
              </a:rPr>
              <a:t>Изменение позиции </a:t>
            </a:r>
            <a:r>
              <a:rPr lang="ru-RU" altLang="ru-RU" sz="1800" b="1" dirty="0" err="1" smtClean="0">
                <a:solidFill>
                  <a:schemeClr val="tx2"/>
                </a:solidFill>
              </a:rPr>
              <a:t>СИБУРа</a:t>
            </a:r>
            <a:r>
              <a:rPr lang="ru-RU" altLang="ru-RU" sz="1800" b="1" dirty="0" smtClean="0">
                <a:solidFill>
                  <a:schemeClr val="tx2"/>
                </a:solidFill>
              </a:rPr>
              <a:t> в </a:t>
            </a:r>
            <a:br>
              <a:rPr lang="ru-RU" altLang="ru-RU" sz="1800" b="1" dirty="0" smtClean="0">
                <a:solidFill>
                  <a:schemeClr val="tx2"/>
                </a:solidFill>
              </a:rPr>
            </a:br>
            <a:r>
              <a:rPr lang="ru-RU" altLang="ru-RU" sz="1800" b="1" dirty="0" smtClean="0">
                <a:solidFill>
                  <a:schemeClr val="tx2"/>
                </a:solidFill>
              </a:rPr>
              <a:t>ESG-рейтингах за последние 3 года* </a:t>
            </a:r>
            <a:endParaRPr lang="ru-RU" altLang="ru-RU" sz="1800" b="1" dirty="0">
              <a:solidFill>
                <a:schemeClr val="tx2"/>
              </a:solidFill>
            </a:endParaRPr>
          </a:p>
        </p:txBody>
      </p:sp>
      <p:pic>
        <p:nvPicPr>
          <p:cNvPr id="44" name="Рисунок 43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31930" y="3532357"/>
            <a:ext cx="683319" cy="276800"/>
          </a:xfrm>
          <a:prstGeom prst="rect">
            <a:avLst/>
          </a:prstGeom>
        </p:spPr>
      </p:pic>
      <p:pic>
        <p:nvPicPr>
          <p:cNvPr id="46" name="Рисунок 4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590461" y="2313290"/>
            <a:ext cx="462858" cy="180000"/>
          </a:xfrm>
          <a:prstGeom prst="rect">
            <a:avLst/>
          </a:prstGeom>
        </p:spPr>
      </p:pic>
      <p:grpSp>
        <p:nvGrpSpPr>
          <p:cNvPr id="282" name="Группа 281"/>
          <p:cNvGrpSpPr/>
          <p:nvPr/>
        </p:nvGrpSpPr>
        <p:grpSpPr>
          <a:xfrm>
            <a:off x="311077" y="1298530"/>
            <a:ext cx="1152000" cy="840837"/>
            <a:chOff x="9529950" y="1623025"/>
            <a:chExt cx="2561641" cy="1143937"/>
          </a:xfrm>
        </p:grpSpPr>
        <p:grpSp>
          <p:nvGrpSpPr>
            <p:cNvPr id="264" name="Группа 263"/>
            <p:cNvGrpSpPr/>
            <p:nvPr/>
          </p:nvGrpSpPr>
          <p:grpSpPr>
            <a:xfrm>
              <a:off x="9668330" y="1758962"/>
              <a:ext cx="2263025" cy="1008000"/>
              <a:chOff x="5021099" y="1758962"/>
              <a:chExt cx="2263025" cy="1008000"/>
            </a:xfrm>
          </p:grpSpPr>
          <p:sp>
            <p:nvSpPr>
              <p:cNvPr id="265" name="Прямоугольник 264"/>
              <p:cNvSpPr/>
              <p:nvPr/>
            </p:nvSpPr>
            <p:spPr bwMode="auto">
              <a:xfrm>
                <a:off x="5023394" y="1758963"/>
                <a:ext cx="2260730" cy="1004942"/>
              </a:xfrm>
              <a:prstGeom prst="rect">
                <a:avLst/>
              </a:prstGeom>
              <a:solidFill>
                <a:schemeClr val="bg2">
                  <a:lumMod val="40000"/>
                  <a:lumOff val="6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ru-RU" sz="18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cxnSp>
            <p:nvCxnSpPr>
              <p:cNvPr id="266" name="Прямая соединительная линия 265"/>
              <p:cNvCxnSpPr/>
              <p:nvPr/>
            </p:nvCxnSpPr>
            <p:spPr bwMode="auto">
              <a:xfrm>
                <a:off x="5585632" y="1758962"/>
                <a:ext cx="0" cy="100800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4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67" name="Прямая соединительная линия 266"/>
              <p:cNvCxnSpPr/>
              <p:nvPr/>
            </p:nvCxnSpPr>
            <p:spPr bwMode="auto">
              <a:xfrm>
                <a:off x="6150165" y="1758962"/>
                <a:ext cx="0" cy="100800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4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68" name="Прямая соединительная линия 267"/>
              <p:cNvCxnSpPr/>
              <p:nvPr/>
            </p:nvCxnSpPr>
            <p:spPr bwMode="auto">
              <a:xfrm>
                <a:off x="6714698" y="1758962"/>
                <a:ext cx="0" cy="100800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4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69" name="Прямая соединительная линия 268"/>
              <p:cNvCxnSpPr/>
              <p:nvPr/>
            </p:nvCxnSpPr>
            <p:spPr bwMode="auto">
              <a:xfrm>
                <a:off x="7279229" y="1758962"/>
                <a:ext cx="0" cy="100800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4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70" name="Прямая соединительная линия 269"/>
              <p:cNvCxnSpPr/>
              <p:nvPr/>
            </p:nvCxnSpPr>
            <p:spPr bwMode="auto">
              <a:xfrm>
                <a:off x="5021099" y="1758962"/>
                <a:ext cx="0" cy="100800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4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271" name="Полилиния 270"/>
            <p:cNvSpPr/>
            <p:nvPr/>
          </p:nvSpPr>
          <p:spPr bwMode="auto">
            <a:xfrm>
              <a:off x="9676440" y="2249443"/>
              <a:ext cx="1694688" cy="371856"/>
            </a:xfrm>
            <a:custGeom>
              <a:avLst/>
              <a:gdLst>
                <a:gd name="connsiteX0" fmla="*/ 0 w 1694688"/>
                <a:gd name="connsiteY0" fmla="*/ 371856 h 384174"/>
                <a:gd name="connsiteX1" fmla="*/ 566928 w 1694688"/>
                <a:gd name="connsiteY1" fmla="*/ 371856 h 384174"/>
                <a:gd name="connsiteX2" fmla="*/ 1127760 w 1694688"/>
                <a:gd name="connsiteY2" fmla="*/ 176784 h 384174"/>
                <a:gd name="connsiteX3" fmla="*/ 1694688 w 1694688"/>
                <a:gd name="connsiteY3" fmla="*/ 0 h 384174"/>
                <a:gd name="connsiteX0" fmla="*/ 0 w 1694688"/>
                <a:gd name="connsiteY0" fmla="*/ 371856 h 384174"/>
                <a:gd name="connsiteX1" fmla="*/ 566928 w 1694688"/>
                <a:gd name="connsiteY1" fmla="*/ 371856 h 384174"/>
                <a:gd name="connsiteX2" fmla="*/ 1127760 w 1694688"/>
                <a:gd name="connsiteY2" fmla="*/ 176784 h 384174"/>
                <a:gd name="connsiteX3" fmla="*/ 1694688 w 1694688"/>
                <a:gd name="connsiteY3" fmla="*/ 0 h 384174"/>
                <a:gd name="connsiteX0" fmla="*/ 0 w 1694688"/>
                <a:gd name="connsiteY0" fmla="*/ 371856 h 384174"/>
                <a:gd name="connsiteX1" fmla="*/ 566928 w 1694688"/>
                <a:gd name="connsiteY1" fmla="*/ 371856 h 384174"/>
                <a:gd name="connsiteX2" fmla="*/ 1127760 w 1694688"/>
                <a:gd name="connsiteY2" fmla="*/ 176784 h 384174"/>
                <a:gd name="connsiteX3" fmla="*/ 1694688 w 1694688"/>
                <a:gd name="connsiteY3" fmla="*/ 0 h 384174"/>
                <a:gd name="connsiteX0" fmla="*/ 0 w 1694688"/>
                <a:gd name="connsiteY0" fmla="*/ 371856 h 376683"/>
                <a:gd name="connsiteX1" fmla="*/ 566928 w 1694688"/>
                <a:gd name="connsiteY1" fmla="*/ 371856 h 376683"/>
                <a:gd name="connsiteX2" fmla="*/ 1127760 w 1694688"/>
                <a:gd name="connsiteY2" fmla="*/ 176784 h 376683"/>
                <a:gd name="connsiteX3" fmla="*/ 1694688 w 1694688"/>
                <a:gd name="connsiteY3" fmla="*/ 0 h 376683"/>
                <a:gd name="connsiteX0" fmla="*/ 0 w 1694688"/>
                <a:gd name="connsiteY0" fmla="*/ 371856 h 371889"/>
                <a:gd name="connsiteX1" fmla="*/ 566928 w 1694688"/>
                <a:gd name="connsiteY1" fmla="*/ 371856 h 371889"/>
                <a:gd name="connsiteX2" fmla="*/ 1127760 w 1694688"/>
                <a:gd name="connsiteY2" fmla="*/ 176784 h 371889"/>
                <a:gd name="connsiteX3" fmla="*/ 1694688 w 1694688"/>
                <a:gd name="connsiteY3" fmla="*/ 0 h 371889"/>
                <a:gd name="connsiteX0" fmla="*/ 0 w 1694688"/>
                <a:gd name="connsiteY0" fmla="*/ 371856 h 371856"/>
                <a:gd name="connsiteX1" fmla="*/ 566928 w 1694688"/>
                <a:gd name="connsiteY1" fmla="*/ 371856 h 371856"/>
                <a:gd name="connsiteX2" fmla="*/ 1127760 w 1694688"/>
                <a:gd name="connsiteY2" fmla="*/ 176784 h 371856"/>
                <a:gd name="connsiteX3" fmla="*/ 1694688 w 1694688"/>
                <a:gd name="connsiteY3" fmla="*/ 0 h 371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4688" h="371856">
                  <a:moveTo>
                    <a:pt x="0" y="371856"/>
                  </a:moveTo>
                  <a:lnTo>
                    <a:pt x="566928" y="371856"/>
                  </a:lnTo>
                  <a:lnTo>
                    <a:pt x="1127760" y="176784"/>
                  </a:lnTo>
                  <a:lnTo>
                    <a:pt x="1694688" y="0"/>
                  </a:lnTo>
                </a:path>
              </a:pathLst>
            </a:custGeom>
            <a:noFill/>
            <a:ln w="285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272" name="ee4pFootnotes">
              <a:extLst>
                <a:ext uri="{FF2B5EF4-FFF2-40B4-BE49-F238E27FC236}">
                  <a16:creationId xmlns:a16="http://schemas.microsoft.com/office/drawing/2014/main" id="{90825B8A-B749-4970-941E-550A619484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9950" y="1623898"/>
              <a:ext cx="324001" cy="123778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 algn="ctr" defTabSz="685783">
                <a:lnSpc>
                  <a:spcPct val="90000"/>
                </a:lnSpc>
              </a:pPr>
              <a:r>
                <a:rPr lang="en-US" sz="9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itchFamily="34" charset="0"/>
                  <a:sym typeface="Arial" panose="020B0604020202020204" pitchFamily="34" charset="0"/>
                </a:rPr>
                <a:t>18</a:t>
              </a:r>
              <a:endParaRPr lang="en-US" sz="900" b="1" dirty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3" name="ee4pFootnotes">
              <a:extLst>
                <a:ext uri="{FF2B5EF4-FFF2-40B4-BE49-F238E27FC236}">
                  <a16:creationId xmlns:a16="http://schemas.microsoft.com/office/drawing/2014/main" id="{BB2B0177-FE1B-4A5B-A071-269C2B9D45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79709" y="1623898"/>
              <a:ext cx="324001" cy="123778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 algn="ctr" defTabSz="685783">
                <a:lnSpc>
                  <a:spcPct val="90000"/>
                </a:lnSpc>
              </a:pPr>
              <a:r>
                <a:rPr lang="en-US" sz="9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itchFamily="34" charset="0"/>
                  <a:sym typeface="Arial" panose="020B0604020202020204" pitchFamily="34" charset="0"/>
                </a:rPr>
                <a:t>19</a:t>
              </a:r>
              <a:endParaRPr lang="en-US" sz="900" b="1" dirty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4" name="ee4pFootnotes">
              <a:extLst>
                <a:ext uri="{FF2B5EF4-FFF2-40B4-BE49-F238E27FC236}">
                  <a16:creationId xmlns:a16="http://schemas.microsoft.com/office/drawing/2014/main" id="{E5CC7E20-8892-4A98-BDAD-770E647CF4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29465" y="1623898"/>
              <a:ext cx="324001" cy="123778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 algn="ctr" defTabSz="685783">
                <a:lnSpc>
                  <a:spcPct val="90000"/>
                </a:lnSpc>
              </a:pPr>
              <a:r>
                <a:rPr lang="en-US" sz="9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itchFamily="34" charset="0"/>
                  <a:sym typeface="Arial" panose="020B0604020202020204" pitchFamily="34" charset="0"/>
                </a:rPr>
                <a:t>20</a:t>
              </a:r>
              <a:endParaRPr lang="en-US" sz="900" b="1" dirty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5" name="ee4pFootnotes">
              <a:extLst>
                <a:ext uri="{FF2B5EF4-FFF2-40B4-BE49-F238E27FC236}">
                  <a16:creationId xmlns:a16="http://schemas.microsoft.com/office/drawing/2014/main" id="{E5CC7E20-8892-4A98-BDAD-770E647CF4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179224" y="1623898"/>
              <a:ext cx="324001" cy="123778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 algn="ctr" defTabSz="685783">
                <a:lnSpc>
                  <a:spcPct val="90000"/>
                </a:lnSpc>
              </a:pPr>
              <a:r>
                <a:rPr lang="en-US" sz="9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itchFamily="34" charset="0"/>
                  <a:sym typeface="Arial" panose="020B0604020202020204" pitchFamily="34" charset="0"/>
                </a:rPr>
                <a:t>2</a:t>
              </a:r>
              <a:r>
                <a:rPr lang="ru-RU" sz="9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itchFamily="34" charset="0"/>
                  <a:sym typeface="Arial" panose="020B0604020202020204" pitchFamily="34" charset="0"/>
                </a:rPr>
                <a:t>1</a:t>
              </a:r>
              <a:endParaRPr lang="en-US" sz="900" b="1" dirty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6" name="ee4pFootnotes">
              <a:extLst>
                <a:ext uri="{FF2B5EF4-FFF2-40B4-BE49-F238E27FC236}">
                  <a16:creationId xmlns:a16="http://schemas.microsoft.com/office/drawing/2014/main" id="{E5CC7E20-8892-4A98-BDAD-770E647CF4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79483" y="1623025"/>
              <a:ext cx="512108" cy="124650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 algn="ctr" defTabSz="685783">
                <a:lnSpc>
                  <a:spcPct val="90000"/>
                </a:lnSpc>
              </a:pPr>
              <a:r>
                <a:rPr lang="en-US" sz="9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itchFamily="34" charset="0"/>
                  <a:sym typeface="Arial" panose="020B0604020202020204" pitchFamily="34" charset="0"/>
                </a:rPr>
                <a:t>Max</a:t>
              </a:r>
              <a:endParaRPr lang="en-US" sz="900" b="1" dirty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7" name="Oval 67">
              <a:extLst>
                <a:ext uri="{FF2B5EF4-FFF2-40B4-BE49-F238E27FC236}">
                  <a16:creationId xmlns:a16="http://schemas.microsoft.com/office/drawing/2014/main" id="{A076E426-D506-4EA1-ADA6-38EA8E67A01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096815" y="2377018"/>
              <a:ext cx="248016" cy="248016"/>
            </a:xfrm>
            <a:prstGeom prst="ellipse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78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 kern="0" dirty="0">
                  <a:solidFill>
                    <a:srgbClr val="335F79"/>
                  </a:solidFill>
                  <a:latin typeface="Arial" panose="020B0604020202020204"/>
                </a:rPr>
                <a:t>B</a:t>
              </a:r>
            </a:p>
          </p:txBody>
        </p:sp>
        <p:sp>
          <p:nvSpPr>
            <p:cNvPr id="278" name="Oval 68">
              <a:extLst>
                <a:ext uri="{FF2B5EF4-FFF2-40B4-BE49-F238E27FC236}">
                  <a16:creationId xmlns:a16="http://schemas.microsoft.com/office/drawing/2014/main" id="{08C1BE0D-49E5-45E8-BF40-BD9193C0F22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649188" y="2201030"/>
              <a:ext cx="252000" cy="252000"/>
            </a:xfrm>
            <a:prstGeom prst="ellipse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78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 kern="0" dirty="0">
                  <a:solidFill>
                    <a:srgbClr val="335F79"/>
                  </a:solidFill>
                  <a:latin typeface="Arial" panose="020B0604020202020204"/>
                </a:rPr>
                <a:t>BB</a:t>
              </a:r>
            </a:p>
          </p:txBody>
        </p:sp>
        <p:sp>
          <p:nvSpPr>
            <p:cNvPr id="279" name="Oval 69">
              <a:extLst>
                <a:ext uri="{FF2B5EF4-FFF2-40B4-BE49-F238E27FC236}">
                  <a16:creationId xmlns:a16="http://schemas.microsoft.com/office/drawing/2014/main" id="{A06F2EAF-CA69-439F-8D00-5DB7F1CAD36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552432" y="2376768"/>
              <a:ext cx="252000" cy="252000"/>
            </a:xfrm>
            <a:prstGeom prst="ellipse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78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 kern="0" dirty="0">
                  <a:solidFill>
                    <a:srgbClr val="335F79"/>
                  </a:solidFill>
                  <a:latin typeface="Arial" panose="020B0604020202020204"/>
                </a:rPr>
                <a:t>B</a:t>
              </a:r>
            </a:p>
          </p:txBody>
        </p:sp>
        <p:sp>
          <p:nvSpPr>
            <p:cNvPr id="280" name="Oval 68">
              <a:extLst>
                <a:ext uri="{FF2B5EF4-FFF2-40B4-BE49-F238E27FC236}">
                  <a16:creationId xmlns:a16="http://schemas.microsoft.com/office/drawing/2014/main" id="{08C1BE0D-49E5-45E8-BF40-BD9193C0F22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1157688" y="1994902"/>
              <a:ext cx="251999" cy="252000"/>
            </a:xfrm>
            <a:prstGeom prst="ellipse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78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 kern="0" dirty="0" smtClean="0">
                  <a:solidFill>
                    <a:srgbClr val="335F79"/>
                  </a:solidFill>
                  <a:latin typeface="Arial" panose="020B0604020202020204"/>
                </a:rPr>
                <a:t>BBB</a:t>
              </a:r>
              <a:endParaRPr lang="en-US" sz="900" b="1" kern="0" dirty="0">
                <a:solidFill>
                  <a:srgbClr val="335F79"/>
                </a:solidFill>
                <a:latin typeface="Arial" panose="020B0604020202020204"/>
              </a:endParaRPr>
            </a:p>
          </p:txBody>
        </p:sp>
        <p:sp>
          <p:nvSpPr>
            <p:cNvPr id="281" name="Oval 68">
              <a:extLst>
                <a:ext uri="{FF2B5EF4-FFF2-40B4-BE49-F238E27FC236}">
                  <a16:creationId xmlns:a16="http://schemas.microsoft.com/office/drawing/2014/main" id="{08C1BE0D-49E5-45E8-BF40-BD9193C0F22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1797612" y="1758963"/>
              <a:ext cx="252000" cy="252000"/>
            </a:xfrm>
            <a:prstGeom prst="ellipse">
              <a:avLst/>
            </a:prstGeom>
            <a:noFill/>
            <a:ln w="19050" cap="flat" cmpd="sng" algn="ctr">
              <a:noFill/>
              <a:prstDash val="sysDot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78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 kern="0" dirty="0" smtClean="0">
                  <a:solidFill>
                    <a:srgbClr val="335F79"/>
                  </a:solidFill>
                  <a:latin typeface="Arial" panose="020B0604020202020204"/>
                </a:rPr>
                <a:t>AAA</a:t>
              </a:r>
              <a:endParaRPr lang="en-US" sz="900" b="1" kern="0" dirty="0">
                <a:solidFill>
                  <a:srgbClr val="335F79"/>
                </a:solidFill>
                <a:latin typeface="Arial" panose="020B0604020202020204"/>
              </a:endParaRPr>
            </a:p>
          </p:txBody>
        </p:sp>
      </p:grpSp>
      <p:grpSp>
        <p:nvGrpSpPr>
          <p:cNvPr id="301" name="Группа 300"/>
          <p:cNvGrpSpPr/>
          <p:nvPr/>
        </p:nvGrpSpPr>
        <p:grpSpPr>
          <a:xfrm>
            <a:off x="1807209" y="1306794"/>
            <a:ext cx="1152000" cy="843265"/>
            <a:chOff x="9656725" y="1408597"/>
            <a:chExt cx="2561641" cy="3142766"/>
          </a:xfrm>
        </p:grpSpPr>
        <p:grpSp>
          <p:nvGrpSpPr>
            <p:cNvPr id="283" name="Группа 282"/>
            <p:cNvGrpSpPr/>
            <p:nvPr/>
          </p:nvGrpSpPr>
          <p:grpSpPr>
            <a:xfrm>
              <a:off x="9795105" y="1758962"/>
              <a:ext cx="2263025" cy="2792401"/>
              <a:chOff x="5021099" y="1758962"/>
              <a:chExt cx="2263025" cy="2792401"/>
            </a:xfrm>
          </p:grpSpPr>
          <p:sp>
            <p:nvSpPr>
              <p:cNvPr id="284" name="Прямоугольник 283"/>
              <p:cNvSpPr/>
              <p:nvPr/>
            </p:nvSpPr>
            <p:spPr bwMode="auto">
              <a:xfrm>
                <a:off x="5023394" y="1758963"/>
                <a:ext cx="2260730" cy="2728116"/>
              </a:xfrm>
              <a:prstGeom prst="rect">
                <a:avLst/>
              </a:prstGeom>
              <a:solidFill>
                <a:schemeClr val="bg2">
                  <a:lumMod val="40000"/>
                  <a:lumOff val="6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ru-RU" sz="18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cxnSp>
            <p:nvCxnSpPr>
              <p:cNvPr id="285" name="Прямая соединительная линия 284"/>
              <p:cNvCxnSpPr/>
              <p:nvPr/>
            </p:nvCxnSpPr>
            <p:spPr bwMode="auto">
              <a:xfrm>
                <a:off x="5585632" y="1758962"/>
                <a:ext cx="0" cy="2792401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4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86" name="Прямая соединительная линия 285"/>
              <p:cNvCxnSpPr/>
              <p:nvPr/>
            </p:nvCxnSpPr>
            <p:spPr bwMode="auto">
              <a:xfrm>
                <a:off x="6150165" y="1758962"/>
                <a:ext cx="0" cy="2792401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4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87" name="Прямая соединительная линия 286"/>
              <p:cNvCxnSpPr/>
              <p:nvPr/>
            </p:nvCxnSpPr>
            <p:spPr bwMode="auto">
              <a:xfrm>
                <a:off x="6714698" y="1758962"/>
                <a:ext cx="0" cy="2792401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4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88" name="Прямая соединительная линия 287"/>
              <p:cNvCxnSpPr/>
              <p:nvPr/>
            </p:nvCxnSpPr>
            <p:spPr bwMode="auto">
              <a:xfrm>
                <a:off x="7279229" y="1758962"/>
                <a:ext cx="0" cy="2792401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4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89" name="Прямая соединительная линия 288"/>
              <p:cNvCxnSpPr/>
              <p:nvPr/>
            </p:nvCxnSpPr>
            <p:spPr bwMode="auto">
              <a:xfrm>
                <a:off x="5021099" y="1758962"/>
                <a:ext cx="0" cy="2792401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4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290" name="Полилиния 289"/>
            <p:cNvSpPr/>
            <p:nvPr/>
          </p:nvSpPr>
          <p:spPr bwMode="auto">
            <a:xfrm>
              <a:off x="9791022" y="2874836"/>
              <a:ext cx="1706880" cy="1180100"/>
            </a:xfrm>
            <a:custGeom>
              <a:avLst/>
              <a:gdLst>
                <a:gd name="connsiteX0" fmla="*/ 0 w 1706880"/>
                <a:gd name="connsiteY0" fmla="*/ 432816 h 432816"/>
                <a:gd name="connsiteX1" fmla="*/ 566928 w 1706880"/>
                <a:gd name="connsiteY1" fmla="*/ 225552 h 432816"/>
                <a:gd name="connsiteX2" fmla="*/ 1127760 w 1706880"/>
                <a:gd name="connsiteY2" fmla="*/ 0 h 432816"/>
                <a:gd name="connsiteX3" fmla="*/ 1706880 w 1706880"/>
                <a:gd name="connsiteY3" fmla="*/ 0 h 432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6880" h="432816">
                  <a:moveTo>
                    <a:pt x="0" y="432816"/>
                  </a:moveTo>
                  <a:lnTo>
                    <a:pt x="566928" y="225552"/>
                  </a:lnTo>
                  <a:cubicBezTo>
                    <a:pt x="754888" y="153416"/>
                    <a:pt x="1001776" y="37592"/>
                    <a:pt x="1127760" y="0"/>
                  </a:cubicBezTo>
                  <a:lnTo>
                    <a:pt x="1706880" y="0"/>
                  </a:lnTo>
                </a:path>
              </a:pathLst>
            </a:custGeom>
            <a:noFill/>
            <a:ln w="2857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291" name="ee4pFootnotes">
              <a:extLst>
                <a:ext uri="{FF2B5EF4-FFF2-40B4-BE49-F238E27FC236}">
                  <a16:creationId xmlns:a16="http://schemas.microsoft.com/office/drawing/2014/main" id="{90825B8A-B749-4970-941E-550A619484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56725" y="1408597"/>
              <a:ext cx="324001" cy="339078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 algn="ctr" defTabSz="685783">
                <a:lnSpc>
                  <a:spcPct val="90000"/>
                </a:lnSpc>
              </a:pPr>
              <a:r>
                <a:rPr lang="en-US" sz="9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itchFamily="34" charset="0"/>
                  <a:sym typeface="Arial" panose="020B0604020202020204" pitchFamily="34" charset="0"/>
                </a:rPr>
                <a:t>18</a:t>
              </a:r>
              <a:endParaRPr lang="en-US" sz="900" b="1" dirty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2" name="ee4pFootnotes">
              <a:extLst>
                <a:ext uri="{FF2B5EF4-FFF2-40B4-BE49-F238E27FC236}">
                  <a16:creationId xmlns:a16="http://schemas.microsoft.com/office/drawing/2014/main" id="{BB2B0177-FE1B-4A5B-A071-269C2B9D45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06484" y="1408597"/>
              <a:ext cx="324001" cy="339078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 algn="ctr" defTabSz="685783">
                <a:lnSpc>
                  <a:spcPct val="90000"/>
                </a:lnSpc>
              </a:pPr>
              <a:r>
                <a:rPr lang="en-US" sz="9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itchFamily="34" charset="0"/>
                  <a:sym typeface="Arial" panose="020B0604020202020204" pitchFamily="34" charset="0"/>
                </a:rPr>
                <a:t>19</a:t>
              </a:r>
              <a:endParaRPr lang="en-US" sz="900" b="1" dirty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3" name="ee4pFootnotes">
              <a:extLst>
                <a:ext uri="{FF2B5EF4-FFF2-40B4-BE49-F238E27FC236}">
                  <a16:creationId xmlns:a16="http://schemas.microsoft.com/office/drawing/2014/main" id="{E5CC7E20-8892-4A98-BDAD-770E647CF4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56240" y="1408597"/>
              <a:ext cx="324001" cy="339078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 algn="ctr" defTabSz="685783">
                <a:lnSpc>
                  <a:spcPct val="90000"/>
                </a:lnSpc>
              </a:pPr>
              <a:r>
                <a:rPr lang="en-US" sz="9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itchFamily="34" charset="0"/>
                  <a:sym typeface="Arial" panose="020B0604020202020204" pitchFamily="34" charset="0"/>
                </a:rPr>
                <a:t>20</a:t>
              </a:r>
              <a:endParaRPr lang="en-US" sz="900" b="1" dirty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4" name="ee4pFootnotes">
              <a:extLst>
                <a:ext uri="{FF2B5EF4-FFF2-40B4-BE49-F238E27FC236}">
                  <a16:creationId xmlns:a16="http://schemas.microsoft.com/office/drawing/2014/main" id="{E5CC7E20-8892-4A98-BDAD-770E647CF4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305999" y="1408597"/>
              <a:ext cx="324001" cy="339078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 algn="ctr" defTabSz="685783">
                <a:lnSpc>
                  <a:spcPct val="90000"/>
                </a:lnSpc>
              </a:pPr>
              <a:r>
                <a:rPr lang="en-US" sz="9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itchFamily="34" charset="0"/>
                  <a:sym typeface="Arial" panose="020B0604020202020204" pitchFamily="34" charset="0"/>
                </a:rPr>
                <a:t>2</a:t>
              </a:r>
              <a:r>
                <a:rPr lang="ru-RU" sz="9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itchFamily="34" charset="0"/>
                  <a:sym typeface="Arial" panose="020B0604020202020204" pitchFamily="34" charset="0"/>
                </a:rPr>
                <a:t>1</a:t>
              </a:r>
              <a:endParaRPr lang="en-US" sz="900" b="1" dirty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5" name="ee4pFootnotes">
              <a:extLst>
                <a:ext uri="{FF2B5EF4-FFF2-40B4-BE49-F238E27FC236}">
                  <a16:creationId xmlns:a16="http://schemas.microsoft.com/office/drawing/2014/main" id="{E5CC7E20-8892-4A98-BDAD-770E647CF4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679801" y="1408597"/>
              <a:ext cx="538565" cy="339078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 algn="ctr" defTabSz="685783">
                <a:lnSpc>
                  <a:spcPct val="90000"/>
                </a:lnSpc>
              </a:pPr>
              <a:r>
                <a:rPr lang="en-US" sz="9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itchFamily="34" charset="0"/>
                  <a:sym typeface="Arial" panose="020B0604020202020204" pitchFamily="34" charset="0"/>
                </a:rPr>
                <a:t>Max</a:t>
              </a:r>
              <a:endParaRPr lang="en-US" sz="900" b="1" dirty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6" name="Oval 61">
              <a:extLst>
                <a:ext uri="{FF2B5EF4-FFF2-40B4-BE49-F238E27FC236}">
                  <a16:creationId xmlns:a16="http://schemas.microsoft.com/office/drawing/2014/main" id="{ABD8BD0C-C6F4-46C4-BBEB-12106549D7A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228440" y="3037870"/>
              <a:ext cx="251999" cy="252000"/>
            </a:xfrm>
            <a:prstGeom prst="ellipse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78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 kern="0" dirty="0">
                  <a:solidFill>
                    <a:srgbClr val="B42E34"/>
                  </a:solidFill>
                  <a:latin typeface="Arial" panose="020B0604020202020204"/>
                </a:rPr>
                <a:t>C</a:t>
              </a:r>
            </a:p>
          </p:txBody>
        </p:sp>
        <p:sp>
          <p:nvSpPr>
            <p:cNvPr id="297" name="Oval 62">
              <a:extLst>
                <a:ext uri="{FF2B5EF4-FFF2-40B4-BE49-F238E27FC236}">
                  <a16:creationId xmlns:a16="http://schemas.microsoft.com/office/drawing/2014/main" id="{8FCC49B3-AD6E-44DE-BFC8-56108078F8C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797091" y="2525088"/>
              <a:ext cx="251999" cy="252000"/>
            </a:xfrm>
            <a:prstGeom prst="ellipse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78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 kern="0" dirty="0">
                  <a:solidFill>
                    <a:srgbClr val="B42E34"/>
                  </a:solidFill>
                  <a:latin typeface="Arial" panose="020B0604020202020204"/>
                </a:rPr>
                <a:t>B</a:t>
              </a:r>
            </a:p>
          </p:txBody>
        </p:sp>
        <p:sp>
          <p:nvSpPr>
            <p:cNvPr id="298" name="Oval 64">
              <a:extLst>
                <a:ext uri="{FF2B5EF4-FFF2-40B4-BE49-F238E27FC236}">
                  <a16:creationId xmlns:a16="http://schemas.microsoft.com/office/drawing/2014/main" id="{A40ABFF1-06D2-48A3-87C3-26932B77EF5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671795" y="3606865"/>
              <a:ext cx="251999" cy="252000"/>
            </a:xfrm>
            <a:prstGeom prst="ellipse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78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 kern="0" dirty="0">
                  <a:solidFill>
                    <a:srgbClr val="B42E34"/>
                  </a:solidFill>
                  <a:latin typeface="Arial" panose="020B0604020202020204"/>
                </a:rPr>
                <a:t>D</a:t>
              </a:r>
            </a:p>
          </p:txBody>
        </p:sp>
        <p:sp>
          <p:nvSpPr>
            <p:cNvPr id="299" name="Oval 62">
              <a:extLst>
                <a:ext uri="{FF2B5EF4-FFF2-40B4-BE49-F238E27FC236}">
                  <a16:creationId xmlns:a16="http://schemas.microsoft.com/office/drawing/2014/main" id="{8FCC49B3-AD6E-44DE-BFC8-56108078F8C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1349547" y="2526852"/>
              <a:ext cx="251999" cy="252000"/>
            </a:xfrm>
            <a:prstGeom prst="ellipse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78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 kern="0" dirty="0">
                  <a:solidFill>
                    <a:srgbClr val="B42E34"/>
                  </a:solidFill>
                  <a:latin typeface="Arial" panose="020B0604020202020204"/>
                </a:rPr>
                <a:t>B</a:t>
              </a:r>
            </a:p>
          </p:txBody>
        </p:sp>
        <p:sp>
          <p:nvSpPr>
            <p:cNvPr id="300" name="Oval 62">
              <a:extLst>
                <a:ext uri="{FF2B5EF4-FFF2-40B4-BE49-F238E27FC236}">
                  <a16:creationId xmlns:a16="http://schemas.microsoft.com/office/drawing/2014/main" id="{8FCC49B3-AD6E-44DE-BFC8-56108078F8C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1930457" y="1989118"/>
              <a:ext cx="251999" cy="252000"/>
            </a:xfrm>
            <a:prstGeom prst="ellipse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78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 kern="0" dirty="0" smtClean="0">
                  <a:solidFill>
                    <a:srgbClr val="B42E34"/>
                  </a:solidFill>
                  <a:latin typeface="Arial" panose="020B0604020202020204"/>
                </a:rPr>
                <a:t>A</a:t>
              </a:r>
              <a:endParaRPr lang="en-US" sz="900" b="1" kern="0" dirty="0">
                <a:solidFill>
                  <a:srgbClr val="B42E34"/>
                </a:solidFill>
                <a:latin typeface="Arial" panose="020B0604020202020204"/>
              </a:endParaRPr>
            </a:p>
          </p:txBody>
        </p:sp>
      </p:grpSp>
      <p:grpSp>
        <p:nvGrpSpPr>
          <p:cNvPr id="321" name="Группа 320"/>
          <p:cNvGrpSpPr/>
          <p:nvPr/>
        </p:nvGrpSpPr>
        <p:grpSpPr>
          <a:xfrm>
            <a:off x="3273969" y="1306794"/>
            <a:ext cx="1152001" cy="843265"/>
            <a:chOff x="10615822" y="1408597"/>
            <a:chExt cx="2561643" cy="3142766"/>
          </a:xfrm>
        </p:grpSpPr>
        <p:grpSp>
          <p:nvGrpSpPr>
            <p:cNvPr id="303" name="Группа 302"/>
            <p:cNvGrpSpPr/>
            <p:nvPr/>
          </p:nvGrpSpPr>
          <p:grpSpPr>
            <a:xfrm>
              <a:off x="10754202" y="1758962"/>
              <a:ext cx="2263025" cy="2792401"/>
              <a:chOff x="5021099" y="1758962"/>
              <a:chExt cx="2263025" cy="2792401"/>
            </a:xfrm>
          </p:grpSpPr>
          <p:sp>
            <p:nvSpPr>
              <p:cNvPr id="304" name="Прямоугольник 303"/>
              <p:cNvSpPr/>
              <p:nvPr/>
            </p:nvSpPr>
            <p:spPr bwMode="auto">
              <a:xfrm>
                <a:off x="5023394" y="1758963"/>
                <a:ext cx="2260730" cy="2728116"/>
              </a:xfrm>
              <a:prstGeom prst="rect">
                <a:avLst/>
              </a:prstGeom>
              <a:solidFill>
                <a:schemeClr val="bg2">
                  <a:lumMod val="40000"/>
                  <a:lumOff val="6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ru-RU" sz="18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cxnSp>
            <p:nvCxnSpPr>
              <p:cNvPr id="305" name="Прямая соединительная линия 304"/>
              <p:cNvCxnSpPr/>
              <p:nvPr/>
            </p:nvCxnSpPr>
            <p:spPr bwMode="auto">
              <a:xfrm>
                <a:off x="5585632" y="1758962"/>
                <a:ext cx="0" cy="2792401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4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06" name="Прямая соединительная линия 305"/>
              <p:cNvCxnSpPr/>
              <p:nvPr/>
            </p:nvCxnSpPr>
            <p:spPr bwMode="auto">
              <a:xfrm>
                <a:off x="6150165" y="1758962"/>
                <a:ext cx="0" cy="2792401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4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07" name="Прямая соединительная линия 306"/>
              <p:cNvCxnSpPr/>
              <p:nvPr/>
            </p:nvCxnSpPr>
            <p:spPr bwMode="auto">
              <a:xfrm>
                <a:off x="6714698" y="1758962"/>
                <a:ext cx="0" cy="2792401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4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08" name="Прямая соединительная линия 307"/>
              <p:cNvCxnSpPr/>
              <p:nvPr/>
            </p:nvCxnSpPr>
            <p:spPr bwMode="auto">
              <a:xfrm>
                <a:off x="7279229" y="1758962"/>
                <a:ext cx="0" cy="2792401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4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09" name="Прямая соединительная линия 308"/>
              <p:cNvCxnSpPr/>
              <p:nvPr/>
            </p:nvCxnSpPr>
            <p:spPr bwMode="auto">
              <a:xfrm>
                <a:off x="5021099" y="1758962"/>
                <a:ext cx="0" cy="2792401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4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310" name="Полилиния 309"/>
            <p:cNvSpPr/>
            <p:nvPr/>
          </p:nvSpPr>
          <p:spPr bwMode="auto">
            <a:xfrm>
              <a:off x="10756216" y="2756823"/>
              <a:ext cx="1694688" cy="1277820"/>
            </a:xfrm>
            <a:custGeom>
              <a:avLst/>
              <a:gdLst>
                <a:gd name="connsiteX0" fmla="*/ 0 w 1694688"/>
                <a:gd name="connsiteY0" fmla="*/ 323088 h 323088"/>
                <a:gd name="connsiteX1" fmla="*/ 1139952 w 1694688"/>
                <a:gd name="connsiteY1" fmla="*/ 0 h 323088"/>
                <a:gd name="connsiteX2" fmla="*/ 1694688 w 1694688"/>
                <a:gd name="connsiteY2" fmla="*/ 0 h 323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94688" h="323088">
                  <a:moveTo>
                    <a:pt x="0" y="323088"/>
                  </a:moveTo>
                  <a:lnTo>
                    <a:pt x="1139952" y="0"/>
                  </a:lnTo>
                  <a:lnTo>
                    <a:pt x="1694688" y="0"/>
                  </a:lnTo>
                </a:path>
              </a:pathLst>
            </a:custGeom>
            <a:noFill/>
            <a:ln w="28575" cap="flat" cmpd="sng" algn="ctr">
              <a:solidFill>
                <a:srgbClr val="FABE19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11" name="ee4pFootnotes">
              <a:extLst>
                <a:ext uri="{FF2B5EF4-FFF2-40B4-BE49-F238E27FC236}">
                  <a16:creationId xmlns:a16="http://schemas.microsoft.com/office/drawing/2014/main" id="{90825B8A-B749-4970-941E-550A619484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15822" y="1408597"/>
              <a:ext cx="324001" cy="339078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 algn="ctr" defTabSz="685783">
                <a:lnSpc>
                  <a:spcPct val="90000"/>
                </a:lnSpc>
              </a:pPr>
              <a:r>
                <a:rPr lang="en-US" sz="9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itchFamily="34" charset="0"/>
                  <a:sym typeface="Arial" panose="020B0604020202020204" pitchFamily="34" charset="0"/>
                </a:rPr>
                <a:t>18</a:t>
              </a:r>
              <a:endParaRPr lang="en-US" sz="900" b="1" dirty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2" name="ee4pFootnotes">
              <a:extLst>
                <a:ext uri="{FF2B5EF4-FFF2-40B4-BE49-F238E27FC236}">
                  <a16:creationId xmlns:a16="http://schemas.microsoft.com/office/drawing/2014/main" id="{BB2B0177-FE1B-4A5B-A071-269C2B9D45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165581" y="1408597"/>
              <a:ext cx="324001" cy="339078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 algn="ctr" defTabSz="685783">
                <a:lnSpc>
                  <a:spcPct val="90000"/>
                </a:lnSpc>
              </a:pPr>
              <a:r>
                <a:rPr lang="en-US" sz="9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itchFamily="34" charset="0"/>
                  <a:sym typeface="Arial" panose="020B0604020202020204" pitchFamily="34" charset="0"/>
                </a:rPr>
                <a:t>19</a:t>
              </a:r>
              <a:endParaRPr lang="en-US" sz="900" b="1" dirty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3" name="ee4pFootnotes">
              <a:extLst>
                <a:ext uri="{FF2B5EF4-FFF2-40B4-BE49-F238E27FC236}">
                  <a16:creationId xmlns:a16="http://schemas.microsoft.com/office/drawing/2014/main" id="{E5CC7E20-8892-4A98-BDAD-770E647CF4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15337" y="1408597"/>
              <a:ext cx="324001" cy="339078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 algn="ctr" defTabSz="685783">
                <a:lnSpc>
                  <a:spcPct val="90000"/>
                </a:lnSpc>
              </a:pPr>
              <a:r>
                <a:rPr lang="en-US" sz="9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itchFamily="34" charset="0"/>
                  <a:sym typeface="Arial" panose="020B0604020202020204" pitchFamily="34" charset="0"/>
                </a:rPr>
                <a:t>20</a:t>
              </a:r>
              <a:endParaRPr lang="en-US" sz="900" b="1" dirty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4" name="ee4pFootnotes">
              <a:extLst>
                <a:ext uri="{FF2B5EF4-FFF2-40B4-BE49-F238E27FC236}">
                  <a16:creationId xmlns:a16="http://schemas.microsoft.com/office/drawing/2014/main" id="{E5CC7E20-8892-4A98-BDAD-770E647CF4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65096" y="1408597"/>
              <a:ext cx="324001" cy="339078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 algn="ctr" defTabSz="685783">
                <a:lnSpc>
                  <a:spcPct val="90000"/>
                </a:lnSpc>
              </a:pPr>
              <a:r>
                <a:rPr lang="en-US" sz="9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itchFamily="34" charset="0"/>
                  <a:sym typeface="Arial" panose="020B0604020202020204" pitchFamily="34" charset="0"/>
                </a:rPr>
                <a:t>2</a:t>
              </a:r>
              <a:r>
                <a:rPr lang="ru-RU" sz="9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itchFamily="34" charset="0"/>
                  <a:sym typeface="Arial" panose="020B0604020202020204" pitchFamily="34" charset="0"/>
                </a:rPr>
                <a:t>1</a:t>
              </a:r>
              <a:endParaRPr lang="en-US" sz="900" b="1" dirty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5" name="ee4pFootnotes">
              <a:extLst>
                <a:ext uri="{FF2B5EF4-FFF2-40B4-BE49-F238E27FC236}">
                  <a16:creationId xmlns:a16="http://schemas.microsoft.com/office/drawing/2014/main" id="{E5CC7E20-8892-4A98-BDAD-770E647CF4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652489" y="1408597"/>
              <a:ext cx="524976" cy="339078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 algn="ctr" defTabSz="685783">
                <a:lnSpc>
                  <a:spcPct val="90000"/>
                </a:lnSpc>
              </a:pPr>
              <a:r>
                <a:rPr lang="en-US" sz="9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itchFamily="34" charset="0"/>
                  <a:sym typeface="Arial" panose="020B0604020202020204" pitchFamily="34" charset="0"/>
                </a:rPr>
                <a:t>Max</a:t>
              </a:r>
              <a:endParaRPr lang="en-US" sz="900" b="1" dirty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6" name="Oval 75">
              <a:extLst>
                <a:ext uri="{FF2B5EF4-FFF2-40B4-BE49-F238E27FC236}">
                  <a16:creationId xmlns:a16="http://schemas.microsoft.com/office/drawing/2014/main" id="{A005222B-EF63-430F-8BF1-6C1C11695DF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1764489" y="2395339"/>
              <a:ext cx="251999" cy="252000"/>
            </a:xfrm>
            <a:prstGeom prst="ellipse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783">
                <a:defRPr/>
              </a:pPr>
              <a:r>
                <a:rPr lang="ru-RU" sz="900" b="1" kern="0" dirty="0">
                  <a:solidFill>
                    <a:srgbClr val="5A5A59"/>
                  </a:solidFill>
                  <a:latin typeface="Arial" panose="020B0604020202020204"/>
                </a:rPr>
                <a:t>19</a:t>
              </a:r>
            </a:p>
          </p:txBody>
        </p:sp>
        <p:sp>
          <p:nvSpPr>
            <p:cNvPr id="317" name="Oval 76">
              <a:extLst>
                <a:ext uri="{FF2B5EF4-FFF2-40B4-BE49-F238E27FC236}">
                  <a16:creationId xmlns:a16="http://schemas.microsoft.com/office/drawing/2014/main" id="{4F3D55B4-0926-46F2-B598-9B9C1385A22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1195810" y="2931318"/>
              <a:ext cx="252000" cy="252000"/>
            </a:xfrm>
            <a:prstGeom prst="ellipse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783">
                <a:defRPr/>
              </a:pPr>
              <a:r>
                <a:rPr lang="ru-RU" sz="900" b="1" kern="0" dirty="0">
                  <a:solidFill>
                    <a:srgbClr val="5A5A59"/>
                  </a:solidFill>
                  <a:latin typeface="Arial" panose="020B0604020202020204"/>
                </a:rPr>
                <a:t>25</a:t>
              </a:r>
            </a:p>
          </p:txBody>
        </p:sp>
        <p:sp>
          <p:nvSpPr>
            <p:cNvPr id="318" name="Oval 78">
              <a:extLst>
                <a:ext uri="{FF2B5EF4-FFF2-40B4-BE49-F238E27FC236}">
                  <a16:creationId xmlns:a16="http://schemas.microsoft.com/office/drawing/2014/main" id="{7DFB7D22-865F-4651-804E-4D81352CF78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637296" y="3573763"/>
              <a:ext cx="251999" cy="252000"/>
            </a:xfrm>
            <a:prstGeom prst="ellipse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783">
                <a:defRPr/>
              </a:pPr>
              <a:r>
                <a:rPr lang="ru-RU" sz="900" b="1" kern="0" dirty="0">
                  <a:solidFill>
                    <a:srgbClr val="5A5A59"/>
                  </a:solidFill>
                  <a:latin typeface="Arial" panose="020B0604020202020204"/>
                </a:rPr>
                <a:t>35</a:t>
              </a:r>
            </a:p>
          </p:txBody>
        </p:sp>
        <p:sp>
          <p:nvSpPr>
            <p:cNvPr id="319" name="Oval 75">
              <a:extLst>
                <a:ext uri="{FF2B5EF4-FFF2-40B4-BE49-F238E27FC236}">
                  <a16:creationId xmlns:a16="http://schemas.microsoft.com/office/drawing/2014/main" id="{A005222B-EF63-430F-8BF1-6C1C11695DF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2305607" y="2382748"/>
              <a:ext cx="251999" cy="252000"/>
            </a:xfrm>
            <a:prstGeom prst="ellipse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783">
                <a:defRPr/>
              </a:pPr>
              <a:r>
                <a:rPr lang="ru-RU" sz="900" b="1" kern="0" dirty="0" smtClean="0">
                  <a:solidFill>
                    <a:srgbClr val="5A5A59"/>
                  </a:solidFill>
                  <a:latin typeface="Arial" panose="020B0604020202020204"/>
                </a:rPr>
                <a:t>17,2</a:t>
              </a:r>
              <a:endParaRPr lang="ru-RU" sz="900" b="1" kern="0" dirty="0">
                <a:solidFill>
                  <a:srgbClr val="5A5A59"/>
                </a:solidFill>
                <a:latin typeface="Arial" panose="020B0604020202020204"/>
              </a:endParaRPr>
            </a:p>
          </p:txBody>
        </p:sp>
        <p:sp>
          <p:nvSpPr>
            <p:cNvPr id="320" name="Oval 75">
              <a:extLst>
                <a:ext uri="{FF2B5EF4-FFF2-40B4-BE49-F238E27FC236}">
                  <a16:creationId xmlns:a16="http://schemas.microsoft.com/office/drawing/2014/main" id="{A005222B-EF63-430F-8BF1-6C1C11695DF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2878491" y="1971537"/>
              <a:ext cx="251999" cy="252000"/>
            </a:xfrm>
            <a:prstGeom prst="ellipse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783">
                <a:defRPr/>
              </a:pPr>
              <a:r>
                <a:rPr lang="en-US" sz="900" b="1" kern="0" dirty="0" smtClean="0">
                  <a:solidFill>
                    <a:srgbClr val="5A5A59"/>
                  </a:solidFill>
                  <a:latin typeface="Arial" panose="020B0604020202020204"/>
                </a:rPr>
                <a:t>0-10</a:t>
              </a:r>
              <a:endParaRPr lang="ru-RU" sz="900" b="1" kern="0" dirty="0">
                <a:solidFill>
                  <a:srgbClr val="5A5A59"/>
                </a:solidFill>
                <a:latin typeface="Arial" panose="020B0604020202020204"/>
              </a:endParaRPr>
            </a:p>
          </p:txBody>
        </p:sp>
      </p:grpSp>
      <p:grpSp>
        <p:nvGrpSpPr>
          <p:cNvPr id="341" name="Группа 340"/>
          <p:cNvGrpSpPr/>
          <p:nvPr/>
        </p:nvGrpSpPr>
        <p:grpSpPr>
          <a:xfrm>
            <a:off x="295074" y="2580904"/>
            <a:ext cx="1152001" cy="842342"/>
            <a:chOff x="7173488" y="1408181"/>
            <a:chExt cx="2561643" cy="3143182"/>
          </a:xfrm>
        </p:grpSpPr>
        <p:grpSp>
          <p:nvGrpSpPr>
            <p:cNvPr id="323" name="Группа 322"/>
            <p:cNvGrpSpPr/>
            <p:nvPr/>
          </p:nvGrpSpPr>
          <p:grpSpPr>
            <a:xfrm>
              <a:off x="7311868" y="1758962"/>
              <a:ext cx="2263025" cy="2792401"/>
              <a:chOff x="5021099" y="1758962"/>
              <a:chExt cx="2263025" cy="2792401"/>
            </a:xfrm>
          </p:grpSpPr>
          <p:sp>
            <p:nvSpPr>
              <p:cNvPr id="324" name="Прямоугольник 323"/>
              <p:cNvSpPr/>
              <p:nvPr/>
            </p:nvSpPr>
            <p:spPr bwMode="auto">
              <a:xfrm>
                <a:off x="5023394" y="1758963"/>
                <a:ext cx="2260730" cy="2728116"/>
              </a:xfrm>
              <a:prstGeom prst="rect">
                <a:avLst/>
              </a:prstGeom>
              <a:solidFill>
                <a:schemeClr val="bg2">
                  <a:lumMod val="40000"/>
                  <a:lumOff val="6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ru-RU" sz="18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cxnSp>
            <p:nvCxnSpPr>
              <p:cNvPr id="325" name="Прямая соединительная линия 324"/>
              <p:cNvCxnSpPr/>
              <p:nvPr/>
            </p:nvCxnSpPr>
            <p:spPr bwMode="auto">
              <a:xfrm>
                <a:off x="5585632" y="1758962"/>
                <a:ext cx="0" cy="2792401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4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26" name="Прямая соединительная линия 325"/>
              <p:cNvCxnSpPr/>
              <p:nvPr/>
            </p:nvCxnSpPr>
            <p:spPr bwMode="auto">
              <a:xfrm>
                <a:off x="6150165" y="1758962"/>
                <a:ext cx="0" cy="2792401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4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27" name="Прямая соединительная линия 326"/>
              <p:cNvCxnSpPr/>
              <p:nvPr/>
            </p:nvCxnSpPr>
            <p:spPr bwMode="auto">
              <a:xfrm>
                <a:off x="6714698" y="1758962"/>
                <a:ext cx="0" cy="2792401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4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28" name="Прямая соединительная линия 327"/>
              <p:cNvCxnSpPr/>
              <p:nvPr/>
            </p:nvCxnSpPr>
            <p:spPr bwMode="auto">
              <a:xfrm>
                <a:off x="7279229" y="1758962"/>
                <a:ext cx="0" cy="2792401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4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29" name="Прямая соединительная линия 328"/>
              <p:cNvCxnSpPr/>
              <p:nvPr/>
            </p:nvCxnSpPr>
            <p:spPr bwMode="auto">
              <a:xfrm>
                <a:off x="5021099" y="1758962"/>
                <a:ext cx="0" cy="2792401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4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cxnSp>
          <p:nvCxnSpPr>
            <p:cNvPr id="330" name="Прямая соединительная линия 329"/>
            <p:cNvCxnSpPr/>
            <p:nvPr/>
          </p:nvCxnSpPr>
          <p:spPr bwMode="auto">
            <a:xfrm flipV="1">
              <a:off x="7320962" y="3047044"/>
              <a:ext cx="1693583" cy="794627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accent4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1" name="ee4pFootnotes">
              <a:extLst>
                <a:ext uri="{FF2B5EF4-FFF2-40B4-BE49-F238E27FC236}">
                  <a16:creationId xmlns:a16="http://schemas.microsoft.com/office/drawing/2014/main" id="{90825B8A-B749-4970-941E-550A619484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3488" y="1408181"/>
              <a:ext cx="324001" cy="339494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 algn="ctr" defTabSz="685783">
                <a:lnSpc>
                  <a:spcPct val="90000"/>
                </a:lnSpc>
              </a:pPr>
              <a:r>
                <a:rPr lang="en-US" sz="9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itchFamily="34" charset="0"/>
                  <a:sym typeface="Arial" panose="020B0604020202020204" pitchFamily="34" charset="0"/>
                </a:rPr>
                <a:t>18</a:t>
              </a:r>
              <a:endParaRPr lang="en-US" sz="900" b="1" dirty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32" name="ee4pFootnotes">
              <a:extLst>
                <a:ext uri="{FF2B5EF4-FFF2-40B4-BE49-F238E27FC236}">
                  <a16:creationId xmlns:a16="http://schemas.microsoft.com/office/drawing/2014/main" id="{BB2B0177-FE1B-4A5B-A071-269C2B9D45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23247" y="1408181"/>
              <a:ext cx="324001" cy="339494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 algn="ctr" defTabSz="685783">
                <a:lnSpc>
                  <a:spcPct val="90000"/>
                </a:lnSpc>
              </a:pPr>
              <a:r>
                <a:rPr lang="en-US" sz="9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itchFamily="34" charset="0"/>
                  <a:sym typeface="Arial" panose="020B0604020202020204" pitchFamily="34" charset="0"/>
                </a:rPr>
                <a:t>19</a:t>
              </a:r>
              <a:endParaRPr lang="en-US" sz="900" b="1" dirty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33" name="ee4pFootnotes">
              <a:extLst>
                <a:ext uri="{FF2B5EF4-FFF2-40B4-BE49-F238E27FC236}">
                  <a16:creationId xmlns:a16="http://schemas.microsoft.com/office/drawing/2014/main" id="{E5CC7E20-8892-4A98-BDAD-770E647CF4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73003" y="1408181"/>
              <a:ext cx="324001" cy="339494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 algn="ctr" defTabSz="685783">
                <a:lnSpc>
                  <a:spcPct val="90000"/>
                </a:lnSpc>
              </a:pPr>
              <a:r>
                <a:rPr lang="en-US" sz="9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itchFamily="34" charset="0"/>
                  <a:sym typeface="Arial" panose="020B0604020202020204" pitchFamily="34" charset="0"/>
                </a:rPr>
                <a:t>20</a:t>
              </a:r>
              <a:endParaRPr lang="en-US" sz="900" b="1" dirty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34" name="ee4pFootnotes">
              <a:extLst>
                <a:ext uri="{FF2B5EF4-FFF2-40B4-BE49-F238E27FC236}">
                  <a16:creationId xmlns:a16="http://schemas.microsoft.com/office/drawing/2014/main" id="{E5CC7E20-8892-4A98-BDAD-770E647CF4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22762" y="1408181"/>
              <a:ext cx="324001" cy="339494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 algn="ctr" defTabSz="685783">
                <a:lnSpc>
                  <a:spcPct val="90000"/>
                </a:lnSpc>
              </a:pPr>
              <a:r>
                <a:rPr lang="en-US" sz="9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itchFamily="34" charset="0"/>
                  <a:sym typeface="Arial" panose="020B0604020202020204" pitchFamily="34" charset="0"/>
                </a:rPr>
                <a:t>2</a:t>
              </a:r>
              <a:r>
                <a:rPr lang="ru-RU" sz="9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itchFamily="34" charset="0"/>
                  <a:sym typeface="Arial" panose="020B0604020202020204" pitchFamily="34" charset="0"/>
                </a:rPr>
                <a:t>1</a:t>
              </a:r>
              <a:endParaRPr lang="en-US" sz="900" b="1" dirty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35" name="ee4pFootnotes">
              <a:extLst>
                <a:ext uri="{FF2B5EF4-FFF2-40B4-BE49-F238E27FC236}">
                  <a16:creationId xmlns:a16="http://schemas.microsoft.com/office/drawing/2014/main" id="{E5CC7E20-8892-4A98-BDAD-770E647CF4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9576" y="1408181"/>
              <a:ext cx="505555" cy="339494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 algn="ctr" defTabSz="685783">
                <a:lnSpc>
                  <a:spcPct val="90000"/>
                </a:lnSpc>
              </a:pPr>
              <a:r>
                <a:rPr lang="en-US" sz="9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itchFamily="34" charset="0"/>
                  <a:sym typeface="Arial" panose="020B0604020202020204" pitchFamily="34" charset="0"/>
                </a:rPr>
                <a:t>Max</a:t>
              </a:r>
              <a:endParaRPr lang="en-US" sz="900" b="1" dirty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36" name="Oval 82">
              <a:extLst>
                <a:ext uri="{FF2B5EF4-FFF2-40B4-BE49-F238E27FC236}">
                  <a16:creationId xmlns:a16="http://schemas.microsoft.com/office/drawing/2014/main" id="{4410C911-F36A-4B4A-80FC-99A2C368597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667416" y="3123018"/>
              <a:ext cx="400256" cy="400257"/>
            </a:xfrm>
            <a:prstGeom prst="ellipse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78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 kern="0" dirty="0">
                  <a:solidFill>
                    <a:srgbClr val="4A4A49"/>
                  </a:solidFill>
                  <a:latin typeface="Arial" panose="020B0604020202020204"/>
                </a:rPr>
                <a:t>60</a:t>
              </a:r>
            </a:p>
          </p:txBody>
        </p:sp>
        <p:sp>
          <p:nvSpPr>
            <p:cNvPr id="337" name="Oval 83">
              <a:extLst>
                <a:ext uri="{FF2B5EF4-FFF2-40B4-BE49-F238E27FC236}">
                  <a16:creationId xmlns:a16="http://schemas.microsoft.com/office/drawing/2014/main" id="{5524D027-75DC-48FC-A2CE-B68E3026202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194962" y="3464769"/>
              <a:ext cx="251999" cy="252000"/>
            </a:xfrm>
            <a:prstGeom prst="ellipse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78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 kern="0" dirty="0">
                  <a:solidFill>
                    <a:srgbClr val="4A4A49"/>
                  </a:solidFill>
                  <a:latin typeface="Arial" panose="020B0604020202020204"/>
                </a:rPr>
                <a:t>57</a:t>
              </a:r>
            </a:p>
          </p:txBody>
        </p:sp>
        <p:sp>
          <p:nvSpPr>
            <p:cNvPr id="338" name="Oval 84">
              <a:extLst>
                <a:ext uri="{FF2B5EF4-FFF2-40B4-BE49-F238E27FC236}">
                  <a16:creationId xmlns:a16="http://schemas.microsoft.com/office/drawing/2014/main" id="{F0EBA137-8CA2-4FF6-8A90-E507F9737E4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302825" y="2915401"/>
              <a:ext cx="251999" cy="252000"/>
            </a:xfrm>
            <a:prstGeom prst="ellipse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78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 kern="0" dirty="0">
                  <a:solidFill>
                    <a:srgbClr val="4A4A49"/>
                  </a:solidFill>
                  <a:latin typeface="Arial" panose="020B0604020202020204"/>
                </a:rPr>
                <a:t>62</a:t>
              </a:r>
            </a:p>
          </p:txBody>
        </p:sp>
        <p:sp>
          <p:nvSpPr>
            <p:cNvPr id="339" name="Oval 84">
              <a:extLst>
                <a:ext uri="{FF2B5EF4-FFF2-40B4-BE49-F238E27FC236}">
                  <a16:creationId xmlns:a16="http://schemas.microsoft.com/office/drawing/2014/main" id="{F0EBA137-8CA2-4FF6-8A90-E507F9737E4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891166" y="2597466"/>
              <a:ext cx="251999" cy="251999"/>
            </a:xfrm>
            <a:prstGeom prst="ellipse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78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 kern="0" dirty="0" smtClean="0">
                  <a:solidFill>
                    <a:srgbClr val="4A4A49"/>
                  </a:solidFill>
                  <a:latin typeface="Arial" panose="020B0604020202020204"/>
                </a:rPr>
                <a:t>65</a:t>
              </a:r>
              <a:endParaRPr lang="en-US" sz="900" b="1" kern="0" dirty="0">
                <a:solidFill>
                  <a:srgbClr val="4A4A49"/>
                </a:solidFill>
                <a:latin typeface="Arial" panose="020B0604020202020204"/>
              </a:endParaRPr>
            </a:p>
          </p:txBody>
        </p:sp>
        <p:sp>
          <p:nvSpPr>
            <p:cNvPr id="340" name="Oval 75">
              <a:extLst>
                <a:ext uri="{FF2B5EF4-FFF2-40B4-BE49-F238E27FC236}">
                  <a16:creationId xmlns:a16="http://schemas.microsoft.com/office/drawing/2014/main" id="{A005222B-EF63-430F-8BF1-6C1C11695DF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436157" y="1939682"/>
              <a:ext cx="251999" cy="251999"/>
            </a:xfrm>
            <a:prstGeom prst="ellipse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783">
                <a:defRPr/>
              </a:pPr>
              <a:r>
                <a:rPr lang="en-US" sz="900" b="1" kern="0" dirty="0" smtClean="0">
                  <a:solidFill>
                    <a:srgbClr val="5A5A59"/>
                  </a:solidFill>
                  <a:latin typeface="Arial" panose="020B0604020202020204"/>
                </a:rPr>
                <a:t>100</a:t>
              </a:r>
              <a:endParaRPr lang="ru-RU" sz="900" b="1" kern="0" dirty="0">
                <a:solidFill>
                  <a:srgbClr val="5A5A59"/>
                </a:solidFill>
                <a:latin typeface="Arial" panose="020B0604020202020204"/>
              </a:endParaRPr>
            </a:p>
          </p:txBody>
        </p:sp>
      </p:grpSp>
      <p:grpSp>
        <p:nvGrpSpPr>
          <p:cNvPr id="366" name="Группа 365"/>
          <p:cNvGrpSpPr/>
          <p:nvPr/>
        </p:nvGrpSpPr>
        <p:grpSpPr>
          <a:xfrm>
            <a:off x="1801317" y="2580904"/>
            <a:ext cx="1164670" cy="842342"/>
            <a:chOff x="-2824878" y="3081016"/>
            <a:chExt cx="1164670" cy="1154062"/>
          </a:xfrm>
        </p:grpSpPr>
        <p:grpSp>
          <p:nvGrpSpPr>
            <p:cNvPr id="346" name="Группа 345"/>
            <p:cNvGrpSpPr/>
            <p:nvPr/>
          </p:nvGrpSpPr>
          <p:grpSpPr>
            <a:xfrm>
              <a:off x="-2749978" y="3209810"/>
              <a:ext cx="1017709" cy="1025268"/>
              <a:chOff x="5021099" y="1758962"/>
              <a:chExt cx="2263025" cy="2792401"/>
            </a:xfrm>
          </p:grpSpPr>
          <p:sp>
            <p:nvSpPr>
              <p:cNvPr id="358" name="Прямоугольник 357"/>
              <p:cNvSpPr/>
              <p:nvPr/>
            </p:nvSpPr>
            <p:spPr bwMode="auto">
              <a:xfrm>
                <a:off x="5023394" y="1758963"/>
                <a:ext cx="2260730" cy="2728116"/>
              </a:xfrm>
              <a:prstGeom prst="rect">
                <a:avLst/>
              </a:prstGeom>
              <a:solidFill>
                <a:schemeClr val="bg2">
                  <a:lumMod val="40000"/>
                  <a:lumOff val="6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ru-RU" sz="18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cxnSp>
            <p:nvCxnSpPr>
              <p:cNvPr id="359" name="Прямая соединительная линия 358"/>
              <p:cNvCxnSpPr/>
              <p:nvPr/>
            </p:nvCxnSpPr>
            <p:spPr bwMode="auto">
              <a:xfrm>
                <a:off x="5585632" y="1758962"/>
                <a:ext cx="0" cy="2792401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4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60" name="Прямая соединительная линия 359"/>
              <p:cNvCxnSpPr/>
              <p:nvPr/>
            </p:nvCxnSpPr>
            <p:spPr bwMode="auto">
              <a:xfrm>
                <a:off x="6150165" y="1758962"/>
                <a:ext cx="0" cy="2792401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4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61" name="Прямая соединительная линия 360"/>
              <p:cNvCxnSpPr/>
              <p:nvPr/>
            </p:nvCxnSpPr>
            <p:spPr bwMode="auto">
              <a:xfrm>
                <a:off x="6714698" y="1758962"/>
                <a:ext cx="0" cy="2792401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4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62" name="Прямая соединительная линия 361"/>
              <p:cNvCxnSpPr/>
              <p:nvPr/>
            </p:nvCxnSpPr>
            <p:spPr bwMode="auto">
              <a:xfrm>
                <a:off x="7279229" y="1758962"/>
                <a:ext cx="0" cy="2792401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4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63" name="Прямая соединительная линия 362"/>
              <p:cNvCxnSpPr/>
              <p:nvPr/>
            </p:nvCxnSpPr>
            <p:spPr bwMode="auto">
              <a:xfrm>
                <a:off x="5021099" y="1758962"/>
                <a:ext cx="0" cy="2792401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4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348" name="ee4pFootnotes">
              <a:extLst>
                <a:ext uri="{FF2B5EF4-FFF2-40B4-BE49-F238E27FC236}">
                  <a16:creationId xmlns:a16="http://schemas.microsoft.com/office/drawing/2014/main" id="{90825B8A-B749-4970-941E-550A619484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812209" y="3081016"/>
              <a:ext cx="145707" cy="124650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 algn="ctr" defTabSz="685783">
                <a:lnSpc>
                  <a:spcPct val="90000"/>
                </a:lnSpc>
              </a:pPr>
              <a:r>
                <a:rPr lang="en-US" sz="9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itchFamily="34" charset="0"/>
                  <a:sym typeface="Arial" panose="020B0604020202020204" pitchFamily="34" charset="0"/>
                </a:rPr>
                <a:t>18</a:t>
              </a:r>
              <a:endParaRPr lang="en-US" sz="900" b="1" dirty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9" name="ee4pFootnotes">
              <a:extLst>
                <a:ext uri="{FF2B5EF4-FFF2-40B4-BE49-F238E27FC236}">
                  <a16:creationId xmlns:a16="http://schemas.microsoft.com/office/drawing/2014/main" id="{BB2B0177-FE1B-4A5B-A071-269C2B9D45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564976" y="3081016"/>
              <a:ext cx="145707" cy="124650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 algn="ctr" defTabSz="685783">
                <a:lnSpc>
                  <a:spcPct val="90000"/>
                </a:lnSpc>
              </a:pPr>
              <a:r>
                <a:rPr lang="en-US" sz="9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itchFamily="34" charset="0"/>
                  <a:sym typeface="Arial" panose="020B0604020202020204" pitchFamily="34" charset="0"/>
                </a:rPr>
                <a:t>19</a:t>
              </a:r>
              <a:endParaRPr lang="en-US" sz="900" b="1" dirty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50" name="ee4pFootnotes">
              <a:extLst>
                <a:ext uri="{FF2B5EF4-FFF2-40B4-BE49-F238E27FC236}">
                  <a16:creationId xmlns:a16="http://schemas.microsoft.com/office/drawing/2014/main" id="{E5CC7E20-8892-4A98-BDAD-770E647CF4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317744" y="3081016"/>
              <a:ext cx="145707" cy="124650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 algn="ctr" defTabSz="685783">
                <a:lnSpc>
                  <a:spcPct val="90000"/>
                </a:lnSpc>
              </a:pPr>
              <a:r>
                <a:rPr lang="en-US" sz="9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itchFamily="34" charset="0"/>
                  <a:sym typeface="Arial" panose="020B0604020202020204" pitchFamily="34" charset="0"/>
                </a:rPr>
                <a:t>20</a:t>
              </a:r>
              <a:endParaRPr lang="en-US" sz="900" b="1" dirty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51" name="ee4pFootnotes">
              <a:extLst>
                <a:ext uri="{FF2B5EF4-FFF2-40B4-BE49-F238E27FC236}">
                  <a16:creationId xmlns:a16="http://schemas.microsoft.com/office/drawing/2014/main" id="{E5CC7E20-8892-4A98-BDAD-770E647CF4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070511" y="3081016"/>
              <a:ext cx="145707" cy="124650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 algn="ctr" defTabSz="685783">
                <a:lnSpc>
                  <a:spcPct val="90000"/>
                </a:lnSpc>
              </a:pPr>
              <a:r>
                <a:rPr lang="en-US" sz="9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itchFamily="34" charset="0"/>
                  <a:sym typeface="Arial" panose="020B0604020202020204" pitchFamily="34" charset="0"/>
                </a:rPr>
                <a:t>2</a:t>
              </a:r>
              <a:r>
                <a:rPr lang="ru-RU" sz="9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itchFamily="34" charset="0"/>
                  <a:sym typeface="Arial" panose="020B0604020202020204" pitchFamily="34" charset="0"/>
                </a:rPr>
                <a:t>1</a:t>
              </a:r>
              <a:endParaRPr lang="en-US" sz="900" b="1" dirty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52" name="ee4pFootnotes">
              <a:extLst>
                <a:ext uri="{FF2B5EF4-FFF2-40B4-BE49-F238E27FC236}">
                  <a16:creationId xmlns:a16="http://schemas.microsoft.com/office/drawing/2014/main" id="{E5CC7E20-8892-4A98-BDAD-770E647CF4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886820" y="3081016"/>
              <a:ext cx="226612" cy="124650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 algn="ctr" defTabSz="685783">
                <a:lnSpc>
                  <a:spcPct val="90000"/>
                </a:lnSpc>
              </a:pPr>
              <a:r>
                <a:rPr lang="en-US" sz="9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itchFamily="34" charset="0"/>
                  <a:sym typeface="Arial" panose="020B0604020202020204" pitchFamily="34" charset="0"/>
                </a:rPr>
                <a:t>Max</a:t>
              </a:r>
              <a:endParaRPr lang="en-US" sz="900" b="1" dirty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65" name="Группа 364"/>
            <p:cNvGrpSpPr/>
            <p:nvPr/>
          </p:nvGrpSpPr>
          <p:grpSpPr>
            <a:xfrm>
              <a:off x="-2824878" y="3406872"/>
              <a:ext cx="918695" cy="674427"/>
              <a:chOff x="-2910088" y="3573393"/>
              <a:chExt cx="1877316" cy="491067"/>
            </a:xfrm>
          </p:grpSpPr>
          <p:sp>
            <p:nvSpPr>
              <p:cNvPr id="213" name="Полилиния 212"/>
              <p:cNvSpPr/>
              <p:nvPr/>
            </p:nvSpPr>
            <p:spPr bwMode="auto">
              <a:xfrm>
                <a:off x="-2775876" y="3802595"/>
                <a:ext cx="1037142" cy="184734"/>
              </a:xfrm>
              <a:custGeom>
                <a:avLst/>
                <a:gdLst>
                  <a:gd name="connsiteX0" fmla="*/ 0 w 1700784"/>
                  <a:gd name="connsiteY0" fmla="*/ 201168 h 201168"/>
                  <a:gd name="connsiteX1" fmla="*/ 579120 w 1700784"/>
                  <a:gd name="connsiteY1" fmla="*/ 0 h 201168"/>
                  <a:gd name="connsiteX2" fmla="*/ 1700784 w 1700784"/>
                  <a:gd name="connsiteY2" fmla="*/ 0 h 201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0784" h="201168">
                    <a:moveTo>
                      <a:pt x="0" y="201168"/>
                    </a:moveTo>
                    <a:lnTo>
                      <a:pt x="579120" y="0"/>
                    </a:lnTo>
                    <a:lnTo>
                      <a:pt x="1700784" y="0"/>
                    </a:lnTo>
                  </a:path>
                </a:pathLst>
              </a:custGeom>
              <a:noFill/>
              <a:ln w="2857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ru-RU" sz="18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37" name="Oval 133">
                <a:extLst>
                  <a:ext uri="{FF2B5EF4-FFF2-40B4-BE49-F238E27FC236}">
                    <a16:creationId xmlns:a16="http://schemas.microsoft.com/office/drawing/2014/main" id="{F9384095-DEF8-4239-B7EE-09FFE466232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-2910088" y="3750113"/>
                <a:ext cx="252000" cy="252000"/>
              </a:xfrm>
              <a:prstGeom prst="ellipse">
                <a:avLst/>
              </a:prstGeom>
              <a:noFill/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78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900" b="1" kern="0" dirty="0">
                    <a:solidFill>
                      <a:srgbClr val="231F20"/>
                    </a:solidFill>
                    <a:latin typeface="Arial" panose="020B0604020202020204"/>
                  </a:rPr>
                  <a:t>13</a:t>
                </a:r>
              </a:p>
            </p:txBody>
          </p:sp>
          <p:sp>
            <p:nvSpPr>
              <p:cNvPr id="238" name="Oval 134">
                <a:extLst>
                  <a:ext uri="{FF2B5EF4-FFF2-40B4-BE49-F238E27FC236}">
                    <a16:creationId xmlns:a16="http://schemas.microsoft.com/office/drawing/2014/main" id="{808B7A4D-1880-4763-B735-A17CD84E47F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-1841821" y="3573393"/>
                <a:ext cx="251999" cy="252000"/>
              </a:xfrm>
              <a:prstGeom prst="ellipse">
                <a:avLst/>
              </a:prstGeom>
              <a:noFill/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78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900" b="1" kern="0" dirty="0">
                    <a:solidFill>
                      <a:srgbClr val="231F20"/>
                    </a:solidFill>
                    <a:latin typeface="Arial" panose="020B0604020202020204"/>
                  </a:rPr>
                  <a:t>2</a:t>
                </a:r>
              </a:p>
            </p:txBody>
          </p:sp>
          <p:sp>
            <p:nvSpPr>
              <p:cNvPr id="239" name="Oval 92">
                <a:extLst>
                  <a:ext uri="{FF2B5EF4-FFF2-40B4-BE49-F238E27FC236}">
                    <a16:creationId xmlns:a16="http://schemas.microsoft.com/office/drawing/2014/main" id="{1F78CCC6-93ED-47D6-A428-285D6256898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-2329693" y="3573396"/>
                <a:ext cx="251999" cy="252000"/>
              </a:xfrm>
              <a:prstGeom prst="ellipse">
                <a:avLst/>
              </a:prstGeom>
              <a:noFill/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78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900" b="1" kern="0" dirty="0">
                    <a:solidFill>
                      <a:srgbClr val="231F20"/>
                    </a:solidFill>
                    <a:latin typeface="Arial" panose="020B0604020202020204"/>
                  </a:rPr>
                  <a:t>2</a:t>
                </a:r>
              </a:p>
            </p:txBody>
          </p:sp>
          <p:sp>
            <p:nvSpPr>
              <p:cNvPr id="240" name="Oval 134">
                <a:extLst>
                  <a:ext uri="{FF2B5EF4-FFF2-40B4-BE49-F238E27FC236}">
                    <a16:creationId xmlns:a16="http://schemas.microsoft.com/office/drawing/2014/main" id="{808B7A4D-1880-4763-B735-A17CD84E47F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-1323423" y="3812460"/>
                <a:ext cx="290651" cy="252000"/>
              </a:xfrm>
              <a:prstGeom prst="ellipse">
                <a:avLst/>
              </a:prstGeom>
              <a:noFill/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78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900" b="1" kern="0" dirty="0" smtClean="0">
                    <a:solidFill>
                      <a:srgbClr val="231F20"/>
                    </a:solidFill>
                    <a:latin typeface="Arial" panose="020B0604020202020204"/>
                  </a:rPr>
                  <a:t>1</a:t>
                </a:r>
                <a:r>
                  <a:rPr lang="ru-RU" sz="900" b="1" kern="0" dirty="0" smtClean="0">
                    <a:solidFill>
                      <a:srgbClr val="231F20"/>
                    </a:solidFill>
                    <a:latin typeface="Arial" panose="020B0604020202020204"/>
                  </a:rPr>
                  <a:t>0</a:t>
                </a:r>
                <a:endParaRPr lang="en-US" sz="900" b="1" kern="0" dirty="0">
                  <a:solidFill>
                    <a:srgbClr val="231F20"/>
                  </a:solidFill>
                  <a:latin typeface="Arial" panose="020B0604020202020204"/>
                </a:endParaRPr>
              </a:p>
            </p:txBody>
          </p:sp>
        </p:grpSp>
      </p:grpSp>
      <p:grpSp>
        <p:nvGrpSpPr>
          <p:cNvPr id="367" name="Группа 366"/>
          <p:cNvGrpSpPr/>
          <p:nvPr/>
        </p:nvGrpSpPr>
        <p:grpSpPr>
          <a:xfrm>
            <a:off x="3267347" y="2580904"/>
            <a:ext cx="1152001" cy="842342"/>
            <a:chOff x="-2812209" y="3081016"/>
            <a:chExt cx="1152001" cy="1154062"/>
          </a:xfrm>
        </p:grpSpPr>
        <p:grpSp>
          <p:nvGrpSpPr>
            <p:cNvPr id="368" name="Группа 367"/>
            <p:cNvGrpSpPr/>
            <p:nvPr/>
          </p:nvGrpSpPr>
          <p:grpSpPr>
            <a:xfrm>
              <a:off x="-2749978" y="3209810"/>
              <a:ext cx="1017709" cy="1025268"/>
              <a:chOff x="5021099" y="1758962"/>
              <a:chExt cx="2263025" cy="2792401"/>
            </a:xfrm>
          </p:grpSpPr>
          <p:sp>
            <p:nvSpPr>
              <p:cNvPr id="380" name="Прямоугольник 379"/>
              <p:cNvSpPr/>
              <p:nvPr/>
            </p:nvSpPr>
            <p:spPr bwMode="auto">
              <a:xfrm>
                <a:off x="5023394" y="1758963"/>
                <a:ext cx="2260730" cy="2728116"/>
              </a:xfrm>
              <a:prstGeom prst="rect">
                <a:avLst/>
              </a:prstGeom>
              <a:solidFill>
                <a:schemeClr val="bg2">
                  <a:lumMod val="40000"/>
                  <a:lumOff val="6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ru-RU" sz="18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cxnSp>
            <p:nvCxnSpPr>
              <p:cNvPr id="381" name="Прямая соединительная линия 380"/>
              <p:cNvCxnSpPr/>
              <p:nvPr/>
            </p:nvCxnSpPr>
            <p:spPr bwMode="auto">
              <a:xfrm>
                <a:off x="5585632" y="1758962"/>
                <a:ext cx="0" cy="2792401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4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82" name="Прямая соединительная линия 381"/>
              <p:cNvCxnSpPr/>
              <p:nvPr/>
            </p:nvCxnSpPr>
            <p:spPr bwMode="auto">
              <a:xfrm>
                <a:off x="6150165" y="1758962"/>
                <a:ext cx="0" cy="2792401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4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83" name="Прямая соединительная линия 382"/>
              <p:cNvCxnSpPr/>
              <p:nvPr/>
            </p:nvCxnSpPr>
            <p:spPr bwMode="auto">
              <a:xfrm>
                <a:off x="6714698" y="1758962"/>
                <a:ext cx="0" cy="2792401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4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84" name="Прямая соединительная линия 383"/>
              <p:cNvCxnSpPr/>
              <p:nvPr/>
            </p:nvCxnSpPr>
            <p:spPr bwMode="auto">
              <a:xfrm>
                <a:off x="7279229" y="1758962"/>
                <a:ext cx="0" cy="2792401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4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85" name="Прямая соединительная линия 384"/>
              <p:cNvCxnSpPr/>
              <p:nvPr/>
            </p:nvCxnSpPr>
            <p:spPr bwMode="auto">
              <a:xfrm>
                <a:off x="5021099" y="1758962"/>
                <a:ext cx="0" cy="2792401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4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369" name="ee4pFootnotes">
              <a:extLst>
                <a:ext uri="{FF2B5EF4-FFF2-40B4-BE49-F238E27FC236}">
                  <a16:creationId xmlns:a16="http://schemas.microsoft.com/office/drawing/2014/main" id="{90825B8A-B749-4970-941E-550A619484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812209" y="3081016"/>
              <a:ext cx="145707" cy="124650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 algn="ctr" defTabSz="685783">
                <a:lnSpc>
                  <a:spcPct val="90000"/>
                </a:lnSpc>
              </a:pPr>
              <a:r>
                <a:rPr lang="en-US" sz="9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itchFamily="34" charset="0"/>
                  <a:sym typeface="Arial" panose="020B0604020202020204" pitchFamily="34" charset="0"/>
                </a:rPr>
                <a:t>18</a:t>
              </a:r>
              <a:endParaRPr lang="en-US" sz="900" b="1" dirty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70" name="ee4pFootnotes">
              <a:extLst>
                <a:ext uri="{FF2B5EF4-FFF2-40B4-BE49-F238E27FC236}">
                  <a16:creationId xmlns:a16="http://schemas.microsoft.com/office/drawing/2014/main" id="{BB2B0177-FE1B-4A5B-A071-269C2B9D45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564976" y="3081016"/>
              <a:ext cx="145707" cy="124650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 algn="ctr" defTabSz="685783">
                <a:lnSpc>
                  <a:spcPct val="90000"/>
                </a:lnSpc>
              </a:pPr>
              <a:r>
                <a:rPr lang="en-US" sz="9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itchFamily="34" charset="0"/>
                  <a:sym typeface="Arial" panose="020B0604020202020204" pitchFamily="34" charset="0"/>
                </a:rPr>
                <a:t>19</a:t>
              </a:r>
              <a:endParaRPr lang="en-US" sz="900" b="1" dirty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71" name="ee4pFootnotes">
              <a:extLst>
                <a:ext uri="{FF2B5EF4-FFF2-40B4-BE49-F238E27FC236}">
                  <a16:creationId xmlns:a16="http://schemas.microsoft.com/office/drawing/2014/main" id="{E5CC7E20-8892-4A98-BDAD-770E647CF4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317744" y="3081016"/>
              <a:ext cx="145707" cy="124650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 algn="ctr" defTabSz="685783">
                <a:lnSpc>
                  <a:spcPct val="90000"/>
                </a:lnSpc>
              </a:pPr>
              <a:r>
                <a:rPr lang="en-US" sz="9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itchFamily="34" charset="0"/>
                  <a:sym typeface="Arial" panose="020B0604020202020204" pitchFamily="34" charset="0"/>
                </a:rPr>
                <a:t>20</a:t>
              </a:r>
              <a:endParaRPr lang="en-US" sz="900" b="1" dirty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72" name="ee4pFootnotes">
              <a:extLst>
                <a:ext uri="{FF2B5EF4-FFF2-40B4-BE49-F238E27FC236}">
                  <a16:creationId xmlns:a16="http://schemas.microsoft.com/office/drawing/2014/main" id="{E5CC7E20-8892-4A98-BDAD-770E647CF4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070511" y="3081016"/>
              <a:ext cx="145707" cy="124650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 algn="ctr" defTabSz="685783">
                <a:lnSpc>
                  <a:spcPct val="90000"/>
                </a:lnSpc>
              </a:pPr>
              <a:r>
                <a:rPr lang="en-US" sz="9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itchFamily="34" charset="0"/>
                  <a:sym typeface="Arial" panose="020B0604020202020204" pitchFamily="34" charset="0"/>
                </a:rPr>
                <a:t>2</a:t>
              </a:r>
              <a:r>
                <a:rPr lang="ru-RU" sz="9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itchFamily="34" charset="0"/>
                  <a:sym typeface="Arial" panose="020B0604020202020204" pitchFamily="34" charset="0"/>
                </a:rPr>
                <a:t>1</a:t>
              </a:r>
              <a:endParaRPr lang="en-US" sz="900" b="1" dirty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73" name="ee4pFootnotes">
              <a:extLst>
                <a:ext uri="{FF2B5EF4-FFF2-40B4-BE49-F238E27FC236}">
                  <a16:creationId xmlns:a16="http://schemas.microsoft.com/office/drawing/2014/main" id="{E5CC7E20-8892-4A98-BDAD-770E647CF4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898282" y="3081016"/>
              <a:ext cx="238074" cy="124650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 algn="ctr" defTabSz="685783">
                <a:lnSpc>
                  <a:spcPct val="90000"/>
                </a:lnSpc>
              </a:pPr>
              <a:r>
                <a:rPr lang="en-US" sz="9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itchFamily="34" charset="0"/>
                  <a:sym typeface="Arial" panose="020B0604020202020204" pitchFamily="34" charset="0"/>
                </a:rPr>
                <a:t>Max</a:t>
              </a:r>
              <a:endParaRPr lang="en-US" sz="900" b="1" dirty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74" name="Группа 373"/>
            <p:cNvGrpSpPr/>
            <p:nvPr/>
          </p:nvGrpSpPr>
          <p:grpSpPr>
            <a:xfrm>
              <a:off x="-2540852" y="3406869"/>
              <a:ext cx="615755" cy="568497"/>
              <a:chOff x="-2329693" y="3573393"/>
              <a:chExt cx="1258271" cy="413937"/>
            </a:xfrm>
          </p:grpSpPr>
          <p:sp>
            <p:nvSpPr>
              <p:cNvPr id="375" name="Полилиния 374"/>
              <p:cNvSpPr/>
              <p:nvPr/>
            </p:nvSpPr>
            <p:spPr bwMode="auto">
              <a:xfrm>
                <a:off x="-2271732" y="3786162"/>
                <a:ext cx="1054914" cy="201168"/>
              </a:xfrm>
              <a:custGeom>
                <a:avLst/>
                <a:gdLst>
                  <a:gd name="connsiteX0" fmla="*/ 0 w 1700784"/>
                  <a:gd name="connsiteY0" fmla="*/ 201168 h 201168"/>
                  <a:gd name="connsiteX1" fmla="*/ 579120 w 1700784"/>
                  <a:gd name="connsiteY1" fmla="*/ 0 h 201168"/>
                  <a:gd name="connsiteX2" fmla="*/ 1700784 w 1700784"/>
                  <a:gd name="connsiteY2" fmla="*/ 0 h 201168"/>
                  <a:gd name="connsiteX0" fmla="*/ 0 w 1700784"/>
                  <a:gd name="connsiteY0" fmla="*/ 201168 h 201168"/>
                  <a:gd name="connsiteX1" fmla="*/ 874098 w 1700784"/>
                  <a:gd name="connsiteY1" fmla="*/ 19004 h 201168"/>
                  <a:gd name="connsiteX2" fmla="*/ 1700784 w 1700784"/>
                  <a:gd name="connsiteY2" fmla="*/ 0 h 201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0784" h="201168">
                    <a:moveTo>
                      <a:pt x="0" y="201168"/>
                    </a:moveTo>
                    <a:lnTo>
                      <a:pt x="874098" y="19004"/>
                    </a:lnTo>
                    <a:lnTo>
                      <a:pt x="1700784" y="0"/>
                    </a:lnTo>
                  </a:path>
                </a:pathLst>
              </a:custGeom>
              <a:noFill/>
              <a:ln w="2857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ru-RU" sz="18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377" name="Oval 134">
                <a:extLst>
                  <a:ext uri="{FF2B5EF4-FFF2-40B4-BE49-F238E27FC236}">
                    <a16:creationId xmlns:a16="http://schemas.microsoft.com/office/drawing/2014/main" id="{808B7A4D-1880-4763-B735-A17CD84E47F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-1841821" y="3573393"/>
                <a:ext cx="251999" cy="252000"/>
              </a:xfrm>
              <a:prstGeom prst="ellipse">
                <a:avLst/>
              </a:prstGeom>
              <a:noFill/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78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900" b="1" kern="0" dirty="0" smtClean="0">
                    <a:solidFill>
                      <a:srgbClr val="231F20"/>
                    </a:solidFill>
                    <a:latin typeface="Arial" panose="020B0604020202020204"/>
                  </a:rPr>
                  <a:t>4</a:t>
                </a:r>
                <a:endParaRPr lang="en-US" sz="900" b="1" kern="0" dirty="0">
                  <a:solidFill>
                    <a:srgbClr val="231F20"/>
                  </a:solidFill>
                  <a:latin typeface="Arial" panose="020B0604020202020204"/>
                </a:endParaRPr>
              </a:p>
            </p:txBody>
          </p:sp>
          <p:sp>
            <p:nvSpPr>
              <p:cNvPr id="378" name="Oval 92">
                <a:extLst>
                  <a:ext uri="{FF2B5EF4-FFF2-40B4-BE49-F238E27FC236}">
                    <a16:creationId xmlns:a16="http://schemas.microsoft.com/office/drawing/2014/main" id="{1F78CCC6-93ED-47D6-A428-285D6256898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-2329693" y="3573396"/>
                <a:ext cx="251999" cy="252000"/>
              </a:xfrm>
              <a:prstGeom prst="ellipse">
                <a:avLst/>
              </a:prstGeom>
              <a:noFill/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78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900" b="1" kern="0" dirty="0" smtClean="0">
                    <a:solidFill>
                      <a:srgbClr val="231F20"/>
                    </a:solidFill>
                    <a:latin typeface="Arial" panose="020B0604020202020204"/>
                  </a:rPr>
                  <a:t>24</a:t>
                </a:r>
                <a:endParaRPr lang="en-US" sz="900" b="1" kern="0" dirty="0">
                  <a:solidFill>
                    <a:srgbClr val="231F20"/>
                  </a:solidFill>
                  <a:latin typeface="Arial" panose="020B0604020202020204"/>
                </a:endParaRPr>
              </a:p>
            </p:txBody>
          </p:sp>
          <p:sp>
            <p:nvSpPr>
              <p:cNvPr id="379" name="Oval 134">
                <a:extLst>
                  <a:ext uri="{FF2B5EF4-FFF2-40B4-BE49-F238E27FC236}">
                    <a16:creationId xmlns:a16="http://schemas.microsoft.com/office/drawing/2014/main" id="{808B7A4D-1880-4763-B735-A17CD84E47F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-1323421" y="3573396"/>
                <a:ext cx="251999" cy="252000"/>
              </a:xfrm>
              <a:prstGeom prst="ellipse">
                <a:avLst/>
              </a:prstGeom>
              <a:noFill/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78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900" b="1" kern="0" dirty="0">
                    <a:solidFill>
                      <a:srgbClr val="231F20"/>
                    </a:solidFill>
                    <a:latin typeface="Arial" panose="020B0604020202020204"/>
                  </a:rPr>
                  <a:t>2</a:t>
                </a:r>
              </a:p>
            </p:txBody>
          </p:sp>
        </p:grpSp>
      </p:grpSp>
      <p:cxnSp>
        <p:nvCxnSpPr>
          <p:cNvPr id="387" name="Прямая соединительная линия 386"/>
          <p:cNvCxnSpPr/>
          <p:nvPr/>
        </p:nvCxnSpPr>
        <p:spPr bwMode="auto">
          <a:xfrm flipV="1">
            <a:off x="1147785" y="1488285"/>
            <a:ext cx="237929" cy="29636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88" name="Прямая соединительная линия 387"/>
          <p:cNvCxnSpPr>
            <a:stCxn id="290" idx="3"/>
            <a:endCxn id="300" idx="4"/>
          </p:cNvCxnSpPr>
          <p:nvPr/>
        </p:nvCxnSpPr>
        <p:spPr bwMode="auto">
          <a:xfrm flipV="1">
            <a:off x="2635208" y="1530175"/>
            <a:ext cx="251189" cy="17003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1" name="Прямая соединительная линия 390"/>
          <p:cNvCxnSpPr>
            <a:stCxn id="310" idx="2"/>
            <a:endCxn id="320" idx="0"/>
          </p:cNvCxnSpPr>
          <p:nvPr/>
        </p:nvCxnSpPr>
        <p:spPr bwMode="auto">
          <a:xfrm flipV="1">
            <a:off x="4099227" y="1457842"/>
            <a:ext cx="248955" cy="21070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3" name="Прямая соединительная линия 392"/>
          <p:cNvCxnSpPr/>
          <p:nvPr/>
        </p:nvCxnSpPr>
        <p:spPr bwMode="auto">
          <a:xfrm flipV="1">
            <a:off x="1125857" y="2722223"/>
            <a:ext cx="237929" cy="29636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95" name="TextBox 394"/>
          <p:cNvSpPr txBox="1"/>
          <p:nvPr/>
        </p:nvSpPr>
        <p:spPr>
          <a:xfrm>
            <a:off x="373308" y="3801362"/>
            <a:ext cx="999506" cy="2462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txBody>
          <a:bodyPr wrap="none" rtlCol="0">
            <a:noAutofit/>
          </a:bodyPr>
          <a:lstStyle/>
          <a:p>
            <a:pPr algn="ctr"/>
            <a:r>
              <a:rPr lang="ru-RU" sz="1000" b="1" dirty="0" smtClean="0"/>
              <a:t>2021 рейтинг 1</a:t>
            </a:r>
            <a:endParaRPr lang="ru-RU" sz="1000" b="1" dirty="0"/>
          </a:p>
        </p:txBody>
      </p:sp>
      <p:sp>
        <p:nvSpPr>
          <p:cNvPr id="397" name="Прямоугольник 396"/>
          <p:cNvSpPr/>
          <p:nvPr/>
        </p:nvSpPr>
        <p:spPr>
          <a:xfrm>
            <a:off x="558310" y="4781733"/>
            <a:ext cx="527161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dirty="0" smtClean="0"/>
              <a:t>* По рейтингу </a:t>
            </a:r>
            <a:r>
              <a:rPr lang="ru-RU" sz="800" dirty="0" err="1"/>
              <a:t>Ecovadis</a:t>
            </a:r>
            <a:r>
              <a:rPr lang="ru-RU" sz="800" dirty="0"/>
              <a:t> </a:t>
            </a:r>
            <a:r>
              <a:rPr lang="ru-RU" sz="800" dirty="0" smtClean="0"/>
              <a:t>показано плановое значение</a:t>
            </a:r>
            <a:r>
              <a:rPr lang="ru-RU" sz="800" dirty="0"/>
              <a:t> </a:t>
            </a:r>
            <a:r>
              <a:rPr lang="ru-RU" sz="800" dirty="0" smtClean="0"/>
              <a:t>(результаты </a:t>
            </a:r>
            <a:r>
              <a:rPr lang="ru-RU" sz="800" dirty="0"/>
              <a:t>ожидаются в 1 половине 2022 года)  </a:t>
            </a:r>
          </a:p>
        </p:txBody>
      </p:sp>
      <p:sp>
        <p:nvSpPr>
          <p:cNvPr id="400" name="Прямоугольник 399"/>
          <p:cNvSpPr/>
          <p:nvPr/>
        </p:nvSpPr>
        <p:spPr>
          <a:xfrm>
            <a:off x="1193248" y="2237535"/>
            <a:ext cx="30935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/>
              <a:t>*</a:t>
            </a:r>
            <a:endParaRPr lang="ru-RU" sz="1600" dirty="0"/>
          </a:p>
        </p:txBody>
      </p:sp>
      <p:sp>
        <p:nvSpPr>
          <p:cNvPr id="411" name="Прямоугольник 410"/>
          <p:cNvSpPr/>
          <p:nvPr/>
        </p:nvSpPr>
        <p:spPr>
          <a:xfrm>
            <a:off x="6302817" y="3354674"/>
            <a:ext cx="1054383" cy="8002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30000"/>
              </a:lnSpc>
            </a:pPr>
            <a:r>
              <a:rPr lang="ru-RU" sz="800" b="1" dirty="0">
                <a:ea typeface="Calibri" panose="020F0502020204030204" pitchFamily="34" charset="0"/>
              </a:rPr>
              <a:t>ноябрь 2021 г. – первое место в конкурсе годовых отчетов RAEX за 2020-й год</a:t>
            </a:r>
            <a:endParaRPr lang="ru-RU" sz="800" b="1" dirty="0"/>
          </a:p>
        </p:txBody>
      </p:sp>
      <p:sp>
        <p:nvSpPr>
          <p:cNvPr id="412" name="Прямоугольник 411"/>
          <p:cNvSpPr/>
          <p:nvPr/>
        </p:nvSpPr>
        <p:spPr>
          <a:xfrm>
            <a:off x="6628907" y="1350913"/>
            <a:ext cx="1042262" cy="112030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30000"/>
              </a:lnSpc>
            </a:pPr>
            <a:r>
              <a:rPr lang="ru-RU" sz="800" b="1" dirty="0">
                <a:ea typeface="Calibri" panose="020F0502020204030204" pitchFamily="34" charset="0"/>
              </a:rPr>
              <a:t>ноябрь 2021 г. – победитель премии </a:t>
            </a:r>
            <a:r>
              <a:rPr lang="en-US" sz="800" b="1" dirty="0">
                <a:ea typeface="Calibri" panose="020F0502020204030204" pitchFamily="34" charset="0"/>
              </a:rPr>
              <a:t>Schneider Electric</a:t>
            </a:r>
            <a:r>
              <a:rPr lang="ru-RU" sz="800" b="1" dirty="0">
                <a:ea typeface="Calibri" panose="020F0502020204030204" pitchFamily="34" charset="0"/>
              </a:rPr>
              <a:t> «Зеленый свет» в номинации «Зеленая корпорация»</a:t>
            </a:r>
          </a:p>
        </p:txBody>
      </p:sp>
      <p:sp>
        <p:nvSpPr>
          <p:cNvPr id="413" name="Прямоугольник 412"/>
          <p:cNvSpPr/>
          <p:nvPr/>
        </p:nvSpPr>
        <p:spPr>
          <a:xfrm>
            <a:off x="4743971" y="3354674"/>
            <a:ext cx="1454393" cy="8002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30000"/>
              </a:lnSpc>
            </a:pPr>
            <a:r>
              <a:rPr lang="ru-RU" sz="800" b="1" dirty="0"/>
              <a:t>ноябрь 2021 г. – премия Проекта +1 «Управление изменениями. Визионеры» за лучший нефинансовый отчет в трех номинациях</a:t>
            </a:r>
          </a:p>
        </p:txBody>
      </p:sp>
      <p:pic>
        <p:nvPicPr>
          <p:cNvPr id="414" name="Picture 2" descr="RAEX подготовил первый рейтинг служб доставки">
            <a:extLst>
              <a:ext uri="{FF2B5EF4-FFF2-40B4-BE49-F238E27FC236}">
                <a16:creationId xmlns:a16="http://schemas.microsoft.com/office/drawing/2014/main" id="{EB53A11C-1C88-4461-BB70-C9ABCA6D9EA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561"/>
          <a:stretch/>
        </p:blipFill>
        <p:spPr bwMode="auto">
          <a:xfrm>
            <a:off x="6302817" y="3042635"/>
            <a:ext cx="859153" cy="212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5" name="Рисунок 414"/>
          <p:cNvPicPr>
            <a:picLocks noChangeAspect="1"/>
          </p:cNvPicPr>
          <p:nvPr/>
        </p:nvPicPr>
        <p:blipFill rotWithShape="1">
          <a:blip r:embed="rId13"/>
          <a:srcRect l="5035" t="30269" r="-827" b="30829"/>
          <a:stretch/>
        </p:blipFill>
        <p:spPr>
          <a:xfrm>
            <a:off x="4743971" y="3037098"/>
            <a:ext cx="548990" cy="222952"/>
          </a:xfrm>
          <a:prstGeom prst="rect">
            <a:avLst/>
          </a:prstGeom>
        </p:spPr>
      </p:pic>
      <p:pic>
        <p:nvPicPr>
          <p:cNvPr id="416" name="Рисунок 415"/>
          <p:cNvPicPr>
            <a:picLocks noChangeAspect="1"/>
          </p:cNvPicPr>
          <p:nvPr/>
        </p:nvPicPr>
        <p:blipFill rotWithShape="1">
          <a:blip r:embed="rId14"/>
          <a:srcRect l="63971" t="41353" r="2941" b="35353"/>
          <a:stretch/>
        </p:blipFill>
        <p:spPr>
          <a:xfrm>
            <a:off x="6628907" y="974010"/>
            <a:ext cx="640183" cy="281681"/>
          </a:xfrm>
          <a:prstGeom prst="rect">
            <a:avLst/>
          </a:prstGeom>
        </p:spPr>
      </p:pic>
      <p:sp>
        <p:nvSpPr>
          <p:cNvPr id="417" name="Прямоугольник 416"/>
          <p:cNvSpPr/>
          <p:nvPr/>
        </p:nvSpPr>
        <p:spPr>
          <a:xfrm>
            <a:off x="4708422" y="1382541"/>
            <a:ext cx="1865500" cy="128035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30000"/>
              </a:lnSpc>
            </a:pPr>
            <a:r>
              <a:rPr lang="ru-RU" sz="800" b="1" dirty="0">
                <a:ea typeface="Calibri" panose="020F0502020204030204" pitchFamily="34" charset="0"/>
              </a:rPr>
              <a:t>октябрь 2021 г. – победа </a:t>
            </a:r>
            <a:r>
              <a:rPr lang="ru-RU" sz="800" b="1" dirty="0" smtClean="0">
                <a:ea typeface="Calibri" panose="020F0502020204030204" pitchFamily="34" charset="0"/>
              </a:rPr>
              <a:t/>
            </a:r>
            <a:br>
              <a:rPr lang="ru-RU" sz="800" b="1" dirty="0" smtClean="0">
                <a:ea typeface="Calibri" panose="020F0502020204030204" pitchFamily="34" charset="0"/>
              </a:rPr>
            </a:br>
            <a:r>
              <a:rPr lang="ru-RU" sz="800" b="1" dirty="0" smtClean="0">
                <a:ea typeface="Calibri" panose="020F0502020204030204" pitchFamily="34" charset="0"/>
              </a:rPr>
              <a:t>в </a:t>
            </a:r>
            <a:r>
              <a:rPr lang="ru-RU" sz="800" b="1" dirty="0">
                <a:ea typeface="Calibri" panose="020F0502020204030204" pitchFamily="34" charset="0"/>
              </a:rPr>
              <a:t>конкурсе </a:t>
            </a:r>
            <a:r>
              <a:rPr lang="en-US" sz="800" b="1" dirty="0">
                <a:ea typeface="Calibri" panose="020F0502020204030204" pitchFamily="34" charset="0"/>
              </a:rPr>
              <a:t>III</a:t>
            </a:r>
            <a:r>
              <a:rPr lang="ru-RU" sz="800" b="1" dirty="0">
                <a:ea typeface="Calibri" panose="020F0502020204030204" pitchFamily="34" charset="0"/>
              </a:rPr>
              <a:t> Евразийского женского форума среди государственных и </a:t>
            </a:r>
            <a:r>
              <a:rPr lang="ru-RU" sz="800" b="1" dirty="0" smtClean="0">
                <a:ea typeface="Calibri" panose="020F0502020204030204" pitchFamily="34" charset="0"/>
              </a:rPr>
              <a:t>коммерческих </a:t>
            </a:r>
            <a:r>
              <a:rPr lang="ru-RU" sz="800" b="1" dirty="0">
                <a:ea typeface="Calibri" panose="020F0502020204030204" pitchFamily="34" charset="0"/>
              </a:rPr>
              <a:t>организаций </a:t>
            </a:r>
            <a:r>
              <a:rPr lang="ru-RU" sz="800" b="1" dirty="0" smtClean="0">
                <a:ea typeface="Calibri" panose="020F0502020204030204" pitchFamily="34" charset="0"/>
              </a:rPr>
              <a:t/>
            </a:r>
            <a:br>
              <a:rPr lang="ru-RU" sz="800" b="1" dirty="0" smtClean="0">
                <a:ea typeface="Calibri" panose="020F0502020204030204" pitchFamily="34" charset="0"/>
              </a:rPr>
            </a:br>
            <a:r>
              <a:rPr lang="ru-RU" sz="800" b="1" dirty="0" smtClean="0">
                <a:ea typeface="Calibri" panose="020F0502020204030204" pitchFamily="34" charset="0"/>
              </a:rPr>
              <a:t>по </a:t>
            </a:r>
            <a:r>
              <a:rPr lang="ru-RU" sz="800" b="1" dirty="0">
                <a:ea typeface="Calibri" panose="020F0502020204030204" pitchFamily="34" charset="0"/>
              </a:rPr>
              <a:t>развитию программ </a:t>
            </a:r>
            <a:r>
              <a:rPr lang="ru-RU" sz="800" b="1" dirty="0" smtClean="0">
                <a:ea typeface="Calibri" panose="020F0502020204030204" pitchFamily="34" charset="0"/>
              </a:rPr>
              <a:t/>
            </a:r>
            <a:br>
              <a:rPr lang="ru-RU" sz="800" b="1" dirty="0" smtClean="0">
                <a:ea typeface="Calibri" panose="020F0502020204030204" pitchFamily="34" charset="0"/>
              </a:rPr>
            </a:br>
            <a:r>
              <a:rPr lang="ru-RU" sz="800" b="1" dirty="0" smtClean="0">
                <a:ea typeface="Calibri" panose="020F0502020204030204" pitchFamily="34" charset="0"/>
              </a:rPr>
              <a:t>женского </a:t>
            </a:r>
            <a:r>
              <a:rPr lang="ru-RU" sz="800" b="1" dirty="0">
                <a:ea typeface="Calibri" panose="020F0502020204030204" pitchFamily="34" charset="0"/>
              </a:rPr>
              <a:t>лидерства в номинации «Лидер перемен»</a:t>
            </a:r>
          </a:p>
        </p:txBody>
      </p:sp>
      <p:pic>
        <p:nvPicPr>
          <p:cNvPr id="418" name="Рисунок 417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8422" y="932869"/>
            <a:ext cx="428234" cy="428234"/>
          </a:xfrm>
          <a:prstGeom prst="rect">
            <a:avLst/>
          </a:prstGeom>
        </p:spPr>
      </p:pic>
      <p:sp>
        <p:nvSpPr>
          <p:cNvPr id="419" name="Прямоугольник 418"/>
          <p:cNvSpPr/>
          <p:nvPr/>
        </p:nvSpPr>
        <p:spPr>
          <a:xfrm>
            <a:off x="4605384" y="649426"/>
            <a:ext cx="2125005" cy="276999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91319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597" algn="l" defTabSz="91319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191" algn="l" defTabSz="91319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69786" algn="l" defTabSz="91319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6384" algn="l" defTabSz="91319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2979" algn="l" defTabSz="91319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39572" algn="l" defTabSz="91319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6171" algn="l" defTabSz="91319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2764" algn="l" defTabSz="91319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rgbClr val="000000"/>
                </a:solidFill>
                <a:latin typeface="Arial" panose="020B0604020202020204" pitchFamily="34" charset="0"/>
              </a:rPr>
              <a:t>Премии за</a:t>
            </a:r>
            <a:r>
              <a:rPr lang="en-US" sz="1200" b="1" dirty="0">
                <a:solidFill>
                  <a:srgbClr val="000000"/>
                </a:solidFill>
                <a:latin typeface="Arial" panose="020B0604020202020204" pitchFamily="34" charset="0"/>
              </a:rPr>
              <a:t> ESG </a:t>
            </a:r>
            <a:r>
              <a:rPr lang="ru-RU" sz="1200" b="1" dirty="0">
                <a:solidFill>
                  <a:srgbClr val="000000"/>
                </a:solidFill>
                <a:latin typeface="Arial" panose="020B0604020202020204" pitchFamily="34" charset="0"/>
              </a:rPr>
              <a:t>практики </a:t>
            </a:r>
            <a:endParaRPr lang="ru-RU" sz="1200" dirty="0"/>
          </a:p>
        </p:txBody>
      </p:sp>
      <p:sp>
        <p:nvSpPr>
          <p:cNvPr id="420" name="Прямоугольник 419"/>
          <p:cNvSpPr/>
          <p:nvPr/>
        </p:nvSpPr>
        <p:spPr>
          <a:xfrm>
            <a:off x="4623190" y="2722445"/>
            <a:ext cx="209345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3191"/>
            <a:r>
              <a:rPr lang="ru-RU" sz="1200" b="1" dirty="0">
                <a:solidFill>
                  <a:srgbClr val="000000"/>
                </a:solidFill>
                <a:latin typeface="Arial" panose="020B0604020202020204" pitchFamily="34" charset="0"/>
              </a:rPr>
              <a:t>Премии за Единый отчет</a:t>
            </a:r>
          </a:p>
        </p:txBody>
      </p:sp>
      <p:pic>
        <p:nvPicPr>
          <p:cNvPr id="421" name="Рисунок 420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471514" y="3040191"/>
            <a:ext cx="580089" cy="209166"/>
          </a:xfrm>
          <a:prstGeom prst="rect">
            <a:avLst/>
          </a:prstGeom>
        </p:spPr>
      </p:pic>
      <p:sp>
        <p:nvSpPr>
          <p:cNvPr id="422" name="Прямоугольник 421"/>
          <p:cNvSpPr/>
          <p:nvPr/>
        </p:nvSpPr>
        <p:spPr>
          <a:xfrm>
            <a:off x="7475220" y="3354674"/>
            <a:ext cx="1465580" cy="112030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30000"/>
              </a:lnSpc>
            </a:pPr>
            <a:r>
              <a:rPr lang="ru-RU" sz="800" b="1" dirty="0">
                <a:ea typeface="Calibri" panose="020F0502020204030204" pitchFamily="34" charset="0"/>
              </a:rPr>
              <a:t>декабрь 2021 г. – победитель двух номинаций: «Лучший </a:t>
            </a:r>
            <a:r>
              <a:rPr lang="ru-RU" sz="800" b="1" dirty="0" err="1" smtClean="0">
                <a:ea typeface="Calibri" panose="020F0502020204030204" pitchFamily="34" charset="0"/>
              </a:rPr>
              <a:t>годо</a:t>
            </a:r>
            <a:r>
              <a:rPr lang="ru-RU" sz="800" b="1" dirty="0" smtClean="0">
                <a:ea typeface="Calibri" panose="020F0502020204030204" pitchFamily="34" charset="0"/>
              </a:rPr>
              <a:t>-вой </a:t>
            </a:r>
            <a:r>
              <a:rPr lang="ru-RU" sz="800" b="1" dirty="0">
                <a:ea typeface="Calibri" panose="020F0502020204030204" pitchFamily="34" charset="0"/>
              </a:rPr>
              <a:t>отчет непубличной компании» </a:t>
            </a:r>
            <a:r>
              <a:rPr lang="ru-RU" sz="800" b="1" dirty="0" smtClean="0">
                <a:ea typeface="Calibri" panose="020F0502020204030204" pitchFamily="34" charset="0"/>
              </a:rPr>
              <a:t>и </a:t>
            </a:r>
            <a:r>
              <a:rPr lang="ru-RU" sz="800" b="1" dirty="0">
                <a:ea typeface="Calibri" panose="020F0502020204030204" pitchFamily="34" charset="0"/>
              </a:rPr>
              <a:t>«Лучший </a:t>
            </a:r>
            <a:r>
              <a:rPr lang="ru-RU" sz="800" b="1" dirty="0" err="1" smtClean="0">
                <a:ea typeface="Calibri" panose="020F0502020204030204" pitchFamily="34" charset="0"/>
              </a:rPr>
              <a:t>годо</a:t>
            </a:r>
            <a:r>
              <a:rPr lang="ru-RU" sz="800" b="1" dirty="0" smtClean="0">
                <a:ea typeface="Calibri" panose="020F0502020204030204" pitchFamily="34" charset="0"/>
              </a:rPr>
              <a:t>-вой </a:t>
            </a:r>
            <a:r>
              <a:rPr lang="ru-RU" sz="800" b="1" dirty="0">
                <a:ea typeface="Calibri" panose="020F0502020204030204" pitchFamily="34" charset="0"/>
              </a:rPr>
              <a:t>отчет промышленного сектора экономики» </a:t>
            </a:r>
          </a:p>
        </p:txBody>
      </p:sp>
      <p:pic>
        <p:nvPicPr>
          <p:cNvPr id="423" name="Рисунок 422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801309" y="972656"/>
            <a:ext cx="609000" cy="284389"/>
          </a:xfrm>
          <a:prstGeom prst="rect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pic>
      <p:sp>
        <p:nvSpPr>
          <p:cNvPr id="424" name="Прямоугольник 423"/>
          <p:cNvSpPr/>
          <p:nvPr/>
        </p:nvSpPr>
        <p:spPr>
          <a:xfrm>
            <a:off x="7801309" y="1350913"/>
            <a:ext cx="1202897" cy="4801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30000"/>
              </a:lnSpc>
            </a:pPr>
            <a:r>
              <a:rPr lang="ru-RU" sz="800" b="1" dirty="0">
                <a:ea typeface="Calibri" panose="020F0502020204030204" pitchFamily="34" charset="0"/>
              </a:rPr>
              <a:t>в рейтинге 25 лучших работодателей FORBES WOMEN</a:t>
            </a:r>
          </a:p>
        </p:txBody>
      </p:sp>
      <p:cxnSp>
        <p:nvCxnSpPr>
          <p:cNvPr id="151" name="Прямая соединительная линия 150"/>
          <p:cNvCxnSpPr/>
          <p:nvPr/>
        </p:nvCxnSpPr>
        <p:spPr bwMode="auto">
          <a:xfrm>
            <a:off x="2365540" y="3044235"/>
            <a:ext cx="272308" cy="228555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xtLst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295074" y="4324103"/>
            <a:ext cx="181652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00" dirty="0" smtClean="0"/>
              <a:t>* информация </a:t>
            </a:r>
            <a:r>
              <a:rPr lang="ru-RU" sz="800" dirty="0"/>
              <a:t>на конец </a:t>
            </a:r>
            <a:r>
              <a:rPr lang="ru-RU" sz="800" dirty="0" smtClean="0"/>
              <a:t>2021 года</a:t>
            </a:r>
            <a:endParaRPr lang="ru-RU" sz="800" dirty="0"/>
          </a:p>
        </p:txBody>
      </p:sp>
    </p:spTree>
    <p:extLst>
      <p:ext uri="{BB962C8B-B14F-4D97-AF65-F5344CB8AC3E}">
        <p14:creationId xmlns:p14="http://schemas.microsoft.com/office/powerpoint/2010/main" val="392008799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4548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49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5" name="Объект 1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Овал 8"/>
          <p:cNvSpPr>
            <a:spLocks noChangeAspect="1"/>
          </p:cNvSpPr>
          <p:nvPr/>
        </p:nvSpPr>
        <p:spPr bwMode="auto">
          <a:xfrm>
            <a:off x="336177" y="2223005"/>
            <a:ext cx="746728" cy="746728"/>
          </a:xfrm>
          <a:prstGeom prst="ellipse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61" name="Овал 8"/>
          <p:cNvSpPr>
            <a:spLocks noChangeAspect="1"/>
          </p:cNvSpPr>
          <p:nvPr/>
        </p:nvSpPr>
        <p:spPr bwMode="auto">
          <a:xfrm>
            <a:off x="336177" y="3627733"/>
            <a:ext cx="746728" cy="746728"/>
          </a:xfrm>
          <a:prstGeom prst="ellipse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4" name="Заголовок 1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/>
              <a:t>СИБУР активно инвестирует как в запуск собственных «зеленых» продуктов, так и в создание экосистемы партнеров по экономике замкнутого цикл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6" name="Нижний колонтитул 1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7</a:t>
            </a:fld>
            <a:endParaRPr lang="ru-RU" dirty="0"/>
          </a:p>
        </p:txBody>
      </p:sp>
      <p:sp>
        <p:nvSpPr>
          <p:cNvPr id="22" name="Прямоугольник 205">
            <a:extLst>
              <a:ext uri="{FF2B5EF4-FFF2-40B4-BE49-F238E27FC236}">
                <a16:creationId xmlns:a16="http://schemas.microsoft.com/office/drawing/2014/main" id="{035554BA-7263-4E21-B5CD-C7F88214BA87}"/>
              </a:ext>
            </a:extLst>
          </p:cNvPr>
          <p:cNvSpPr/>
          <p:nvPr/>
        </p:nvSpPr>
        <p:spPr bwMode="auto">
          <a:xfrm>
            <a:off x="1257457" y="3443097"/>
            <a:ext cx="2160000" cy="1116000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36000" bIns="0" numCol="1" spcCol="0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8781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Компаунд для различных сегментов упаковки непищевых применений, содержащий не менее 25% вторичного полимера </a:t>
            </a:r>
          </a:p>
        </p:txBody>
      </p:sp>
      <p:sp>
        <p:nvSpPr>
          <p:cNvPr id="23" name="Прямоугольник 206">
            <a:extLst>
              <a:ext uri="{FF2B5EF4-FFF2-40B4-BE49-F238E27FC236}">
                <a16:creationId xmlns:a16="http://schemas.microsoft.com/office/drawing/2014/main" id="{0081E36A-0D47-4B1B-AB6F-26B820CCF747}"/>
              </a:ext>
            </a:extLst>
          </p:cNvPr>
          <p:cNvSpPr/>
          <p:nvPr/>
        </p:nvSpPr>
        <p:spPr bwMode="auto">
          <a:xfrm>
            <a:off x="3941341" y="3443097"/>
            <a:ext cx="2160000" cy="1116000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36000" bIns="0" numCol="1" spcCol="0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8781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Бутылочный гранулят, содержащий до </a:t>
            </a: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25% </a:t>
            </a: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вторичного материала</a:t>
            </a:r>
          </a:p>
        </p:txBody>
      </p:sp>
      <p:sp>
        <p:nvSpPr>
          <p:cNvPr id="24" name="Прямоугольник 209">
            <a:extLst>
              <a:ext uri="{FF2B5EF4-FFF2-40B4-BE49-F238E27FC236}">
                <a16:creationId xmlns:a16="http://schemas.microsoft.com/office/drawing/2014/main" id="{AE05FFF3-D0E1-4AF5-93C8-4A7C329D2EF3}"/>
              </a:ext>
            </a:extLst>
          </p:cNvPr>
          <p:cNvSpPr/>
          <p:nvPr/>
        </p:nvSpPr>
        <p:spPr bwMode="auto">
          <a:xfrm>
            <a:off x="1257457" y="2038369"/>
            <a:ext cx="2160000" cy="1116000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36000" bIns="0" numCol="1" spcCol="0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8781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Отходы ПЭ и ПП, отсортированные по типу</a:t>
            </a:r>
          </a:p>
        </p:txBody>
      </p:sp>
      <p:sp>
        <p:nvSpPr>
          <p:cNvPr id="25" name="Прямоугольник 210">
            <a:extLst>
              <a:ext uri="{FF2B5EF4-FFF2-40B4-BE49-F238E27FC236}">
                <a16:creationId xmlns:a16="http://schemas.microsoft.com/office/drawing/2014/main" id="{73184FA5-D825-47F2-801E-D7D8E724EFDC}"/>
              </a:ext>
            </a:extLst>
          </p:cNvPr>
          <p:cNvSpPr/>
          <p:nvPr/>
        </p:nvSpPr>
        <p:spPr bwMode="auto">
          <a:xfrm>
            <a:off x="3941341" y="2038369"/>
            <a:ext cx="2160000" cy="1116000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36000" bIns="0" numCol="1" spcCol="0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8781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Голубые ПЭТ-хлопья высокой чистоты </a:t>
            </a:r>
          </a:p>
        </p:txBody>
      </p:sp>
      <p:sp>
        <p:nvSpPr>
          <p:cNvPr id="30" name="Content Placeholder 10">
            <a:extLst>
              <a:ext uri="{FF2B5EF4-FFF2-40B4-BE49-F238E27FC236}">
                <a16:creationId xmlns:a16="http://schemas.microsoft.com/office/drawing/2014/main" id="{7AD12313-E087-46DF-8204-F8513B64BDC8}"/>
              </a:ext>
            </a:extLst>
          </p:cNvPr>
          <p:cNvSpPr txBox="1">
            <a:spLocks/>
          </p:cNvSpPr>
          <p:nvPr/>
        </p:nvSpPr>
        <p:spPr bwMode="auto">
          <a:xfrm>
            <a:off x="266329" y="2487590"/>
            <a:ext cx="886424" cy="217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ru-RU"/>
            </a:defPPr>
            <a:lvl1pPr>
              <a:defRPr sz="964">
                <a:solidFill>
                  <a:schemeClr val="bg1"/>
                </a:solidFill>
              </a:defRPr>
            </a:lvl1pPr>
          </a:lstStyle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Сырье</a:t>
            </a:r>
          </a:p>
        </p:txBody>
      </p:sp>
      <p:sp>
        <p:nvSpPr>
          <p:cNvPr id="34" name="Content Placeholder 10">
            <a:extLst>
              <a:ext uri="{FF2B5EF4-FFF2-40B4-BE49-F238E27FC236}">
                <a16:creationId xmlns:a16="http://schemas.microsoft.com/office/drawing/2014/main" id="{3A588BC3-0127-44E9-BACC-7D6BF6507159}"/>
              </a:ext>
            </a:extLst>
          </p:cNvPr>
          <p:cNvSpPr txBox="1">
            <a:spLocks/>
          </p:cNvSpPr>
          <p:nvPr/>
        </p:nvSpPr>
        <p:spPr bwMode="auto">
          <a:xfrm>
            <a:off x="266329" y="3892318"/>
            <a:ext cx="886424" cy="217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ru-RU"/>
            </a:defPPr>
            <a:lvl1pPr>
              <a:defRPr sz="964">
                <a:solidFill>
                  <a:schemeClr val="bg1"/>
                </a:solidFill>
              </a:defRPr>
            </a:lvl1pPr>
          </a:lstStyle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Продукт</a:t>
            </a:r>
          </a:p>
        </p:txBody>
      </p:sp>
      <p:sp>
        <p:nvSpPr>
          <p:cNvPr id="39" name="ee4pFootnotes">
            <a:extLst>
              <a:ext uri="{FF2B5EF4-FFF2-40B4-BE49-F238E27FC236}">
                <a16:creationId xmlns:a16="http://schemas.microsoft.com/office/drawing/2014/main" id="{A0C1E9A0-D0BA-40ED-9489-D11A9FF8B2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4823" y="1827362"/>
            <a:ext cx="1493035" cy="1661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algn="ctr" defTabSz="685800">
              <a:lnSpc>
                <a:spcPct val="90000"/>
              </a:lnSpc>
            </a:pPr>
            <a:r>
              <a:rPr lang="en-US" sz="1200" b="1" dirty="0" err="1" smtClean="0">
                <a:solidFill>
                  <a:schemeClr val="accent1"/>
                </a:solidFill>
                <a:cs typeface="Arial" pitchFamily="34" charset="0"/>
                <a:sym typeface="Arial" panose="020B0604020202020204" pitchFamily="34" charset="0"/>
              </a:rPr>
              <a:t>Vivilen</a:t>
            </a:r>
            <a:r>
              <a:rPr lang="en-US" sz="1200" b="1" dirty="0" smtClean="0">
                <a:solidFill>
                  <a:schemeClr val="accent1"/>
                </a:solidFill>
                <a:cs typeface="Arial" pitchFamily="34" charset="0"/>
                <a:sym typeface="Arial" panose="020B0604020202020204" pitchFamily="34" charset="0"/>
              </a:rPr>
              <a:t> </a:t>
            </a:r>
            <a:r>
              <a:rPr lang="en-US" sz="1200" b="1" dirty="0" err="1" smtClean="0">
                <a:solidFill>
                  <a:schemeClr val="accent1"/>
                </a:solidFill>
                <a:cs typeface="Arial" pitchFamily="34" charset="0"/>
                <a:sym typeface="Arial" panose="020B0604020202020204" pitchFamily="34" charset="0"/>
              </a:rPr>
              <a:t>rPET</a:t>
            </a:r>
            <a:endParaRPr lang="en-US" sz="1200" b="1" dirty="0">
              <a:solidFill>
                <a:schemeClr val="accent1"/>
              </a:solidFill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40" name="ee4pFootnotes">
            <a:extLst>
              <a:ext uri="{FF2B5EF4-FFF2-40B4-BE49-F238E27FC236}">
                <a16:creationId xmlns:a16="http://schemas.microsoft.com/office/drawing/2014/main" id="{062149BE-F997-4A70-96EA-68CF348E65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17146" y="1808895"/>
            <a:ext cx="1430854" cy="18466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lvl="0" algn="ctr" defTabSz="685800">
              <a:defRPr/>
            </a:pPr>
            <a:r>
              <a:rPr lang="en-US" sz="1200" b="1" kern="0" dirty="0" err="1" smtClean="0">
                <a:solidFill>
                  <a:schemeClr val="accent1"/>
                </a:solidFill>
              </a:rPr>
              <a:t>Vivilen</a:t>
            </a:r>
            <a:r>
              <a:rPr lang="en-US" sz="1200" b="1" kern="0" dirty="0" smtClean="0">
                <a:solidFill>
                  <a:schemeClr val="accent1"/>
                </a:solidFill>
              </a:rPr>
              <a:t> </a:t>
            </a:r>
            <a:r>
              <a:rPr lang="en-US" sz="1200" b="1" kern="0" dirty="0" err="1">
                <a:solidFill>
                  <a:schemeClr val="accent1"/>
                </a:solidFill>
              </a:rPr>
              <a:t>rPP</a:t>
            </a:r>
            <a:r>
              <a:rPr lang="en-US" sz="1200" b="1" kern="0" dirty="0">
                <a:solidFill>
                  <a:schemeClr val="accent1"/>
                </a:solidFill>
              </a:rPr>
              <a:t> </a:t>
            </a:r>
            <a:r>
              <a:rPr lang="ru-RU" sz="1200" b="1" kern="0" dirty="0">
                <a:solidFill>
                  <a:schemeClr val="accent1"/>
                </a:solidFill>
              </a:rPr>
              <a:t>и </a:t>
            </a:r>
            <a:r>
              <a:rPr lang="en-US" sz="1200" b="1" kern="0" dirty="0" err="1">
                <a:solidFill>
                  <a:schemeClr val="accent1"/>
                </a:solidFill>
              </a:rPr>
              <a:t>rPE</a:t>
            </a:r>
            <a:r>
              <a:rPr lang="en-US" sz="1200" b="1" kern="0" dirty="0">
                <a:solidFill>
                  <a:schemeClr val="accent1"/>
                </a:solidFill>
              </a:rPr>
              <a:t> </a:t>
            </a: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</p:txBody>
      </p:sp>
      <p:sp>
        <p:nvSpPr>
          <p:cNvPr id="41" name="ee4pFootnotes">
            <a:extLst>
              <a:ext uri="{FF2B5EF4-FFF2-40B4-BE49-F238E27FC236}">
                <a16:creationId xmlns:a16="http://schemas.microsoft.com/office/drawing/2014/main" id="{F4FEEC48-B71C-4785-9B13-7064EAA9A2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57456" y="1527175"/>
            <a:ext cx="7524000" cy="184666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Компетенции и технологии </a:t>
            </a:r>
            <a:r>
              <a:rPr kumimoji="0" lang="ru-RU" altLang="ru-RU" sz="12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СИБУРа</a:t>
            </a:r>
            <a:endParaRPr kumimoji="0" lang="ru-RU" altLang="ru-RU" sz="1200" b="1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48" name="ee4pFootnotes">
            <a:extLst>
              <a:ext uri="{FF2B5EF4-FFF2-40B4-BE49-F238E27FC236}">
                <a16:creationId xmlns:a16="http://schemas.microsoft.com/office/drawing/2014/main" id="{EA5E1406-5D4A-4979-9C0A-E0474EB8B0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94494" y="1827362"/>
            <a:ext cx="1421463" cy="1661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algn="ctr" defTabSz="685800">
              <a:lnSpc>
                <a:spcPct val="90000"/>
              </a:lnSpc>
            </a:pPr>
            <a:r>
              <a:rPr lang="ru-RU" sz="1200" b="1" dirty="0" smtClean="0">
                <a:solidFill>
                  <a:schemeClr val="accent1"/>
                </a:solidFill>
                <a:cs typeface="Arial" pitchFamily="34" charset="0"/>
                <a:sym typeface="Arial" panose="020B0604020202020204" pitchFamily="34" charset="0"/>
              </a:rPr>
              <a:t>СИБУР Полилаб</a:t>
            </a:r>
            <a:endParaRPr lang="en-US" sz="1200" b="1" dirty="0">
              <a:solidFill>
                <a:schemeClr val="accent1"/>
              </a:solidFill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49" name="Прямоугольник 210">
            <a:extLst>
              <a:ext uri="{FF2B5EF4-FFF2-40B4-BE49-F238E27FC236}">
                <a16:creationId xmlns:a16="http://schemas.microsoft.com/office/drawing/2014/main" id="{9A01D7CF-3202-4159-A593-4A53138BD6AA}"/>
              </a:ext>
            </a:extLst>
          </p:cNvPr>
          <p:cNvSpPr/>
          <p:nvPr/>
        </p:nvSpPr>
        <p:spPr bwMode="auto">
          <a:xfrm>
            <a:off x="6625225" y="2038369"/>
            <a:ext cx="2160000" cy="1116000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36000" bIns="0" numCol="1" spcCol="0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8781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Формирование требований к входящему вторичному сырью для будущих продуктовых решений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0" name="Прямоугольник 210">
            <a:extLst>
              <a:ext uri="{FF2B5EF4-FFF2-40B4-BE49-F238E27FC236}">
                <a16:creationId xmlns:a16="http://schemas.microsoft.com/office/drawing/2014/main" id="{EA367874-D3CD-4A23-8EC0-AB0BF10CECB4}"/>
              </a:ext>
            </a:extLst>
          </p:cNvPr>
          <p:cNvSpPr/>
          <p:nvPr/>
        </p:nvSpPr>
        <p:spPr bwMode="auto">
          <a:xfrm>
            <a:off x="6625225" y="3443097"/>
            <a:ext cx="2160000" cy="1116000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36000" bIns="0" numCol="1" spcCol="0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8781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Разработка новых решений и рецептур с учетом требований к переработке сырья, оценка качества готовой продукции из вторичных полиолефинов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cxnSp>
        <p:nvCxnSpPr>
          <p:cNvPr id="51" name="Straight Arrow Connector 4">
            <a:extLst>
              <a:ext uri="{FF2B5EF4-FFF2-40B4-BE49-F238E27FC236}">
                <a16:creationId xmlns:a16="http://schemas.microsoft.com/office/drawing/2014/main" id="{DC51E7DC-8D3D-462A-AC9D-7763F419FAA5}"/>
              </a:ext>
            </a:extLst>
          </p:cNvPr>
          <p:cNvCxnSpPr>
            <a:stCxn id="24" idx="2"/>
            <a:endCxn id="22" idx="0"/>
          </p:cNvCxnSpPr>
          <p:nvPr/>
        </p:nvCxnSpPr>
        <p:spPr>
          <a:xfrm>
            <a:off x="2337457" y="3154369"/>
            <a:ext cx="0" cy="288728"/>
          </a:xfrm>
          <a:prstGeom prst="straightConnector1">
            <a:avLst/>
          </a:prstGeom>
          <a:noFill/>
          <a:ln w="22225" cap="rnd" cmpd="sng" algn="ctr">
            <a:solidFill>
              <a:srgbClr val="008C95"/>
            </a:solidFill>
            <a:prstDash val="sysDot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52" name="Straight Arrow Connector 6">
            <a:extLst>
              <a:ext uri="{FF2B5EF4-FFF2-40B4-BE49-F238E27FC236}">
                <a16:creationId xmlns:a16="http://schemas.microsoft.com/office/drawing/2014/main" id="{B8C9BF46-2CCB-4B5A-AF50-E45D3B154E73}"/>
              </a:ext>
            </a:extLst>
          </p:cNvPr>
          <p:cNvCxnSpPr>
            <a:stCxn id="25" idx="2"/>
            <a:endCxn id="23" idx="0"/>
          </p:cNvCxnSpPr>
          <p:nvPr/>
        </p:nvCxnSpPr>
        <p:spPr>
          <a:xfrm>
            <a:off x="5021341" y="3154369"/>
            <a:ext cx="0" cy="288728"/>
          </a:xfrm>
          <a:prstGeom prst="straightConnector1">
            <a:avLst/>
          </a:prstGeom>
          <a:noFill/>
          <a:ln w="22225" cap="rnd" cmpd="sng" algn="ctr">
            <a:solidFill>
              <a:srgbClr val="008C95"/>
            </a:solidFill>
            <a:prstDash val="sysDot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63" name="Straight Arrow Connector 6">
            <a:extLst>
              <a:ext uri="{FF2B5EF4-FFF2-40B4-BE49-F238E27FC236}">
                <a16:creationId xmlns:a16="http://schemas.microsoft.com/office/drawing/2014/main" id="{B8C9BF46-2CCB-4B5A-AF50-E45D3B154E73}"/>
              </a:ext>
            </a:extLst>
          </p:cNvPr>
          <p:cNvCxnSpPr>
            <a:stCxn id="49" idx="2"/>
            <a:endCxn id="50" idx="0"/>
          </p:cNvCxnSpPr>
          <p:nvPr/>
        </p:nvCxnSpPr>
        <p:spPr>
          <a:xfrm>
            <a:off x="7705225" y="3154369"/>
            <a:ext cx="0" cy="288728"/>
          </a:xfrm>
          <a:prstGeom prst="straightConnector1">
            <a:avLst/>
          </a:prstGeom>
          <a:noFill/>
          <a:ln w="22225" cap="rnd" cmpd="sng" algn="ctr">
            <a:solidFill>
              <a:srgbClr val="008C95"/>
            </a:solidFill>
            <a:prstDash val="sysDot"/>
            <a:round/>
            <a:headEnd type="none" w="med" len="med"/>
            <a:tailEnd type="triangl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50687107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0296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39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5" name="Объект 1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7" name="Рисунок 36"/>
          <p:cNvPicPr>
            <a:picLocks noGrp="1" noChangeAspect="1"/>
          </p:cNvPicPr>
          <p:nvPr>
            <p:ph type="pic" sz="quarter" idx="29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25" r="26825"/>
          <a:stretch>
            <a:fillRect/>
          </a:stretch>
        </p:blipFill>
        <p:spPr>
          <a:xfrm>
            <a:off x="6096000" y="1303438"/>
            <a:ext cx="3048000" cy="3247925"/>
          </a:xfrm>
        </p:spPr>
      </p:pic>
      <p:sp>
        <p:nvSpPr>
          <p:cNvPr id="53" name="Полилиния 52"/>
          <p:cNvSpPr/>
          <p:nvPr/>
        </p:nvSpPr>
        <p:spPr bwMode="auto">
          <a:xfrm>
            <a:off x="7085214" y="1352234"/>
            <a:ext cx="2058785" cy="720000"/>
          </a:xfrm>
          <a:custGeom>
            <a:avLst/>
            <a:gdLst>
              <a:gd name="connsiteX0" fmla="*/ 0 w 4710213"/>
              <a:gd name="connsiteY0" fmla="*/ 0 h 1512000"/>
              <a:gd name="connsiteX1" fmla="*/ 4710213 w 4710213"/>
              <a:gd name="connsiteY1" fmla="*/ 0 h 1512000"/>
              <a:gd name="connsiteX2" fmla="*/ 4710213 w 4710213"/>
              <a:gd name="connsiteY2" fmla="*/ 1512000 h 1512000"/>
              <a:gd name="connsiteX3" fmla="*/ 0 w 4710213"/>
              <a:gd name="connsiteY3" fmla="*/ 1512000 h 1512000"/>
              <a:gd name="connsiteX4" fmla="*/ 138213 w 4710213"/>
              <a:gd name="connsiteY4" fmla="*/ 756000 h 1512000"/>
              <a:gd name="connsiteX5" fmla="*/ 0 w 4710213"/>
              <a:gd name="connsiteY5" fmla="*/ 0 h 151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10213" h="1512000">
                <a:moveTo>
                  <a:pt x="0" y="0"/>
                </a:moveTo>
                <a:lnTo>
                  <a:pt x="4710213" y="0"/>
                </a:lnTo>
                <a:lnTo>
                  <a:pt x="4710213" y="1512000"/>
                </a:lnTo>
                <a:lnTo>
                  <a:pt x="0" y="1512000"/>
                </a:lnTo>
                <a:lnTo>
                  <a:pt x="138213" y="756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49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4" name="Полилиния 53"/>
          <p:cNvSpPr/>
          <p:nvPr/>
        </p:nvSpPr>
        <p:spPr bwMode="auto">
          <a:xfrm>
            <a:off x="7085214" y="2098861"/>
            <a:ext cx="2058785" cy="720000"/>
          </a:xfrm>
          <a:custGeom>
            <a:avLst/>
            <a:gdLst>
              <a:gd name="connsiteX0" fmla="*/ 0 w 4710213"/>
              <a:gd name="connsiteY0" fmla="*/ 0 h 1512000"/>
              <a:gd name="connsiteX1" fmla="*/ 4710213 w 4710213"/>
              <a:gd name="connsiteY1" fmla="*/ 0 h 1512000"/>
              <a:gd name="connsiteX2" fmla="*/ 4710213 w 4710213"/>
              <a:gd name="connsiteY2" fmla="*/ 1512000 h 1512000"/>
              <a:gd name="connsiteX3" fmla="*/ 0 w 4710213"/>
              <a:gd name="connsiteY3" fmla="*/ 1512000 h 1512000"/>
              <a:gd name="connsiteX4" fmla="*/ 138213 w 4710213"/>
              <a:gd name="connsiteY4" fmla="*/ 756000 h 1512000"/>
              <a:gd name="connsiteX5" fmla="*/ 0 w 4710213"/>
              <a:gd name="connsiteY5" fmla="*/ 0 h 151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10213" h="1512000">
                <a:moveTo>
                  <a:pt x="0" y="0"/>
                </a:moveTo>
                <a:lnTo>
                  <a:pt x="4710213" y="0"/>
                </a:lnTo>
                <a:lnTo>
                  <a:pt x="4710213" y="1512000"/>
                </a:lnTo>
                <a:lnTo>
                  <a:pt x="0" y="1512000"/>
                </a:lnTo>
                <a:lnTo>
                  <a:pt x="138213" y="756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49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5" name="Полилиния 54"/>
          <p:cNvSpPr/>
          <p:nvPr/>
        </p:nvSpPr>
        <p:spPr bwMode="auto">
          <a:xfrm>
            <a:off x="7085214" y="2845488"/>
            <a:ext cx="2058785" cy="720000"/>
          </a:xfrm>
          <a:custGeom>
            <a:avLst/>
            <a:gdLst>
              <a:gd name="connsiteX0" fmla="*/ 0 w 4710213"/>
              <a:gd name="connsiteY0" fmla="*/ 0 h 1512000"/>
              <a:gd name="connsiteX1" fmla="*/ 4710213 w 4710213"/>
              <a:gd name="connsiteY1" fmla="*/ 0 h 1512000"/>
              <a:gd name="connsiteX2" fmla="*/ 4710213 w 4710213"/>
              <a:gd name="connsiteY2" fmla="*/ 1512000 h 1512000"/>
              <a:gd name="connsiteX3" fmla="*/ 0 w 4710213"/>
              <a:gd name="connsiteY3" fmla="*/ 1512000 h 1512000"/>
              <a:gd name="connsiteX4" fmla="*/ 138213 w 4710213"/>
              <a:gd name="connsiteY4" fmla="*/ 756000 h 1512000"/>
              <a:gd name="connsiteX5" fmla="*/ 0 w 4710213"/>
              <a:gd name="connsiteY5" fmla="*/ 0 h 151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10213" h="1512000">
                <a:moveTo>
                  <a:pt x="0" y="0"/>
                </a:moveTo>
                <a:lnTo>
                  <a:pt x="4710213" y="0"/>
                </a:lnTo>
                <a:lnTo>
                  <a:pt x="4710213" y="1512000"/>
                </a:lnTo>
                <a:lnTo>
                  <a:pt x="0" y="1512000"/>
                </a:lnTo>
                <a:lnTo>
                  <a:pt x="138213" y="756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49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6" name="Полилиния 55"/>
          <p:cNvSpPr/>
          <p:nvPr/>
        </p:nvSpPr>
        <p:spPr bwMode="auto">
          <a:xfrm>
            <a:off x="7085214" y="3592115"/>
            <a:ext cx="2058785" cy="720000"/>
          </a:xfrm>
          <a:custGeom>
            <a:avLst/>
            <a:gdLst>
              <a:gd name="connsiteX0" fmla="*/ 0 w 4710213"/>
              <a:gd name="connsiteY0" fmla="*/ 0 h 1512000"/>
              <a:gd name="connsiteX1" fmla="*/ 4710213 w 4710213"/>
              <a:gd name="connsiteY1" fmla="*/ 0 h 1512000"/>
              <a:gd name="connsiteX2" fmla="*/ 4710213 w 4710213"/>
              <a:gd name="connsiteY2" fmla="*/ 1512000 h 1512000"/>
              <a:gd name="connsiteX3" fmla="*/ 0 w 4710213"/>
              <a:gd name="connsiteY3" fmla="*/ 1512000 h 1512000"/>
              <a:gd name="connsiteX4" fmla="*/ 138213 w 4710213"/>
              <a:gd name="connsiteY4" fmla="*/ 756000 h 1512000"/>
              <a:gd name="connsiteX5" fmla="*/ 0 w 4710213"/>
              <a:gd name="connsiteY5" fmla="*/ 0 h 151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10213" h="1512000">
                <a:moveTo>
                  <a:pt x="0" y="0"/>
                </a:moveTo>
                <a:lnTo>
                  <a:pt x="4710213" y="0"/>
                </a:lnTo>
                <a:lnTo>
                  <a:pt x="4710213" y="1512000"/>
                </a:lnTo>
                <a:lnTo>
                  <a:pt x="0" y="1512000"/>
                </a:lnTo>
                <a:lnTo>
                  <a:pt x="138213" y="756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49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2" name="Заголовок 21"/>
          <p:cNvSpPr>
            <a:spLocks noGrp="1"/>
          </p:cNvSpPr>
          <p:nvPr>
            <p:ph type="title"/>
          </p:nvPr>
        </p:nvSpPr>
        <p:spPr>
          <a:xfrm>
            <a:off x="359124" y="335188"/>
            <a:ext cx="5561966" cy="684889"/>
          </a:xfrm>
        </p:spPr>
        <p:txBody>
          <a:bodyPr vert="horz"/>
          <a:lstStyle/>
          <a:p>
            <a:r>
              <a:rPr lang="ru-RU" dirty="0" smtClean="0"/>
              <a:t>Полимеры обладают преимуществами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с точки зрения снижения воздействия </a:t>
            </a:r>
            <a:br>
              <a:rPr lang="ru-RU" dirty="0" smtClean="0"/>
            </a:br>
            <a:r>
              <a:rPr lang="ru-RU" dirty="0" smtClean="0"/>
              <a:t>на климат на всех этапах жизненного цикл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8</a:t>
            </a:fld>
            <a:endParaRPr lang="ru-RU" dirty="0"/>
          </a:p>
        </p:txBody>
      </p:sp>
      <p:sp>
        <p:nvSpPr>
          <p:cNvPr id="32" name="Овал 31"/>
          <p:cNvSpPr>
            <a:spLocks noChangeAspect="1"/>
          </p:cNvSpPr>
          <p:nvPr/>
        </p:nvSpPr>
        <p:spPr bwMode="auto">
          <a:xfrm>
            <a:off x="285405" y="1278244"/>
            <a:ext cx="324000" cy="324000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4" name="Овал 33"/>
          <p:cNvSpPr>
            <a:spLocks noChangeAspect="1"/>
          </p:cNvSpPr>
          <p:nvPr/>
        </p:nvSpPr>
        <p:spPr bwMode="auto">
          <a:xfrm>
            <a:off x="285405" y="3115226"/>
            <a:ext cx="324000" cy="324000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5" name="Овал 34"/>
          <p:cNvSpPr>
            <a:spLocks noChangeAspect="1"/>
          </p:cNvSpPr>
          <p:nvPr/>
        </p:nvSpPr>
        <p:spPr bwMode="auto">
          <a:xfrm>
            <a:off x="3139757" y="3115226"/>
            <a:ext cx="324000" cy="324000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6" name="Овал 35"/>
          <p:cNvSpPr>
            <a:spLocks noChangeAspect="1"/>
          </p:cNvSpPr>
          <p:nvPr/>
        </p:nvSpPr>
        <p:spPr bwMode="auto">
          <a:xfrm>
            <a:off x="3139757" y="1273887"/>
            <a:ext cx="324000" cy="324000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4"/>
          </p:nvPr>
        </p:nvSpPr>
        <p:spPr>
          <a:xfrm>
            <a:off x="354010" y="1349759"/>
            <a:ext cx="2671853" cy="1661993"/>
          </a:xfrm>
        </p:spPr>
        <p:txBody>
          <a:bodyPr vert="horz"/>
          <a:lstStyle/>
          <a:p>
            <a:r>
              <a:rPr lang="ru-RU" dirty="0" smtClean="0"/>
              <a:t>Сырье</a:t>
            </a:r>
          </a:p>
          <a:p>
            <a:pPr lvl="1"/>
            <a:r>
              <a:rPr lang="ru-RU" b="0" dirty="0"/>
              <a:t>Перерабатываем отходы нефтедобычи (попутный нефтяной газ) ‒ предотвращаем выбросы парниковых газов и загрязняющих веществ от его </a:t>
            </a:r>
            <a:r>
              <a:rPr lang="ru-RU" b="0" dirty="0" smtClean="0"/>
              <a:t>сжигания</a:t>
            </a:r>
          </a:p>
          <a:p>
            <a:pPr lvl="1"/>
            <a:r>
              <a:rPr lang="ru-RU" b="0" dirty="0" smtClean="0"/>
              <a:t>и работаем над </a:t>
            </a:r>
            <a:r>
              <a:rPr lang="ru-RU" b="0" dirty="0"/>
              <a:t>вовлечением новых </a:t>
            </a:r>
            <a:r>
              <a:rPr lang="ru-RU" b="0" dirty="0" err="1"/>
              <a:t>экологичных</a:t>
            </a:r>
            <a:r>
              <a:rPr lang="ru-RU" b="0" dirty="0"/>
              <a:t> видов </a:t>
            </a:r>
            <a:r>
              <a:rPr lang="ru-RU" b="0" dirty="0" smtClean="0"/>
              <a:t>сырья</a:t>
            </a:r>
            <a:endParaRPr lang="ru-RU" sz="800" b="0" dirty="0"/>
          </a:p>
        </p:txBody>
      </p:sp>
      <p:sp>
        <p:nvSpPr>
          <p:cNvPr id="25" name="Текст 24"/>
          <p:cNvSpPr>
            <a:spLocks noGrp="1"/>
          </p:cNvSpPr>
          <p:nvPr>
            <p:ph type="body" sz="quarter" idx="45"/>
          </p:nvPr>
        </p:nvSpPr>
        <p:spPr>
          <a:xfrm>
            <a:off x="3225005" y="1349759"/>
            <a:ext cx="2556000" cy="1031051"/>
          </a:xfrm>
        </p:spPr>
        <p:txBody>
          <a:bodyPr vert="horz"/>
          <a:lstStyle/>
          <a:p>
            <a:r>
              <a:rPr lang="ru-RU" dirty="0" smtClean="0"/>
              <a:t>Производство</a:t>
            </a:r>
          </a:p>
          <a:p>
            <a:pPr lvl="1"/>
            <a:r>
              <a:rPr lang="ru-RU" b="0" dirty="0" smtClean="0"/>
              <a:t>Повышаем </a:t>
            </a:r>
            <a:r>
              <a:rPr lang="ru-RU" b="0" dirty="0" err="1"/>
              <a:t>экологичность</a:t>
            </a:r>
            <a:r>
              <a:rPr lang="ru-RU" b="0" dirty="0"/>
              <a:t> </a:t>
            </a:r>
            <a:r>
              <a:rPr lang="ru-RU" b="0" dirty="0" smtClean="0"/>
              <a:t>производства за счет повышения потенциала сокращения выбросов </a:t>
            </a:r>
            <a:r>
              <a:rPr lang="en-US" b="0" dirty="0" smtClean="0"/>
              <a:t>CO2 </a:t>
            </a:r>
            <a:endParaRPr lang="ru-RU" b="0" dirty="0" smtClean="0"/>
          </a:p>
        </p:txBody>
      </p:sp>
      <p:sp>
        <p:nvSpPr>
          <p:cNvPr id="26" name="Текст 25"/>
          <p:cNvSpPr>
            <a:spLocks noGrp="1"/>
          </p:cNvSpPr>
          <p:nvPr>
            <p:ph type="body" sz="quarter" idx="46"/>
          </p:nvPr>
        </p:nvSpPr>
        <p:spPr>
          <a:xfrm>
            <a:off x="354011" y="3177984"/>
            <a:ext cx="2556000" cy="1031051"/>
          </a:xfrm>
        </p:spPr>
        <p:txBody>
          <a:bodyPr vert="horz"/>
          <a:lstStyle/>
          <a:p>
            <a:r>
              <a:rPr lang="ru-RU" dirty="0" smtClean="0"/>
              <a:t>Использование</a:t>
            </a:r>
          </a:p>
          <a:p>
            <a:pPr lvl="1"/>
            <a:r>
              <a:rPr lang="ru-RU" b="0" dirty="0" smtClean="0"/>
              <a:t>Продукция </a:t>
            </a:r>
            <a:r>
              <a:rPr lang="ru-RU" b="0" dirty="0" err="1"/>
              <a:t>СИБУРа</a:t>
            </a:r>
            <a:r>
              <a:rPr lang="ru-RU" b="0" dirty="0"/>
              <a:t> применяется во всех ключевых </a:t>
            </a:r>
            <a:r>
              <a:rPr lang="ru-RU" b="0" dirty="0" smtClean="0"/>
              <a:t>отраслях экономики</a:t>
            </a:r>
            <a:r>
              <a:rPr lang="ru-RU" b="0" dirty="0"/>
              <a:t>, позволяя беречь энергию и другие </a:t>
            </a:r>
            <a:r>
              <a:rPr lang="ru-RU" b="0" dirty="0" smtClean="0"/>
              <a:t>ресурсы</a:t>
            </a:r>
            <a:endParaRPr lang="ru-RU" b="0" dirty="0"/>
          </a:p>
        </p:txBody>
      </p:sp>
      <p:sp>
        <p:nvSpPr>
          <p:cNvPr id="27" name="Текст 26"/>
          <p:cNvSpPr>
            <a:spLocks noGrp="1"/>
          </p:cNvSpPr>
          <p:nvPr>
            <p:ph type="body" sz="quarter" idx="47"/>
          </p:nvPr>
        </p:nvSpPr>
        <p:spPr>
          <a:xfrm>
            <a:off x="3225004" y="3177984"/>
            <a:ext cx="2755143" cy="1400383"/>
          </a:xfrm>
        </p:spPr>
        <p:txBody>
          <a:bodyPr vert="horz"/>
          <a:lstStyle/>
          <a:p>
            <a:r>
              <a:rPr lang="ru-RU" dirty="0" smtClean="0"/>
              <a:t>Продукция</a:t>
            </a:r>
          </a:p>
          <a:p>
            <a:pPr lvl="1"/>
            <a:r>
              <a:rPr lang="ru-RU" b="0" dirty="0"/>
              <a:t>С</a:t>
            </a:r>
            <a:r>
              <a:rPr lang="ru-RU" b="0" dirty="0" smtClean="0"/>
              <a:t>оздаем </a:t>
            </a:r>
            <a:r>
              <a:rPr lang="ru-RU" b="0" dirty="0"/>
              <a:t>устойчивые продукты с </a:t>
            </a:r>
            <a:r>
              <a:rPr lang="ru-RU" b="0" dirty="0" smtClean="0"/>
              <a:t>совокупным потенциалом </a:t>
            </a:r>
            <a:r>
              <a:rPr lang="ru-RU" b="0" dirty="0"/>
              <a:t>вовлечения десятков тысяч тонн </a:t>
            </a:r>
            <a:r>
              <a:rPr lang="ru-RU" b="0" dirty="0" smtClean="0"/>
              <a:t>вторичного пластика </a:t>
            </a:r>
            <a:r>
              <a:rPr lang="ru-RU" b="0" dirty="0"/>
              <a:t>в производство, а также постоянно </a:t>
            </a:r>
            <a:r>
              <a:rPr lang="ru-RU" b="0" dirty="0" smtClean="0"/>
              <a:t>улучшаем </a:t>
            </a:r>
            <a:r>
              <a:rPr lang="ru-RU" b="0" dirty="0" err="1" smtClean="0"/>
              <a:t>рециклинговые</a:t>
            </a:r>
            <a:r>
              <a:rPr lang="ru-RU" b="0" dirty="0" smtClean="0"/>
              <a:t> свойства </a:t>
            </a:r>
            <a:r>
              <a:rPr lang="ru-RU" b="0" dirty="0"/>
              <a:t>производимых полимеров</a:t>
            </a:r>
            <a:endParaRPr lang="ru-RU" b="0" dirty="0" smtClean="0"/>
          </a:p>
        </p:txBody>
      </p:sp>
      <p:graphicFrame>
        <p:nvGraphicFramePr>
          <p:cNvPr id="42" name="Диаграмма 41"/>
          <p:cNvGraphicFramePr/>
          <p:nvPr>
            <p:extLst>
              <p:ext uri="{D42A27DB-BD31-4B8C-83A1-F6EECF244321}">
                <p14:modId xmlns:p14="http://schemas.microsoft.com/office/powerpoint/2010/main" val="2111145298"/>
              </p:ext>
            </p:extLst>
          </p:nvPr>
        </p:nvGraphicFramePr>
        <p:xfrm>
          <a:off x="6993048" y="1356985"/>
          <a:ext cx="2146304" cy="710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43" name="Диаграмма 42"/>
          <p:cNvGraphicFramePr/>
          <p:nvPr>
            <p:extLst>
              <p:ext uri="{D42A27DB-BD31-4B8C-83A1-F6EECF244321}">
                <p14:modId xmlns:p14="http://schemas.microsoft.com/office/powerpoint/2010/main" val="3964301711"/>
              </p:ext>
            </p:extLst>
          </p:nvPr>
        </p:nvGraphicFramePr>
        <p:xfrm>
          <a:off x="6994544" y="2095571"/>
          <a:ext cx="2146304" cy="710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44" name="Диаграмма 43"/>
          <p:cNvGraphicFramePr/>
          <p:nvPr>
            <p:extLst>
              <p:ext uri="{D42A27DB-BD31-4B8C-83A1-F6EECF244321}">
                <p14:modId xmlns:p14="http://schemas.microsoft.com/office/powerpoint/2010/main" val="926562935"/>
              </p:ext>
            </p:extLst>
          </p:nvPr>
        </p:nvGraphicFramePr>
        <p:xfrm>
          <a:off x="6969361" y="2834884"/>
          <a:ext cx="2146304" cy="710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45" name="Диаграмма 44"/>
          <p:cNvGraphicFramePr/>
          <p:nvPr>
            <p:extLst>
              <p:ext uri="{D42A27DB-BD31-4B8C-83A1-F6EECF244321}">
                <p14:modId xmlns:p14="http://schemas.microsoft.com/office/powerpoint/2010/main" val="2248479972"/>
              </p:ext>
            </p:extLst>
          </p:nvPr>
        </p:nvGraphicFramePr>
        <p:xfrm>
          <a:off x="6969361" y="3592115"/>
          <a:ext cx="2146304" cy="710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6" name="Прямоугольник 45"/>
          <p:cNvSpPr/>
          <p:nvPr/>
        </p:nvSpPr>
        <p:spPr>
          <a:xfrm>
            <a:off x="7149241" y="906301"/>
            <a:ext cx="61907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914239">
              <a:spcAft>
                <a:spcPts val="300"/>
              </a:spcAft>
              <a:defRPr/>
            </a:pPr>
            <a:r>
              <a:rPr lang="ru-RU" sz="800" b="1" dirty="0" smtClean="0">
                <a:solidFill>
                  <a:schemeClr val="tx2"/>
                </a:solidFill>
                <a:latin typeface="Arial" charset="0"/>
              </a:rPr>
              <a:t>ПЭТ</a:t>
            </a:r>
            <a:br>
              <a:rPr lang="ru-RU" sz="800" b="1" dirty="0" smtClean="0">
                <a:solidFill>
                  <a:schemeClr val="tx2"/>
                </a:solidFill>
                <a:latin typeface="Arial" charset="0"/>
              </a:rPr>
            </a:br>
            <a:r>
              <a:rPr lang="ru-RU" sz="800" b="1" dirty="0" smtClean="0">
                <a:solidFill>
                  <a:schemeClr val="tx2"/>
                </a:solidFill>
                <a:latin typeface="Arial" charset="0"/>
              </a:rPr>
              <a:t>бутылка</a:t>
            </a:r>
            <a:endParaRPr lang="ru-RU" sz="800" b="1" dirty="0">
              <a:solidFill>
                <a:schemeClr val="tx2"/>
              </a:solidFill>
              <a:latin typeface="Arial" charset="0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7633612" y="906301"/>
            <a:ext cx="87951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914239">
              <a:spcAft>
                <a:spcPts val="300"/>
              </a:spcAft>
              <a:defRPr/>
            </a:pPr>
            <a:r>
              <a:rPr lang="ru-RU" sz="800" b="1" dirty="0" err="1" smtClean="0">
                <a:solidFill>
                  <a:schemeClr val="tx2"/>
                </a:solidFill>
                <a:latin typeface="Arial" charset="0"/>
              </a:rPr>
              <a:t>Алюмини-евая</a:t>
            </a:r>
            <a:r>
              <a:rPr lang="ru-RU" sz="800" b="1" dirty="0" smtClean="0">
                <a:solidFill>
                  <a:schemeClr val="tx2"/>
                </a:solidFill>
                <a:latin typeface="Arial" charset="0"/>
              </a:rPr>
              <a:t> банка</a:t>
            </a:r>
            <a:endParaRPr lang="ru-RU" sz="800" b="1" dirty="0">
              <a:solidFill>
                <a:schemeClr val="tx2"/>
              </a:solidFill>
              <a:latin typeface="Arial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8271807" y="906301"/>
            <a:ext cx="81304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914239">
              <a:spcAft>
                <a:spcPts val="300"/>
              </a:spcAft>
              <a:defRPr/>
            </a:pPr>
            <a:r>
              <a:rPr lang="ru-RU" sz="800" b="1" dirty="0" smtClean="0">
                <a:solidFill>
                  <a:schemeClr val="tx2"/>
                </a:solidFill>
                <a:latin typeface="Arial" charset="0"/>
              </a:rPr>
              <a:t>Стеклянная </a:t>
            </a:r>
            <a:br>
              <a:rPr lang="ru-RU" sz="800" b="1" dirty="0" smtClean="0">
                <a:solidFill>
                  <a:schemeClr val="tx2"/>
                </a:solidFill>
                <a:latin typeface="Arial" charset="0"/>
              </a:rPr>
            </a:br>
            <a:r>
              <a:rPr lang="ru-RU" sz="800" b="1" dirty="0" smtClean="0">
                <a:solidFill>
                  <a:schemeClr val="tx2"/>
                </a:solidFill>
                <a:latin typeface="Arial" charset="0"/>
              </a:rPr>
              <a:t>бутылка</a:t>
            </a:r>
            <a:endParaRPr lang="ru-RU" sz="800" b="1" dirty="0">
              <a:solidFill>
                <a:schemeClr val="tx2"/>
              </a:solidFill>
              <a:latin typeface="Arial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6232790" y="1515811"/>
            <a:ext cx="875240" cy="523220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lvl="0" defTabSz="914239">
              <a:spcAft>
                <a:spcPts val="300"/>
              </a:spcAft>
              <a:defRPr/>
            </a:pPr>
            <a:r>
              <a:rPr lang="ru-RU" sz="1000" b="1" dirty="0" smtClean="0">
                <a:solidFill>
                  <a:schemeClr val="tx2"/>
                </a:solidFill>
                <a:latin typeface="Arial" charset="0"/>
              </a:rPr>
              <a:t>Потребление </a:t>
            </a:r>
            <a:br>
              <a:rPr lang="ru-RU" sz="1000" b="1" dirty="0" smtClean="0">
                <a:solidFill>
                  <a:schemeClr val="tx2"/>
                </a:solidFill>
                <a:latin typeface="Arial" charset="0"/>
              </a:rPr>
            </a:br>
            <a:r>
              <a:rPr lang="ru-RU" sz="1000" b="1" dirty="0" smtClean="0">
                <a:solidFill>
                  <a:schemeClr val="tx2"/>
                </a:solidFill>
                <a:latin typeface="Arial" charset="0"/>
              </a:rPr>
              <a:t>энергии</a:t>
            </a:r>
            <a:r>
              <a:rPr lang="ru-RU" sz="800" b="1" dirty="0" smtClean="0">
                <a:solidFill>
                  <a:schemeClr val="tx2"/>
                </a:solidFill>
                <a:latin typeface="Arial" charset="0"/>
              </a:rPr>
              <a:t/>
            </a:r>
            <a:br>
              <a:rPr lang="ru-RU" sz="800" b="1" dirty="0" smtClean="0">
                <a:solidFill>
                  <a:schemeClr val="tx2"/>
                </a:solidFill>
                <a:latin typeface="Arial" charset="0"/>
              </a:rPr>
            </a:br>
            <a:r>
              <a:rPr lang="ru-RU" sz="800" b="1" dirty="0" smtClean="0">
                <a:solidFill>
                  <a:schemeClr val="tx2"/>
                </a:solidFill>
                <a:latin typeface="Arial" charset="0"/>
              </a:rPr>
              <a:t>кВт*ч </a:t>
            </a:r>
            <a:endParaRPr lang="ru-RU" sz="800" b="1" dirty="0">
              <a:solidFill>
                <a:schemeClr val="tx2"/>
              </a:solidFill>
              <a:latin typeface="Arial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6232790" y="2289584"/>
            <a:ext cx="501740" cy="3693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lvl="0" defTabSz="914239">
              <a:spcAft>
                <a:spcPts val="300"/>
              </a:spcAft>
              <a:defRPr/>
            </a:pPr>
            <a:r>
              <a:rPr lang="ru-RU" sz="1000" b="1" dirty="0" smtClean="0">
                <a:solidFill>
                  <a:schemeClr val="tx2"/>
                </a:solidFill>
                <a:latin typeface="Arial" charset="0"/>
              </a:rPr>
              <a:t>Отходы</a:t>
            </a:r>
            <a:br>
              <a:rPr lang="ru-RU" sz="1000" b="1" dirty="0" smtClean="0">
                <a:solidFill>
                  <a:schemeClr val="tx2"/>
                </a:solidFill>
                <a:latin typeface="Arial" charset="0"/>
              </a:rPr>
            </a:br>
            <a:r>
              <a:rPr lang="ru-RU" sz="800" b="1" dirty="0" smtClean="0">
                <a:solidFill>
                  <a:schemeClr val="tx2"/>
                </a:solidFill>
                <a:latin typeface="Arial" charset="0"/>
              </a:rPr>
              <a:t>кг </a:t>
            </a:r>
            <a:endParaRPr lang="ru-RU" sz="800" b="1" dirty="0">
              <a:solidFill>
                <a:schemeClr val="tx2"/>
              </a:solidFill>
              <a:latin typeface="Arial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6232790" y="3036211"/>
            <a:ext cx="501740" cy="3693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lvl="0" defTabSz="914239">
              <a:spcAft>
                <a:spcPts val="300"/>
              </a:spcAft>
              <a:defRPr/>
            </a:pPr>
            <a:r>
              <a:rPr lang="ru-RU" sz="1000" b="1" dirty="0" smtClean="0">
                <a:solidFill>
                  <a:schemeClr val="tx2"/>
                </a:solidFill>
                <a:latin typeface="Arial" charset="0"/>
              </a:rPr>
              <a:t>Отходы</a:t>
            </a:r>
            <a:br>
              <a:rPr lang="ru-RU" sz="1000" b="1" dirty="0" smtClean="0">
                <a:solidFill>
                  <a:schemeClr val="tx2"/>
                </a:solidFill>
                <a:latin typeface="Arial" charset="0"/>
              </a:rPr>
            </a:br>
            <a:r>
              <a:rPr lang="ru-RU" sz="800" b="1" dirty="0" err="1" smtClean="0">
                <a:solidFill>
                  <a:schemeClr val="tx2"/>
                </a:solidFill>
                <a:latin typeface="Arial" charset="0"/>
              </a:rPr>
              <a:t>м.куб</a:t>
            </a:r>
            <a:r>
              <a:rPr lang="ru-RU" sz="800" b="1" dirty="0" smtClean="0">
                <a:solidFill>
                  <a:schemeClr val="tx2"/>
                </a:solidFill>
                <a:latin typeface="Arial" charset="0"/>
              </a:rPr>
              <a:t>.</a:t>
            </a:r>
            <a:endParaRPr lang="ru-RU" sz="800" b="1" dirty="0">
              <a:solidFill>
                <a:schemeClr val="tx2"/>
              </a:solidFill>
              <a:latin typeface="Arial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6232790" y="3795249"/>
            <a:ext cx="842798" cy="36933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lvl="0" defTabSz="914239">
              <a:spcAft>
                <a:spcPts val="300"/>
              </a:spcAft>
              <a:defRPr/>
            </a:pPr>
            <a:r>
              <a:rPr lang="ru-RU" sz="1000" b="1" dirty="0" smtClean="0">
                <a:solidFill>
                  <a:schemeClr val="tx2"/>
                </a:solidFill>
                <a:latin typeface="Arial" charset="0"/>
              </a:rPr>
              <a:t>Выбросы,</a:t>
            </a:r>
            <a:br>
              <a:rPr lang="ru-RU" sz="1000" b="1" dirty="0" smtClean="0">
                <a:solidFill>
                  <a:schemeClr val="tx2"/>
                </a:solidFill>
                <a:latin typeface="Arial" charset="0"/>
              </a:rPr>
            </a:br>
            <a:r>
              <a:rPr lang="ru-RU" sz="800" b="1" dirty="0" smtClean="0">
                <a:solidFill>
                  <a:schemeClr val="tx2"/>
                </a:solidFill>
                <a:latin typeface="Arial" charset="0"/>
              </a:rPr>
              <a:t>т СО2-экв</a:t>
            </a:r>
            <a:endParaRPr lang="ru-RU" sz="800" b="1" dirty="0">
              <a:solidFill>
                <a:schemeClr val="tx2"/>
              </a:solidFill>
              <a:latin typeface="Arial" charset="0"/>
            </a:endParaRPr>
          </a:p>
        </p:txBody>
      </p:sp>
      <p:sp>
        <p:nvSpPr>
          <p:cNvPr id="57" name="Нижний колонтитул 5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32" r="44211"/>
          <a:stretch/>
        </p:blipFill>
        <p:spPr>
          <a:xfrm>
            <a:off x="7330888" y="310982"/>
            <a:ext cx="251787" cy="688750"/>
          </a:xfrm>
          <a:prstGeom prst="rect">
            <a:avLst/>
          </a:prstGeom>
        </p:spPr>
      </p:pic>
      <p:grpSp>
        <p:nvGrpSpPr>
          <p:cNvPr id="33" name="Группа 32"/>
          <p:cNvGrpSpPr>
            <a:grpSpLocks noChangeAspect="1"/>
          </p:cNvGrpSpPr>
          <p:nvPr/>
        </p:nvGrpSpPr>
        <p:grpSpPr>
          <a:xfrm>
            <a:off x="7933118" y="432812"/>
            <a:ext cx="210122" cy="481570"/>
            <a:chOff x="6483660" y="166980"/>
            <a:chExt cx="252000" cy="615979"/>
          </a:xfrm>
        </p:grpSpPr>
        <p:sp>
          <p:nvSpPr>
            <p:cNvPr id="23" name="Прямоугольник 22"/>
            <p:cNvSpPr/>
            <p:nvPr/>
          </p:nvSpPr>
          <p:spPr bwMode="auto">
            <a:xfrm>
              <a:off x="6483660" y="269240"/>
              <a:ext cx="250870" cy="468000"/>
            </a:xfrm>
            <a:prstGeom prst="rect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28" name="Трапеция 27"/>
            <p:cNvSpPr/>
            <p:nvPr/>
          </p:nvSpPr>
          <p:spPr bwMode="auto">
            <a:xfrm>
              <a:off x="6483660" y="229283"/>
              <a:ext cx="252000" cy="45719"/>
            </a:xfrm>
            <a:prstGeom prst="trapezoid">
              <a:avLst>
                <a:gd name="adj" fmla="val 37661"/>
              </a:avLst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Трапеция 57"/>
            <p:cNvSpPr/>
            <p:nvPr/>
          </p:nvSpPr>
          <p:spPr bwMode="auto">
            <a:xfrm flipV="1">
              <a:off x="6483660" y="737240"/>
              <a:ext cx="252000" cy="45719"/>
            </a:xfrm>
            <a:prstGeom prst="trapezoid">
              <a:avLst>
                <a:gd name="adj" fmla="val 37661"/>
              </a:avLst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0" name="Овал 29"/>
            <p:cNvSpPr/>
            <p:nvPr/>
          </p:nvSpPr>
          <p:spPr bwMode="auto">
            <a:xfrm>
              <a:off x="6522303" y="440203"/>
              <a:ext cx="172700" cy="184191"/>
            </a:xfrm>
            <a:prstGeom prst="ellipse">
              <a:avLst/>
            </a:prstGeom>
            <a:solidFill>
              <a:schemeClr val="accent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1" name="Трапеция 30"/>
            <p:cNvSpPr/>
            <p:nvPr/>
          </p:nvSpPr>
          <p:spPr bwMode="auto">
            <a:xfrm flipV="1">
              <a:off x="6624691" y="166980"/>
              <a:ext cx="45719" cy="59055"/>
            </a:xfrm>
            <a:prstGeom prst="trapezoid">
              <a:avLst/>
            </a:prstGeom>
            <a:solidFill>
              <a:schemeClr val="accent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71" name="Группа 70"/>
          <p:cNvGrpSpPr>
            <a:grpSpLocks noChangeAspect="1"/>
          </p:cNvGrpSpPr>
          <p:nvPr/>
        </p:nvGrpSpPr>
        <p:grpSpPr>
          <a:xfrm>
            <a:off x="8600088" y="358213"/>
            <a:ext cx="144000" cy="550073"/>
            <a:chOff x="6993048" y="313375"/>
            <a:chExt cx="144000" cy="550073"/>
          </a:xfrm>
        </p:grpSpPr>
        <p:sp>
          <p:nvSpPr>
            <p:cNvPr id="60" name="Прямоугольник 59"/>
            <p:cNvSpPr/>
            <p:nvPr/>
          </p:nvSpPr>
          <p:spPr bwMode="auto">
            <a:xfrm>
              <a:off x="7038358" y="331243"/>
              <a:ext cx="53381" cy="113808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Прямоугольник 60"/>
            <p:cNvSpPr/>
            <p:nvPr/>
          </p:nvSpPr>
          <p:spPr bwMode="auto">
            <a:xfrm>
              <a:off x="7032648" y="313375"/>
              <a:ext cx="64800" cy="18000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9525" cap="flat" cmpd="sng" algn="ctr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9" name="Полилиния 68"/>
            <p:cNvSpPr/>
            <p:nvPr/>
          </p:nvSpPr>
          <p:spPr bwMode="auto">
            <a:xfrm>
              <a:off x="6993048" y="514108"/>
              <a:ext cx="144000" cy="89769"/>
            </a:xfrm>
            <a:custGeom>
              <a:avLst/>
              <a:gdLst>
                <a:gd name="connsiteX0" fmla="*/ 18303 w 144000"/>
                <a:gd name="connsiteY0" fmla="*/ 0 h 89769"/>
                <a:gd name="connsiteX1" fmla="*/ 125697 w 144000"/>
                <a:gd name="connsiteY1" fmla="*/ 0 h 89769"/>
                <a:gd name="connsiteX2" fmla="*/ 144000 w 144000"/>
                <a:gd name="connsiteY2" fmla="*/ 89769 h 89769"/>
                <a:gd name="connsiteX3" fmla="*/ 0 w 144000"/>
                <a:gd name="connsiteY3" fmla="*/ 89769 h 89769"/>
                <a:gd name="connsiteX4" fmla="*/ 18303 w 144000"/>
                <a:gd name="connsiteY4" fmla="*/ 0 h 89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000" h="89769">
                  <a:moveTo>
                    <a:pt x="18303" y="0"/>
                  </a:moveTo>
                  <a:lnTo>
                    <a:pt x="125697" y="0"/>
                  </a:lnTo>
                  <a:lnTo>
                    <a:pt x="144000" y="89769"/>
                  </a:lnTo>
                  <a:lnTo>
                    <a:pt x="0" y="89769"/>
                  </a:lnTo>
                  <a:lnTo>
                    <a:pt x="18303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8" name="Полилиния 67"/>
            <p:cNvSpPr/>
            <p:nvPr/>
          </p:nvSpPr>
          <p:spPr bwMode="auto">
            <a:xfrm>
              <a:off x="7011351" y="371246"/>
              <a:ext cx="107394" cy="142862"/>
            </a:xfrm>
            <a:custGeom>
              <a:avLst/>
              <a:gdLst>
                <a:gd name="connsiteX0" fmla="*/ 29128 w 107394"/>
                <a:gd name="connsiteY0" fmla="*/ 0 h 142862"/>
                <a:gd name="connsiteX1" fmla="*/ 78266 w 107394"/>
                <a:gd name="connsiteY1" fmla="*/ 0 h 142862"/>
                <a:gd name="connsiteX2" fmla="*/ 107394 w 107394"/>
                <a:gd name="connsiteY2" fmla="*/ 142862 h 142862"/>
                <a:gd name="connsiteX3" fmla="*/ 0 w 107394"/>
                <a:gd name="connsiteY3" fmla="*/ 142862 h 142862"/>
                <a:gd name="connsiteX4" fmla="*/ 29128 w 107394"/>
                <a:gd name="connsiteY4" fmla="*/ 0 h 142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394" h="142862">
                  <a:moveTo>
                    <a:pt x="29128" y="0"/>
                  </a:moveTo>
                  <a:lnTo>
                    <a:pt x="78266" y="0"/>
                  </a:lnTo>
                  <a:lnTo>
                    <a:pt x="107394" y="142862"/>
                  </a:lnTo>
                  <a:lnTo>
                    <a:pt x="0" y="142862"/>
                  </a:lnTo>
                  <a:lnTo>
                    <a:pt x="29128" y="0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 cap="flat" cmpd="sng" algn="ctr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5" name="Полилиния 64"/>
            <p:cNvSpPr/>
            <p:nvPr/>
          </p:nvSpPr>
          <p:spPr bwMode="auto">
            <a:xfrm>
              <a:off x="6993048" y="603876"/>
              <a:ext cx="144000" cy="259572"/>
            </a:xfrm>
            <a:custGeom>
              <a:avLst/>
              <a:gdLst>
                <a:gd name="connsiteX0" fmla="*/ 0 w 144000"/>
                <a:gd name="connsiteY0" fmla="*/ 0 h 259572"/>
                <a:gd name="connsiteX1" fmla="*/ 144000 w 144000"/>
                <a:gd name="connsiteY1" fmla="*/ 0 h 259572"/>
                <a:gd name="connsiteX2" fmla="*/ 144000 w 144000"/>
                <a:gd name="connsiteY2" fmla="*/ 244116 h 259572"/>
                <a:gd name="connsiteX3" fmla="*/ 128544 w 144000"/>
                <a:gd name="connsiteY3" fmla="*/ 259572 h 259572"/>
                <a:gd name="connsiteX4" fmla="*/ 15456 w 144000"/>
                <a:gd name="connsiteY4" fmla="*/ 259572 h 259572"/>
                <a:gd name="connsiteX5" fmla="*/ 0 w 144000"/>
                <a:gd name="connsiteY5" fmla="*/ 244116 h 259572"/>
                <a:gd name="connsiteX6" fmla="*/ 0 w 144000"/>
                <a:gd name="connsiteY6" fmla="*/ 0 h 259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4000" h="259572">
                  <a:moveTo>
                    <a:pt x="0" y="0"/>
                  </a:moveTo>
                  <a:lnTo>
                    <a:pt x="144000" y="0"/>
                  </a:lnTo>
                  <a:lnTo>
                    <a:pt x="144000" y="244116"/>
                  </a:lnTo>
                  <a:cubicBezTo>
                    <a:pt x="144000" y="252652"/>
                    <a:pt x="137080" y="259572"/>
                    <a:pt x="128544" y="259572"/>
                  </a:cubicBezTo>
                  <a:lnTo>
                    <a:pt x="15456" y="259572"/>
                  </a:lnTo>
                  <a:cubicBezTo>
                    <a:pt x="6920" y="259572"/>
                    <a:pt x="0" y="252652"/>
                    <a:pt x="0" y="24411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 cap="flat" cmpd="sng" algn="ctr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72" name="Прямоугольник 71"/>
          <p:cNvSpPr/>
          <p:nvPr/>
        </p:nvSpPr>
        <p:spPr>
          <a:xfrm>
            <a:off x="6113685" y="4269225"/>
            <a:ext cx="197512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i="1" dirty="0" err="1"/>
              <a:t>Источники</a:t>
            </a:r>
            <a:r>
              <a:rPr lang="en-US" sz="800" i="1" dirty="0"/>
              <a:t>: USGS, FAO, BP, Rubber, The New Plastic Economy</a:t>
            </a:r>
            <a:endParaRPr lang="ru-RU" sz="800" i="1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6149157" y="787742"/>
            <a:ext cx="99608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b="1" dirty="0" smtClean="0"/>
              <a:t>Данные </a:t>
            </a:r>
            <a:br>
              <a:rPr lang="ru-RU" sz="800" b="1" dirty="0" smtClean="0"/>
            </a:br>
            <a:r>
              <a:rPr lang="ru-RU" sz="800" b="1" dirty="0" smtClean="0"/>
              <a:t>на этапе производства</a:t>
            </a:r>
            <a:endParaRPr lang="ru-RU" sz="800" b="1" dirty="0"/>
          </a:p>
        </p:txBody>
      </p:sp>
    </p:spTree>
    <p:extLst>
      <p:ext uri="{BB962C8B-B14F-4D97-AF65-F5344CB8AC3E}">
        <p14:creationId xmlns:p14="http://schemas.microsoft.com/office/powerpoint/2010/main" val="195641435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7813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53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Овал 11"/>
          <p:cNvSpPr/>
          <p:nvPr/>
        </p:nvSpPr>
        <p:spPr bwMode="auto">
          <a:xfrm>
            <a:off x="3422254" y="1142423"/>
            <a:ext cx="2788793" cy="2788793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76" r="2184"/>
          <a:stretch/>
        </p:blipFill>
        <p:spPr>
          <a:xfrm>
            <a:off x="1699953" y="1148080"/>
            <a:ext cx="4243648" cy="3410190"/>
          </a:xfrm>
          <a:prstGeom prst="rect">
            <a:avLst/>
          </a:prstGeom>
        </p:spPr>
      </p:pic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358775" y="339725"/>
            <a:ext cx="4609466" cy="684889"/>
          </a:xfrm>
        </p:spPr>
        <p:txBody>
          <a:bodyPr vert="horz"/>
          <a:lstStyle/>
          <a:p>
            <a:r>
              <a:rPr lang="ru-RU" dirty="0" smtClean="0"/>
              <a:t>Образ результата цифровой трансформации </a:t>
            </a:r>
            <a:r>
              <a:rPr lang="ru-RU" dirty="0" err="1" smtClean="0"/>
              <a:t>СИБУР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9</a:t>
            </a:fld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4"/>
          </p:nvPr>
        </p:nvSpPr>
        <p:spPr>
          <a:xfrm>
            <a:off x="833268" y="1602487"/>
            <a:ext cx="3013307" cy="532860"/>
          </a:xfrm>
        </p:spPr>
        <p:txBody>
          <a:bodyPr/>
          <a:lstStyle/>
          <a:p>
            <a:pPr lvl="1"/>
            <a:r>
              <a:rPr lang="ru-RU" dirty="0" smtClean="0"/>
              <a:t>Современность</a:t>
            </a:r>
          </a:p>
          <a:p>
            <a:pPr lvl="3"/>
            <a:r>
              <a:rPr lang="ru-RU" dirty="0" smtClean="0"/>
              <a:t>Обеспечение технологического задела, безлюдность,  постоянный поиск новых цифровых возможностей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45"/>
          </p:nvPr>
        </p:nvSpPr>
        <p:spPr>
          <a:xfrm>
            <a:off x="816256" y="2290269"/>
            <a:ext cx="2884015" cy="538609"/>
          </a:xfrm>
        </p:spPr>
        <p:txBody>
          <a:bodyPr/>
          <a:lstStyle/>
          <a:p>
            <a:pPr lvl="1"/>
            <a:r>
              <a:rPr lang="ru-RU" dirty="0" smtClean="0"/>
              <a:t>Цифровая культура</a:t>
            </a:r>
          </a:p>
          <a:p>
            <a:pPr lvl="3"/>
            <a:r>
              <a:rPr lang="ru-RU" dirty="0" smtClean="0"/>
              <a:t>Принятие решений на основе данных, толерантность  </a:t>
            </a:r>
            <a:br>
              <a:rPr lang="ru-RU" dirty="0" smtClean="0"/>
            </a:br>
            <a:r>
              <a:rPr lang="ru-RU" dirty="0" smtClean="0"/>
              <a:t>к разумному риску, новые компетенции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6"/>
          </p:nvPr>
        </p:nvSpPr>
        <p:spPr>
          <a:xfrm>
            <a:off x="803598" y="2983800"/>
            <a:ext cx="2511102" cy="538609"/>
          </a:xfrm>
        </p:spPr>
        <p:txBody>
          <a:bodyPr/>
          <a:lstStyle/>
          <a:p>
            <a:pPr lvl="1"/>
            <a:r>
              <a:rPr lang="ru-RU" dirty="0" smtClean="0"/>
              <a:t>Сила бренда</a:t>
            </a:r>
          </a:p>
          <a:p>
            <a:pPr lvl="3"/>
            <a:r>
              <a:rPr lang="ru-RU" dirty="0" smtClean="0"/>
              <a:t>Привлекательность на рынке труда, репутация  среди партнеров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47"/>
          </p:nvPr>
        </p:nvSpPr>
        <p:spPr>
          <a:xfrm>
            <a:off x="803800" y="3677331"/>
            <a:ext cx="2244200" cy="815608"/>
          </a:xfrm>
        </p:spPr>
        <p:txBody>
          <a:bodyPr/>
          <a:lstStyle/>
          <a:p>
            <a:pPr lvl="1"/>
            <a:r>
              <a:rPr lang="ru-RU" dirty="0" smtClean="0"/>
              <a:t>Финансовый результат </a:t>
            </a:r>
          </a:p>
          <a:p>
            <a:pPr lvl="3"/>
            <a:r>
              <a:rPr lang="ru-RU" dirty="0" smtClean="0"/>
              <a:t>Весомый вклад цифровых инструментов  в финансовые результаты (цель –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+10% EBITDA) и окупаемости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(горизонт – 2 года)</a:t>
            </a:r>
            <a:endParaRPr lang="ru-RU" dirty="0"/>
          </a:p>
        </p:txBody>
      </p:sp>
      <p:sp>
        <p:nvSpPr>
          <p:cNvPr id="27" name="Текст 26"/>
          <p:cNvSpPr>
            <a:spLocks noGrp="1"/>
          </p:cNvSpPr>
          <p:nvPr>
            <p:ph type="body" sz="quarter" idx="52"/>
          </p:nvPr>
        </p:nvSpPr>
        <p:spPr>
          <a:xfrm>
            <a:off x="354012" y="1573224"/>
            <a:ext cx="358775" cy="360000"/>
          </a:xfrm>
        </p:spPr>
        <p:txBody>
          <a:bodyPr/>
          <a:lstStyle/>
          <a:p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54"/>
          </p:nvPr>
        </p:nvSpPr>
        <p:spPr>
          <a:xfrm>
            <a:off x="377425" y="2231756"/>
            <a:ext cx="358775" cy="360000"/>
          </a:xfrm>
        </p:spPr>
        <p:txBody>
          <a:bodyPr/>
          <a:lstStyle/>
          <a:p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9" name="Текст 28"/>
          <p:cNvSpPr>
            <a:spLocks noGrp="1"/>
          </p:cNvSpPr>
          <p:nvPr>
            <p:ph type="body" sz="quarter" idx="56"/>
          </p:nvPr>
        </p:nvSpPr>
        <p:spPr>
          <a:xfrm>
            <a:off x="354011" y="2936300"/>
            <a:ext cx="358775" cy="360000"/>
          </a:xfrm>
        </p:spPr>
        <p:txBody>
          <a:bodyPr/>
          <a:lstStyle/>
          <a:p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58"/>
          </p:nvPr>
        </p:nvSpPr>
        <p:spPr>
          <a:xfrm>
            <a:off x="358775" y="3657951"/>
            <a:ext cx="358775" cy="360000"/>
          </a:xfrm>
        </p:spPr>
        <p:txBody>
          <a:bodyPr/>
          <a:lstStyle/>
          <a:p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2" name="Прямоугольник 31"/>
          <p:cNvSpPr/>
          <p:nvPr/>
        </p:nvSpPr>
        <p:spPr>
          <a:xfrm>
            <a:off x="358775" y="1156718"/>
            <a:ext cx="3745384" cy="21544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r>
              <a:rPr lang="ru-RU" sz="1600" b="1" dirty="0" smtClean="0">
                <a:solidFill>
                  <a:schemeClr val="tx2"/>
                </a:solidFill>
              </a:rPr>
              <a:t>4 рычага для вклада в будущее компании</a:t>
            </a:r>
            <a:endParaRPr lang="ru-RU" sz="1600" b="1" dirty="0">
              <a:solidFill>
                <a:schemeClr val="tx2"/>
              </a:solidFill>
            </a:endParaRPr>
          </a:p>
        </p:txBody>
      </p:sp>
      <p:sp>
        <p:nvSpPr>
          <p:cNvPr id="34" name="Content Placeholder 23"/>
          <p:cNvSpPr txBox="1">
            <a:spLocks/>
          </p:cNvSpPr>
          <p:nvPr/>
        </p:nvSpPr>
        <p:spPr>
          <a:xfrm>
            <a:off x="5102499" y="319572"/>
            <a:ext cx="3250762" cy="21544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ru-RU" sz="1600" dirty="0" smtClean="0"/>
              <a:t>Принципы </a:t>
            </a:r>
            <a:r>
              <a:rPr lang="ru-RU" sz="1600" dirty="0" err="1" smtClean="0"/>
              <a:t>цифровизации</a:t>
            </a:r>
            <a:r>
              <a:rPr lang="ru-RU" sz="1600" dirty="0" smtClean="0"/>
              <a:t> в </a:t>
            </a:r>
            <a:r>
              <a:rPr lang="ru-RU" sz="1600" dirty="0" err="1" smtClean="0"/>
              <a:t>СИБУРе</a:t>
            </a:r>
            <a:endParaRPr lang="en-GB" sz="1600" dirty="0"/>
          </a:p>
        </p:txBody>
      </p:sp>
      <p:sp>
        <p:nvSpPr>
          <p:cNvPr id="35" name="Текст 24"/>
          <p:cNvSpPr txBox="1">
            <a:spLocks/>
          </p:cNvSpPr>
          <p:nvPr/>
        </p:nvSpPr>
        <p:spPr>
          <a:xfrm>
            <a:off x="6327981" y="635027"/>
            <a:ext cx="2491517" cy="389587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200" b="1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8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lvl="3" defTabSz="914400"/>
            <a:r>
              <a:rPr lang="ru-RU" kern="0" dirty="0" err="1" smtClean="0">
                <a:solidFill>
                  <a:schemeClr val="tx2"/>
                </a:solidFill>
              </a:rPr>
              <a:t>Цифровизация</a:t>
            </a:r>
            <a:r>
              <a:rPr lang="ru-RU" kern="0" dirty="0" smtClean="0">
                <a:solidFill>
                  <a:schemeClr val="tx2"/>
                </a:solidFill>
              </a:rPr>
              <a:t> сквозной цепочки создания ценности по всей экосистеме, в </a:t>
            </a:r>
            <a:r>
              <a:rPr lang="ru-RU" kern="0" dirty="0" err="1" smtClean="0">
                <a:solidFill>
                  <a:schemeClr val="tx2"/>
                </a:solidFill>
              </a:rPr>
              <a:t>т.ч</a:t>
            </a:r>
            <a:r>
              <a:rPr lang="ru-RU" kern="0" dirty="0" smtClean="0">
                <a:solidFill>
                  <a:schemeClr val="tx2"/>
                </a:solidFill>
              </a:rPr>
              <a:t>. вне контура </a:t>
            </a:r>
            <a:r>
              <a:rPr lang="ru-RU" kern="0" dirty="0" err="1" smtClean="0">
                <a:solidFill>
                  <a:schemeClr val="tx2"/>
                </a:solidFill>
              </a:rPr>
              <a:t>СИБУРа</a:t>
            </a:r>
            <a:endParaRPr lang="ru-RU" kern="0" dirty="0">
              <a:solidFill>
                <a:schemeClr val="tx2"/>
              </a:solidFill>
            </a:endParaRPr>
          </a:p>
        </p:txBody>
      </p:sp>
      <p:sp>
        <p:nvSpPr>
          <p:cNvPr id="36" name="Текст 25"/>
          <p:cNvSpPr txBox="1">
            <a:spLocks/>
          </p:cNvSpPr>
          <p:nvPr/>
        </p:nvSpPr>
        <p:spPr>
          <a:xfrm>
            <a:off x="6327981" y="1178542"/>
            <a:ext cx="2491517" cy="410544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200" b="1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8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lvl="3" defTabSz="914400"/>
            <a:r>
              <a:rPr lang="ru-RU" kern="0" dirty="0" smtClean="0">
                <a:solidFill>
                  <a:schemeClr val="tx2"/>
                </a:solidFill>
              </a:rPr>
              <a:t>Сначала – реинжиниринг сквозных процессов, затем – автоматизация, при необходимости – </a:t>
            </a:r>
            <a:r>
              <a:rPr lang="ru-RU" kern="0" dirty="0" err="1" smtClean="0">
                <a:solidFill>
                  <a:schemeClr val="tx2"/>
                </a:solidFill>
              </a:rPr>
              <a:t>цифровизация</a:t>
            </a:r>
            <a:r>
              <a:rPr lang="ru-RU" kern="0" dirty="0" smtClean="0">
                <a:solidFill>
                  <a:schemeClr val="tx2"/>
                </a:solidFill>
              </a:rPr>
              <a:t>.</a:t>
            </a:r>
            <a:r>
              <a:rPr lang="en-US" kern="0" dirty="0" smtClean="0">
                <a:solidFill>
                  <a:schemeClr val="tx2"/>
                </a:solidFill>
              </a:rPr>
              <a:t> </a:t>
            </a:r>
            <a:r>
              <a:rPr lang="ru-RU" kern="0" dirty="0" smtClean="0">
                <a:solidFill>
                  <a:schemeClr val="tx2"/>
                </a:solidFill>
              </a:rPr>
              <a:t>Не наоборот</a:t>
            </a:r>
            <a:endParaRPr lang="ru-RU" kern="0" dirty="0">
              <a:solidFill>
                <a:schemeClr val="tx2"/>
              </a:solidFill>
            </a:endParaRPr>
          </a:p>
        </p:txBody>
      </p:sp>
      <p:sp>
        <p:nvSpPr>
          <p:cNvPr id="37" name="Текст 26"/>
          <p:cNvSpPr txBox="1">
            <a:spLocks/>
          </p:cNvSpPr>
          <p:nvPr/>
        </p:nvSpPr>
        <p:spPr>
          <a:xfrm>
            <a:off x="6327981" y="1743014"/>
            <a:ext cx="2491517" cy="488950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200" b="1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8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lvl="3" defTabSz="914400"/>
            <a:r>
              <a:rPr lang="ru-RU" kern="0" dirty="0" err="1" smtClean="0">
                <a:solidFill>
                  <a:schemeClr val="tx2"/>
                </a:solidFill>
              </a:rPr>
              <a:t>Data</a:t>
            </a:r>
            <a:r>
              <a:rPr lang="ru-RU" kern="0" dirty="0" smtClean="0">
                <a:solidFill>
                  <a:schemeClr val="tx2"/>
                </a:solidFill>
              </a:rPr>
              <a:t> </a:t>
            </a:r>
            <a:r>
              <a:rPr lang="ru-RU" kern="0" dirty="0" err="1" smtClean="0">
                <a:solidFill>
                  <a:schemeClr val="tx2"/>
                </a:solidFill>
              </a:rPr>
              <a:t>driven</a:t>
            </a:r>
            <a:r>
              <a:rPr lang="ru-RU" kern="0" dirty="0" smtClean="0">
                <a:solidFill>
                  <a:schemeClr val="tx2"/>
                </a:solidFill>
              </a:rPr>
              <a:t>. Всё, что можно алгоритмизировать, должно быть алгоритмизировано. В компании остаются сотрудники, принимающие решения</a:t>
            </a:r>
            <a:endParaRPr lang="ru-RU" kern="0" dirty="0">
              <a:solidFill>
                <a:schemeClr val="tx2"/>
              </a:solidFill>
            </a:endParaRPr>
          </a:p>
        </p:txBody>
      </p:sp>
      <p:sp>
        <p:nvSpPr>
          <p:cNvPr id="38" name="Текст 27"/>
          <p:cNvSpPr txBox="1">
            <a:spLocks/>
          </p:cNvSpPr>
          <p:nvPr/>
        </p:nvSpPr>
        <p:spPr>
          <a:xfrm>
            <a:off x="6327981" y="2385892"/>
            <a:ext cx="2491517" cy="410544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200" b="1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8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lvl="3" defTabSz="914400"/>
            <a:r>
              <a:rPr lang="ru-RU" kern="0" dirty="0" smtClean="0">
                <a:solidFill>
                  <a:schemeClr val="tx2"/>
                </a:solidFill>
              </a:rPr>
              <a:t>Большая часть цифровых проектов – </a:t>
            </a:r>
            <a:r>
              <a:rPr lang="ru-RU" kern="0" dirty="0" err="1" smtClean="0">
                <a:solidFill>
                  <a:schemeClr val="tx2"/>
                </a:solidFill>
              </a:rPr>
              <a:t>энейблеры</a:t>
            </a:r>
            <a:r>
              <a:rPr lang="ru-RU" kern="0" dirty="0" smtClean="0">
                <a:solidFill>
                  <a:schemeClr val="tx2"/>
                </a:solidFill>
              </a:rPr>
              <a:t> для получения измеримых эффектов от процессов</a:t>
            </a:r>
            <a:endParaRPr lang="ru-RU" kern="0" dirty="0">
              <a:solidFill>
                <a:schemeClr val="tx2"/>
              </a:solidFill>
            </a:endParaRPr>
          </a:p>
        </p:txBody>
      </p:sp>
      <p:sp>
        <p:nvSpPr>
          <p:cNvPr id="39" name="Текст 28"/>
          <p:cNvSpPr txBox="1">
            <a:spLocks/>
          </p:cNvSpPr>
          <p:nvPr/>
        </p:nvSpPr>
        <p:spPr>
          <a:xfrm>
            <a:off x="6327981" y="2950364"/>
            <a:ext cx="2491517" cy="386627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200" b="1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8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lvl="3" defTabSz="914400"/>
            <a:r>
              <a:rPr lang="ru-RU" kern="0" dirty="0" smtClean="0">
                <a:solidFill>
                  <a:schemeClr val="tx2"/>
                </a:solidFill>
              </a:rPr>
              <a:t>Критерий принятия решения о партнёре/своей разработке – полная стоимость владения (ТСО) </a:t>
            </a:r>
            <a:endParaRPr lang="ru-RU" kern="0" dirty="0">
              <a:solidFill>
                <a:schemeClr val="tx2"/>
              </a:solidFill>
            </a:endParaRPr>
          </a:p>
        </p:txBody>
      </p:sp>
      <p:sp>
        <p:nvSpPr>
          <p:cNvPr id="40" name="Текст 29"/>
          <p:cNvSpPr txBox="1">
            <a:spLocks/>
          </p:cNvSpPr>
          <p:nvPr/>
        </p:nvSpPr>
        <p:spPr>
          <a:xfrm>
            <a:off x="6327981" y="3931217"/>
            <a:ext cx="2491517" cy="488950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200" b="1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8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lvl="3" defTabSz="914400"/>
            <a:r>
              <a:rPr lang="ru-RU" kern="0" dirty="0" smtClean="0">
                <a:solidFill>
                  <a:schemeClr val="tx2"/>
                </a:solidFill>
              </a:rPr>
              <a:t>Уникальные компетенции – развитие внутри компании: </a:t>
            </a:r>
            <a:r>
              <a:rPr lang="ru-RU" kern="0" dirty="0" err="1" smtClean="0">
                <a:solidFill>
                  <a:schemeClr val="tx2"/>
                </a:solidFill>
              </a:rPr>
              <a:t>датасаентисты</a:t>
            </a:r>
            <a:r>
              <a:rPr lang="ru-RU" kern="0" dirty="0" smtClean="0">
                <a:solidFill>
                  <a:schemeClr val="tx2"/>
                </a:solidFill>
              </a:rPr>
              <a:t>, инженеры данных, программисты </a:t>
            </a:r>
            <a:r>
              <a:rPr lang="ru-RU" kern="0" dirty="0" err="1" smtClean="0">
                <a:solidFill>
                  <a:schemeClr val="tx2"/>
                </a:solidFill>
              </a:rPr>
              <a:t>Java</a:t>
            </a:r>
            <a:r>
              <a:rPr lang="ru-RU" kern="0" dirty="0" smtClean="0">
                <a:solidFill>
                  <a:schemeClr val="tx2"/>
                </a:solidFill>
              </a:rPr>
              <a:t>, </a:t>
            </a:r>
            <a:r>
              <a:rPr lang="ru-RU" kern="0" dirty="0" err="1" smtClean="0">
                <a:solidFill>
                  <a:schemeClr val="tx2"/>
                </a:solidFill>
              </a:rPr>
              <a:t>Java</a:t>
            </a:r>
            <a:r>
              <a:rPr lang="ru-RU" kern="0" dirty="0" smtClean="0">
                <a:solidFill>
                  <a:schemeClr val="tx2"/>
                </a:solidFill>
              </a:rPr>
              <a:t> </a:t>
            </a:r>
            <a:r>
              <a:rPr lang="ru-RU" kern="0" dirty="0" err="1" smtClean="0">
                <a:solidFill>
                  <a:schemeClr val="tx2"/>
                </a:solidFill>
              </a:rPr>
              <a:t>Script</a:t>
            </a:r>
            <a:r>
              <a:rPr lang="ru-RU" kern="0" dirty="0" smtClean="0">
                <a:solidFill>
                  <a:schemeClr val="tx2"/>
                </a:solidFill>
              </a:rPr>
              <a:t>, </a:t>
            </a:r>
            <a:r>
              <a:rPr lang="ru-RU" kern="0" dirty="0" err="1" smtClean="0">
                <a:solidFill>
                  <a:schemeClr val="tx2"/>
                </a:solidFill>
              </a:rPr>
              <a:t>Kotlin</a:t>
            </a:r>
            <a:r>
              <a:rPr lang="ru-RU" kern="0" dirty="0" smtClean="0">
                <a:solidFill>
                  <a:schemeClr val="tx2"/>
                </a:solidFill>
              </a:rPr>
              <a:t>, </a:t>
            </a:r>
            <a:r>
              <a:rPr lang="ru-RU" kern="0" dirty="0" err="1" smtClean="0">
                <a:solidFill>
                  <a:schemeClr val="tx2"/>
                </a:solidFill>
              </a:rPr>
              <a:t>Python</a:t>
            </a:r>
            <a:r>
              <a:rPr lang="ru-RU" kern="0" dirty="0" smtClean="0">
                <a:solidFill>
                  <a:schemeClr val="tx2"/>
                </a:solidFill>
              </a:rPr>
              <a:t>, .</a:t>
            </a:r>
            <a:r>
              <a:rPr lang="ru-RU" kern="0" dirty="0" err="1" smtClean="0">
                <a:solidFill>
                  <a:schemeClr val="tx2"/>
                </a:solidFill>
              </a:rPr>
              <a:t>Net</a:t>
            </a:r>
            <a:r>
              <a:rPr lang="ru-RU" kern="0" dirty="0" smtClean="0">
                <a:solidFill>
                  <a:schemeClr val="tx2"/>
                </a:solidFill>
              </a:rPr>
              <a:t>, инженеры </a:t>
            </a:r>
            <a:r>
              <a:rPr lang="ru-RU" kern="0" dirty="0" err="1" smtClean="0">
                <a:solidFill>
                  <a:schemeClr val="tx2"/>
                </a:solidFill>
              </a:rPr>
              <a:t>DevSecOps</a:t>
            </a:r>
            <a:endParaRPr lang="ru-RU" kern="0" dirty="0">
              <a:solidFill>
                <a:schemeClr val="tx2"/>
              </a:solidFill>
            </a:endParaRPr>
          </a:p>
        </p:txBody>
      </p:sp>
      <p:sp>
        <p:nvSpPr>
          <p:cNvPr id="41" name="Текст 30"/>
          <p:cNvSpPr txBox="1">
            <a:spLocks/>
          </p:cNvSpPr>
          <p:nvPr/>
        </p:nvSpPr>
        <p:spPr>
          <a:xfrm>
            <a:off x="6327981" y="3490919"/>
            <a:ext cx="2491517" cy="286368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200" b="1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8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lvl="3" defTabSz="914400"/>
            <a:r>
              <a:rPr lang="ru-RU" kern="0" dirty="0" smtClean="0">
                <a:solidFill>
                  <a:schemeClr val="tx2"/>
                </a:solidFill>
              </a:rPr>
              <a:t>Консолидация ИТ и цифровых компетенций в единой команде и </a:t>
            </a:r>
            <a:r>
              <a:rPr lang="ru-RU" kern="0" dirty="0" err="1" smtClean="0">
                <a:solidFill>
                  <a:schemeClr val="tx2"/>
                </a:solidFill>
              </a:rPr>
              <a:t>оргструктуре</a:t>
            </a:r>
            <a:endParaRPr lang="ru-RU" kern="0" dirty="0">
              <a:solidFill>
                <a:schemeClr val="tx2"/>
              </a:solidFill>
            </a:endParaRPr>
          </a:p>
        </p:txBody>
      </p:sp>
      <p:sp>
        <p:nvSpPr>
          <p:cNvPr id="42" name="Фигура, имеющая форму буквы L 41"/>
          <p:cNvSpPr>
            <a:spLocks noChangeAspect="1"/>
          </p:cNvSpPr>
          <p:nvPr/>
        </p:nvSpPr>
        <p:spPr bwMode="auto">
          <a:xfrm rot="18764320">
            <a:off x="5990610" y="726570"/>
            <a:ext cx="195484" cy="143817"/>
          </a:xfrm>
          <a:prstGeom prst="corner">
            <a:avLst>
              <a:gd name="adj1" fmla="val 21786"/>
              <a:gd name="adj2" fmla="val 23353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Фигура, имеющая форму буквы L 42"/>
          <p:cNvSpPr>
            <a:spLocks noChangeAspect="1"/>
          </p:cNvSpPr>
          <p:nvPr/>
        </p:nvSpPr>
        <p:spPr bwMode="auto">
          <a:xfrm rot="18764320">
            <a:off x="5990610" y="1263144"/>
            <a:ext cx="195484" cy="143817"/>
          </a:xfrm>
          <a:prstGeom prst="corner">
            <a:avLst>
              <a:gd name="adj1" fmla="val 21786"/>
              <a:gd name="adj2" fmla="val 23353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4" name="Фигура, имеющая форму буквы L 43"/>
          <p:cNvSpPr>
            <a:spLocks noChangeAspect="1"/>
          </p:cNvSpPr>
          <p:nvPr/>
        </p:nvSpPr>
        <p:spPr bwMode="auto">
          <a:xfrm rot="18764320">
            <a:off x="5990610" y="1799718"/>
            <a:ext cx="195484" cy="143817"/>
          </a:xfrm>
          <a:prstGeom prst="corner">
            <a:avLst>
              <a:gd name="adj1" fmla="val 21786"/>
              <a:gd name="adj2" fmla="val 23353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5" name="Фигура, имеющая форму буквы L 44"/>
          <p:cNvSpPr>
            <a:spLocks noChangeAspect="1"/>
          </p:cNvSpPr>
          <p:nvPr/>
        </p:nvSpPr>
        <p:spPr bwMode="auto">
          <a:xfrm rot="18764320">
            <a:off x="5990610" y="2434572"/>
            <a:ext cx="195484" cy="143817"/>
          </a:xfrm>
          <a:prstGeom prst="corner">
            <a:avLst>
              <a:gd name="adj1" fmla="val 21786"/>
              <a:gd name="adj2" fmla="val 23353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6" name="Фигура, имеющая форму буквы L 45"/>
          <p:cNvSpPr>
            <a:spLocks noChangeAspect="1"/>
          </p:cNvSpPr>
          <p:nvPr/>
        </p:nvSpPr>
        <p:spPr bwMode="auto">
          <a:xfrm rot="18764320">
            <a:off x="5990610" y="2980042"/>
            <a:ext cx="195484" cy="143817"/>
          </a:xfrm>
          <a:prstGeom prst="corner">
            <a:avLst>
              <a:gd name="adj1" fmla="val 21786"/>
              <a:gd name="adj2" fmla="val 23353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7" name="Фигура, имеющая форму буквы L 46"/>
          <p:cNvSpPr>
            <a:spLocks noChangeAspect="1"/>
          </p:cNvSpPr>
          <p:nvPr/>
        </p:nvSpPr>
        <p:spPr bwMode="auto">
          <a:xfrm rot="18764320">
            <a:off x="5990610" y="3516616"/>
            <a:ext cx="195484" cy="143817"/>
          </a:xfrm>
          <a:prstGeom prst="corner">
            <a:avLst>
              <a:gd name="adj1" fmla="val 21786"/>
              <a:gd name="adj2" fmla="val 23353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8" name="Фигура, имеющая форму буквы L 47"/>
          <p:cNvSpPr>
            <a:spLocks noChangeAspect="1"/>
          </p:cNvSpPr>
          <p:nvPr/>
        </p:nvSpPr>
        <p:spPr bwMode="auto">
          <a:xfrm rot="18764320">
            <a:off x="5990610" y="3946013"/>
            <a:ext cx="195484" cy="143817"/>
          </a:xfrm>
          <a:prstGeom prst="corner">
            <a:avLst>
              <a:gd name="adj1" fmla="val 21786"/>
              <a:gd name="adj2" fmla="val 23353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9" name="Нижний колонтитул 4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11" name="Полилиния 10"/>
          <p:cNvSpPr/>
          <p:nvPr/>
        </p:nvSpPr>
        <p:spPr bwMode="auto">
          <a:xfrm>
            <a:off x="3943488" y="2083455"/>
            <a:ext cx="266700" cy="457200"/>
          </a:xfrm>
          <a:custGeom>
            <a:avLst/>
            <a:gdLst>
              <a:gd name="connsiteX0" fmla="*/ 0 w 266700"/>
              <a:gd name="connsiteY0" fmla="*/ 457200 h 457200"/>
              <a:gd name="connsiteX1" fmla="*/ 60960 w 266700"/>
              <a:gd name="connsiteY1" fmla="*/ 381000 h 457200"/>
              <a:gd name="connsiteX2" fmla="*/ 68580 w 266700"/>
              <a:gd name="connsiteY2" fmla="*/ 269240 h 457200"/>
              <a:gd name="connsiteX3" fmla="*/ 142240 w 266700"/>
              <a:gd name="connsiteY3" fmla="*/ 251460 h 457200"/>
              <a:gd name="connsiteX4" fmla="*/ 185420 w 266700"/>
              <a:gd name="connsiteY4" fmla="*/ 259080 h 457200"/>
              <a:gd name="connsiteX5" fmla="*/ 220980 w 266700"/>
              <a:gd name="connsiteY5" fmla="*/ 279400 h 457200"/>
              <a:gd name="connsiteX6" fmla="*/ 248920 w 266700"/>
              <a:gd name="connsiteY6" fmla="*/ 299720 h 457200"/>
              <a:gd name="connsiteX7" fmla="*/ 266700 w 266700"/>
              <a:gd name="connsiteY7" fmla="*/ 78740 h 457200"/>
              <a:gd name="connsiteX8" fmla="*/ 259080 w 266700"/>
              <a:gd name="connsiteY8" fmla="*/ 25400 h 457200"/>
              <a:gd name="connsiteX9" fmla="*/ 203200 w 266700"/>
              <a:gd name="connsiteY9" fmla="*/ 0 h 457200"/>
              <a:gd name="connsiteX10" fmla="*/ 180340 w 266700"/>
              <a:gd name="connsiteY10" fmla="*/ 15240 h 457200"/>
              <a:gd name="connsiteX11" fmla="*/ 124460 w 266700"/>
              <a:gd name="connsiteY11" fmla="*/ 139700 h 457200"/>
              <a:gd name="connsiteX12" fmla="*/ 116840 w 266700"/>
              <a:gd name="connsiteY12" fmla="*/ 160020 h 457200"/>
              <a:gd name="connsiteX13" fmla="*/ 104140 w 266700"/>
              <a:gd name="connsiteY13" fmla="*/ 172720 h 457200"/>
              <a:gd name="connsiteX14" fmla="*/ 20320 w 266700"/>
              <a:gd name="connsiteY14" fmla="*/ 297180 h 457200"/>
              <a:gd name="connsiteX15" fmla="*/ 10160 w 266700"/>
              <a:gd name="connsiteY15" fmla="*/ 317500 h 457200"/>
              <a:gd name="connsiteX16" fmla="*/ 0 w 266700"/>
              <a:gd name="connsiteY16" fmla="*/ 45720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66700" h="457200">
                <a:moveTo>
                  <a:pt x="0" y="457200"/>
                </a:moveTo>
                <a:lnTo>
                  <a:pt x="60960" y="381000"/>
                </a:lnTo>
                <a:lnTo>
                  <a:pt x="68580" y="269240"/>
                </a:lnTo>
                <a:lnTo>
                  <a:pt x="142240" y="251460"/>
                </a:lnTo>
                <a:lnTo>
                  <a:pt x="185420" y="259080"/>
                </a:lnTo>
                <a:lnTo>
                  <a:pt x="220980" y="279400"/>
                </a:lnTo>
                <a:lnTo>
                  <a:pt x="248920" y="299720"/>
                </a:lnTo>
                <a:lnTo>
                  <a:pt x="266700" y="78740"/>
                </a:lnTo>
                <a:lnTo>
                  <a:pt x="259080" y="25400"/>
                </a:lnTo>
                <a:lnTo>
                  <a:pt x="203200" y="0"/>
                </a:lnTo>
                <a:lnTo>
                  <a:pt x="180340" y="15240"/>
                </a:lnTo>
                <a:lnTo>
                  <a:pt x="124460" y="139700"/>
                </a:lnTo>
                <a:cubicBezTo>
                  <a:pt x="121920" y="146473"/>
                  <a:pt x="120631" y="153859"/>
                  <a:pt x="116840" y="160020"/>
                </a:cubicBezTo>
                <a:cubicBezTo>
                  <a:pt x="113702" y="165119"/>
                  <a:pt x="104140" y="172720"/>
                  <a:pt x="104140" y="172720"/>
                </a:cubicBezTo>
                <a:lnTo>
                  <a:pt x="20320" y="297180"/>
                </a:lnTo>
                <a:lnTo>
                  <a:pt x="10160" y="317500"/>
                </a:lnTo>
                <a:lnTo>
                  <a:pt x="0" y="457200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507455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0133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872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Рисунок 14"/>
          <p:cNvPicPr>
            <a:picLocks noGrp="1" noChangeAspect="1"/>
          </p:cNvPicPr>
          <p:nvPr>
            <p:ph type="pic" sz="quarter" idx="12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3919" b="23919"/>
          <a:stretch>
            <a:fillRect/>
          </a:stretch>
        </p:blipFill>
        <p:spPr/>
      </p:pic>
      <p:sp>
        <p:nvSpPr>
          <p:cNvPr id="14" name="Прямоугольник 13"/>
          <p:cNvSpPr/>
          <p:nvPr/>
        </p:nvSpPr>
        <p:spPr bwMode="auto">
          <a:xfrm>
            <a:off x="0" y="0"/>
            <a:ext cx="6573598" cy="5143500"/>
          </a:xfrm>
          <a:prstGeom prst="rect">
            <a:avLst/>
          </a:prstGeom>
          <a:gradFill>
            <a:gsLst>
              <a:gs pos="37000">
                <a:schemeClr val="accent1">
                  <a:lumMod val="5000"/>
                  <a:lumOff val="95000"/>
                  <a:alpha val="0"/>
                </a:schemeClr>
              </a:gs>
              <a:gs pos="86000">
                <a:schemeClr val="accent5">
                  <a:alpha val="71000"/>
                </a:schemeClr>
              </a:gs>
              <a:gs pos="96000">
                <a:schemeClr val="tx2">
                  <a:alpha val="86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>
          <a:xfrm>
            <a:off x="335573" y="3584432"/>
            <a:ext cx="5902452" cy="818710"/>
          </a:xfrm>
        </p:spPr>
        <p:txBody>
          <a:bodyPr vert="horz"/>
          <a:lstStyle/>
          <a:p>
            <a:r>
              <a:rPr lang="ru-RU" b="1" dirty="0" smtClean="0"/>
              <a:t>О СИБУРЕ</a:t>
            </a:r>
            <a:endParaRPr lang="ru-RU" b="1" dirty="0"/>
          </a:p>
        </p:txBody>
      </p:sp>
      <p:pic>
        <p:nvPicPr>
          <p:cNvPr id="19" name="Рисунок 18"/>
          <p:cNvPicPr>
            <a:picLocks noGrp="1" noChangeAspect="1"/>
          </p:cNvPicPr>
          <p:nvPr>
            <p:ph type="pic" sz="quarter" idx="13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5" name="Текст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0" y="4760913"/>
            <a:ext cx="319088" cy="187325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2949973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9745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3514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2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028563"/>
            <a:ext cx="1532065" cy="152280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55267" y="1512581"/>
            <a:ext cx="1522800" cy="1522800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-2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3431" y="3028563"/>
            <a:ext cx="1531831" cy="1522800"/>
          </a:xfrm>
          <a:prstGeom prst="rect">
            <a:avLst/>
          </a:prstGeom>
        </p:spPr>
      </p:pic>
      <p:sp>
        <p:nvSpPr>
          <p:cNvPr id="92" name="Нижний колонтитул 9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0</a:t>
            </a:fld>
            <a:endParaRPr lang="ru-RU" dirty="0"/>
          </a:p>
        </p:txBody>
      </p:sp>
      <p:sp>
        <p:nvSpPr>
          <p:cNvPr id="17" name="Текст 16"/>
          <p:cNvSpPr>
            <a:spLocks noGrp="1"/>
          </p:cNvSpPr>
          <p:nvPr>
            <p:ph type="body" sz="quarter" idx="13"/>
          </p:nvPr>
        </p:nvSpPr>
        <p:spPr>
          <a:xfrm>
            <a:off x="358776" y="347883"/>
            <a:ext cx="2819296" cy="673100"/>
          </a:xfrm>
        </p:spPr>
        <p:txBody>
          <a:bodyPr/>
          <a:lstStyle/>
          <a:p>
            <a:r>
              <a:rPr lang="ru-RU" dirty="0"/>
              <a:t>Важный фактор успеха </a:t>
            </a:r>
            <a:r>
              <a:rPr lang="ru-RU" dirty="0" err="1"/>
              <a:t>цифровизации</a:t>
            </a:r>
            <a:r>
              <a:rPr lang="ru-RU" dirty="0"/>
              <a:t> – развитие компетенций </a:t>
            </a:r>
            <a:br>
              <a:rPr lang="ru-RU" dirty="0"/>
            </a:br>
            <a:r>
              <a:rPr lang="ru-RU" dirty="0"/>
              <a:t>для внедрения </a:t>
            </a:r>
            <a:br>
              <a:rPr lang="ru-RU" dirty="0"/>
            </a:br>
            <a:r>
              <a:rPr lang="ru-RU" dirty="0"/>
              <a:t>новых решений</a:t>
            </a:r>
          </a:p>
        </p:txBody>
      </p:sp>
      <p:sp>
        <p:nvSpPr>
          <p:cNvPr id="47" name="object 25"/>
          <p:cNvSpPr txBox="1"/>
          <p:nvPr/>
        </p:nvSpPr>
        <p:spPr>
          <a:xfrm>
            <a:off x="4810219" y="588737"/>
            <a:ext cx="1261526" cy="497983"/>
          </a:xfrm>
          <a:prstGeom prst="rect">
            <a:avLst/>
          </a:prstGeom>
        </p:spPr>
        <p:txBody>
          <a:bodyPr vert="horz" wrap="square" lIns="0" tIns="5487" rIns="0" bIns="0" rtlCol="0">
            <a:spAutoFit/>
          </a:bodyPr>
          <a:lstStyle/>
          <a:p>
            <a:pPr marL="5776" marR="2310" defTabSz="685800">
              <a:spcBef>
                <a:spcPts val="43"/>
              </a:spcBef>
              <a:defRPr/>
            </a:pPr>
            <a:r>
              <a:rPr sz="900" spc="-2" dirty="0">
                <a:solidFill>
                  <a:prstClr val="black"/>
                </a:solidFill>
                <a:cs typeface="Arial"/>
              </a:rPr>
              <a:t>Data Science /  </a:t>
            </a:r>
            <a:r>
              <a:rPr sz="900" spc="-5" dirty="0">
                <a:solidFill>
                  <a:prstClr val="black"/>
                </a:solidFill>
                <a:cs typeface="Arial"/>
              </a:rPr>
              <a:t>Большие</a:t>
            </a:r>
            <a:r>
              <a:rPr sz="900" spc="-34" dirty="0">
                <a:solidFill>
                  <a:prstClr val="black"/>
                </a:solidFill>
                <a:cs typeface="Arial"/>
              </a:rPr>
              <a:t> </a:t>
            </a:r>
            <a:r>
              <a:rPr sz="900" spc="-2" dirty="0">
                <a:solidFill>
                  <a:prstClr val="black"/>
                </a:solidFill>
                <a:cs typeface="Arial"/>
              </a:rPr>
              <a:t>данные</a:t>
            </a:r>
            <a:endParaRPr sz="900" dirty="0">
              <a:solidFill>
                <a:prstClr val="black"/>
              </a:solidFill>
              <a:cs typeface="Arial"/>
            </a:endParaRPr>
          </a:p>
          <a:p>
            <a:pPr marL="5776" defTabSz="685800">
              <a:spcBef>
                <a:spcPts val="600"/>
              </a:spcBef>
              <a:defRPr/>
            </a:pPr>
            <a:r>
              <a:rPr sz="900" spc="-7" dirty="0">
                <a:solidFill>
                  <a:prstClr val="black"/>
                </a:solidFill>
                <a:cs typeface="Arial"/>
              </a:rPr>
              <a:t>Визуализация</a:t>
            </a:r>
            <a:endParaRPr sz="900" dirty="0">
              <a:solidFill>
                <a:prstClr val="black"/>
              </a:solidFill>
              <a:cs typeface="Arial"/>
            </a:endParaRPr>
          </a:p>
        </p:txBody>
      </p:sp>
      <p:sp>
        <p:nvSpPr>
          <p:cNvPr id="48" name="object 26"/>
          <p:cNvSpPr txBox="1"/>
          <p:nvPr/>
        </p:nvSpPr>
        <p:spPr>
          <a:xfrm>
            <a:off x="6858565" y="588737"/>
            <a:ext cx="1467268" cy="636483"/>
          </a:xfrm>
          <a:prstGeom prst="rect">
            <a:avLst/>
          </a:prstGeom>
        </p:spPr>
        <p:txBody>
          <a:bodyPr vert="horz" wrap="square" lIns="0" tIns="5487" rIns="0" bIns="0" rtlCol="0">
            <a:spAutoFit/>
          </a:bodyPr>
          <a:lstStyle/>
          <a:p>
            <a:pPr marL="5776" marR="177029" defTabSz="685800">
              <a:spcBef>
                <a:spcPts val="43"/>
              </a:spcBef>
              <a:defRPr/>
            </a:pPr>
            <a:r>
              <a:rPr sz="900" spc="-2" dirty="0">
                <a:solidFill>
                  <a:prstClr val="black"/>
                </a:solidFill>
                <a:cs typeface="Arial"/>
              </a:rPr>
              <a:t>Мобильность </a:t>
            </a:r>
            <a:r>
              <a:rPr lang="ru-RU" sz="900" spc="-2" dirty="0" smtClean="0">
                <a:solidFill>
                  <a:prstClr val="black"/>
                </a:solidFill>
                <a:cs typeface="Arial"/>
              </a:rPr>
              <a:t/>
            </a:r>
            <a:br>
              <a:rPr lang="ru-RU" sz="900" spc="-2" dirty="0" smtClean="0">
                <a:solidFill>
                  <a:prstClr val="black"/>
                </a:solidFill>
                <a:cs typeface="Arial"/>
              </a:rPr>
            </a:br>
            <a:r>
              <a:rPr sz="900" spc="-2" dirty="0" smtClean="0">
                <a:solidFill>
                  <a:prstClr val="black"/>
                </a:solidFill>
                <a:cs typeface="Arial"/>
              </a:rPr>
              <a:t>и  </a:t>
            </a:r>
            <a:r>
              <a:rPr sz="900" spc="-7" dirty="0">
                <a:solidFill>
                  <a:prstClr val="black"/>
                </a:solidFill>
                <a:cs typeface="Arial"/>
              </a:rPr>
              <a:t>удаленный</a:t>
            </a:r>
            <a:r>
              <a:rPr sz="900" spc="-18" dirty="0">
                <a:solidFill>
                  <a:prstClr val="black"/>
                </a:solidFill>
                <a:cs typeface="Arial"/>
              </a:rPr>
              <a:t> </a:t>
            </a:r>
            <a:r>
              <a:rPr sz="900" spc="-2" dirty="0">
                <a:solidFill>
                  <a:prstClr val="black"/>
                </a:solidFill>
                <a:cs typeface="Arial"/>
              </a:rPr>
              <a:t>доступ</a:t>
            </a:r>
            <a:endParaRPr sz="900" dirty="0">
              <a:solidFill>
                <a:prstClr val="black"/>
              </a:solidFill>
              <a:cs typeface="Arial"/>
            </a:endParaRPr>
          </a:p>
          <a:p>
            <a:pPr marL="5776" marR="2310" defTabSz="685800">
              <a:spcBef>
                <a:spcPts val="600"/>
              </a:spcBef>
              <a:defRPr/>
            </a:pPr>
            <a:r>
              <a:rPr sz="900" spc="-7" dirty="0">
                <a:solidFill>
                  <a:prstClr val="black"/>
                </a:solidFill>
                <a:cs typeface="Arial"/>
              </a:rPr>
              <a:t>Автоматизация </a:t>
            </a:r>
            <a:r>
              <a:rPr lang="ru-RU" sz="900" spc="-7" dirty="0" smtClean="0">
                <a:solidFill>
                  <a:prstClr val="black"/>
                </a:solidFill>
                <a:cs typeface="Arial"/>
              </a:rPr>
              <a:t/>
            </a:r>
            <a:br>
              <a:rPr lang="ru-RU" sz="900" spc="-7" dirty="0" smtClean="0">
                <a:solidFill>
                  <a:prstClr val="black"/>
                </a:solidFill>
                <a:cs typeface="Arial"/>
              </a:rPr>
            </a:br>
            <a:r>
              <a:rPr sz="900" spc="-2" dirty="0" smtClean="0">
                <a:solidFill>
                  <a:prstClr val="black"/>
                </a:solidFill>
                <a:cs typeface="Arial"/>
              </a:rPr>
              <a:t>и  </a:t>
            </a:r>
            <a:r>
              <a:rPr sz="900" spc="-5" dirty="0">
                <a:solidFill>
                  <a:prstClr val="black"/>
                </a:solidFill>
                <a:cs typeface="Arial"/>
              </a:rPr>
              <a:t>упрощение</a:t>
            </a:r>
            <a:r>
              <a:rPr sz="900" spc="-9" dirty="0">
                <a:solidFill>
                  <a:prstClr val="black"/>
                </a:solidFill>
                <a:cs typeface="Arial"/>
              </a:rPr>
              <a:t> </a:t>
            </a:r>
            <a:r>
              <a:rPr sz="900" spc="-5" dirty="0">
                <a:solidFill>
                  <a:prstClr val="black"/>
                </a:solidFill>
                <a:cs typeface="Arial"/>
              </a:rPr>
              <a:t>процессов</a:t>
            </a:r>
            <a:endParaRPr sz="900" dirty="0">
              <a:solidFill>
                <a:prstClr val="black"/>
              </a:solidFill>
              <a:cs typeface="Arial"/>
            </a:endParaRPr>
          </a:p>
        </p:txBody>
      </p:sp>
      <p:sp>
        <p:nvSpPr>
          <p:cNvPr id="49" name="object 27"/>
          <p:cNvSpPr txBox="1"/>
          <p:nvPr/>
        </p:nvSpPr>
        <p:spPr>
          <a:xfrm>
            <a:off x="4810219" y="2758550"/>
            <a:ext cx="1485315" cy="713427"/>
          </a:xfrm>
          <a:prstGeom prst="rect">
            <a:avLst/>
          </a:prstGeom>
        </p:spPr>
        <p:txBody>
          <a:bodyPr vert="horz" wrap="square" lIns="0" tIns="5487" rIns="0" bIns="0" rtlCol="0">
            <a:spAutoFit/>
          </a:bodyPr>
          <a:lstStyle/>
          <a:p>
            <a:pPr marL="5776" marR="2310" defTabSz="685800">
              <a:spcBef>
                <a:spcPts val="43"/>
              </a:spcBef>
              <a:defRPr/>
            </a:pPr>
            <a:r>
              <a:rPr sz="900" spc="-5" dirty="0">
                <a:solidFill>
                  <a:prstClr val="black"/>
                </a:solidFill>
                <a:cs typeface="Arial"/>
              </a:rPr>
              <a:t>Промышленный</a:t>
            </a:r>
            <a:r>
              <a:rPr sz="900" spc="-23" dirty="0">
                <a:solidFill>
                  <a:prstClr val="black"/>
                </a:solidFill>
                <a:cs typeface="Arial"/>
              </a:rPr>
              <a:t> </a:t>
            </a:r>
            <a:r>
              <a:rPr sz="900" spc="-2" dirty="0">
                <a:solidFill>
                  <a:prstClr val="black"/>
                </a:solidFill>
                <a:cs typeface="Arial"/>
              </a:rPr>
              <a:t>интернет  Вещей</a:t>
            </a:r>
            <a:r>
              <a:rPr sz="900" spc="-5" dirty="0">
                <a:solidFill>
                  <a:prstClr val="black"/>
                </a:solidFill>
                <a:cs typeface="Arial"/>
              </a:rPr>
              <a:t> </a:t>
            </a:r>
            <a:r>
              <a:rPr sz="900" spc="-2" dirty="0">
                <a:solidFill>
                  <a:prstClr val="black"/>
                </a:solidFill>
                <a:cs typeface="Arial"/>
              </a:rPr>
              <a:t>(IIoT)</a:t>
            </a:r>
            <a:endParaRPr sz="900" dirty="0">
              <a:solidFill>
                <a:prstClr val="black"/>
              </a:solidFill>
              <a:cs typeface="Arial"/>
            </a:endParaRPr>
          </a:p>
          <a:p>
            <a:pPr marL="5776" defTabSz="685800">
              <a:spcBef>
                <a:spcPts val="600"/>
              </a:spcBef>
              <a:defRPr/>
            </a:pPr>
            <a:r>
              <a:rPr lang="ru-RU" sz="900" spc="-9" dirty="0">
                <a:solidFill>
                  <a:prstClr val="black"/>
                </a:solidFill>
                <a:cs typeface="Arial"/>
              </a:rPr>
              <a:t>Видеоаналитика, </a:t>
            </a:r>
            <a:r>
              <a:rPr lang="en-US" sz="900" spc="-9" dirty="0">
                <a:solidFill>
                  <a:prstClr val="black"/>
                </a:solidFill>
                <a:cs typeface="Arial"/>
              </a:rPr>
              <a:t>AR, VR</a:t>
            </a:r>
          </a:p>
          <a:p>
            <a:pPr marL="5776" marR="45340" defTabSz="685800">
              <a:spcBef>
                <a:spcPts val="598"/>
              </a:spcBef>
              <a:defRPr/>
            </a:pPr>
            <a:r>
              <a:rPr lang="ru-RU" sz="900" spc="-5" dirty="0">
                <a:solidFill>
                  <a:prstClr val="black"/>
                </a:solidFill>
                <a:cs typeface="Arial"/>
              </a:rPr>
              <a:t>Робототехника</a:t>
            </a:r>
            <a:endParaRPr sz="900" dirty="0">
              <a:solidFill>
                <a:prstClr val="black"/>
              </a:solidFill>
              <a:cs typeface="Arial"/>
            </a:endParaRPr>
          </a:p>
        </p:txBody>
      </p:sp>
      <p:sp>
        <p:nvSpPr>
          <p:cNvPr id="50" name="object 29"/>
          <p:cNvSpPr txBox="1"/>
          <p:nvPr/>
        </p:nvSpPr>
        <p:spPr>
          <a:xfrm>
            <a:off x="4810219" y="1304705"/>
            <a:ext cx="1656000" cy="990426"/>
          </a:xfrm>
          <a:prstGeom prst="rect">
            <a:avLst/>
          </a:prstGeom>
          <a:solidFill>
            <a:schemeClr val="bg2">
              <a:alpha val="50000"/>
            </a:schemeClr>
          </a:solidFill>
        </p:spPr>
        <p:txBody>
          <a:bodyPr vert="horz" wrap="square" lIns="0" tIns="5487" rIns="0" bIns="0" rtlCol="0">
            <a:noAutofit/>
          </a:bodyPr>
          <a:lstStyle/>
          <a:p>
            <a:pPr marL="5776" marR="170676" lvl="0" indent="0" defTabSz="685800" eaLnBrk="1" fontAlgn="auto" latinLnBrk="0" hangingPunct="1">
              <a:lnSpc>
                <a:spcPct val="100000"/>
              </a:lnSpc>
              <a:spcBef>
                <a:spcPts val="43"/>
              </a:spcBef>
              <a:spcAft>
                <a:spcPts val="0"/>
              </a:spcAft>
              <a:buClrTx/>
              <a:buSzTx/>
              <a:buFontTx/>
              <a:buNone/>
              <a:tabLst>
                <a:tab pos="91547" algn="l"/>
              </a:tabLst>
              <a:defRPr/>
            </a:pPr>
            <a:r>
              <a:rPr kumimoji="0" lang="ru-RU" sz="900" b="0" i="0" u="none" strike="noStrike" kern="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/>
              </a:rPr>
              <a:t>Модели-советчики</a:t>
            </a:r>
            <a:endParaRPr kumimoji="0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Arial"/>
            </a:endParaRPr>
          </a:p>
          <a:p>
            <a:pPr marL="5776" marR="15017" lvl="0" indent="0" defTabSz="6858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91547" algn="l"/>
              </a:tabLst>
              <a:defRPr/>
            </a:pPr>
            <a:r>
              <a:rPr kumimoji="0" lang="ru-RU" sz="900" b="0" i="0" u="none" strike="noStrike" kern="0" cap="none" spc="-2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/>
              </a:rPr>
              <a:t>Системы поддержки принятия решений на производстве</a:t>
            </a:r>
            <a:endParaRPr kumimoji="0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Arial"/>
            </a:endParaRPr>
          </a:p>
          <a:p>
            <a:pPr marL="5776" marR="173275" lvl="0" indent="0" defTabSz="685800" eaLnBrk="1" fontAlgn="auto" latinLnBrk="0" hangingPunct="1">
              <a:lnSpc>
                <a:spcPct val="100000"/>
              </a:lnSpc>
              <a:spcBef>
                <a:spcPts val="598"/>
              </a:spcBef>
              <a:spcAft>
                <a:spcPts val="0"/>
              </a:spcAft>
              <a:buClrTx/>
              <a:buSzTx/>
              <a:buFontTx/>
              <a:buNone/>
              <a:tabLst>
                <a:tab pos="91547" algn="l"/>
              </a:tabLst>
              <a:defRPr/>
            </a:pPr>
            <a:r>
              <a:rPr kumimoji="0" lang="ru-RU" sz="900" b="0" i="0" u="none" strike="noStrike" kern="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/>
              </a:rPr>
              <a:t>Динамическое ценнобразование</a:t>
            </a:r>
            <a:endParaRPr kumimoji="0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Arial"/>
            </a:endParaRPr>
          </a:p>
        </p:txBody>
      </p:sp>
      <p:sp>
        <p:nvSpPr>
          <p:cNvPr id="51" name="object 30"/>
          <p:cNvSpPr txBox="1"/>
          <p:nvPr/>
        </p:nvSpPr>
        <p:spPr>
          <a:xfrm>
            <a:off x="6858564" y="1304705"/>
            <a:ext cx="1926662" cy="990426"/>
          </a:xfrm>
          <a:prstGeom prst="rect">
            <a:avLst/>
          </a:prstGeom>
          <a:solidFill>
            <a:schemeClr val="bg2">
              <a:alpha val="50000"/>
            </a:schemeClr>
          </a:solidFill>
        </p:spPr>
        <p:txBody>
          <a:bodyPr vert="horz" wrap="square" lIns="0" tIns="5487" rIns="0" bIns="0" rtlCol="0">
            <a:noAutofit/>
          </a:bodyPr>
          <a:lstStyle/>
          <a:p>
            <a:pPr lvl="0" defTabSz="779163">
              <a:defRPr/>
            </a:pPr>
            <a:r>
              <a:rPr lang="ru-RU" sz="900" dirty="0">
                <a:solidFill>
                  <a:srgbClr val="000000"/>
                </a:solidFill>
              </a:rPr>
              <a:t>Комплексные ИТ-решения для обходов и ремонтов оборудования</a:t>
            </a:r>
            <a:endParaRPr lang="en-US" sz="900" dirty="0">
              <a:solidFill>
                <a:srgbClr val="000000"/>
              </a:solidFill>
            </a:endParaRPr>
          </a:p>
          <a:p>
            <a:pPr marL="5776" marR="2310" lvl="0" indent="0" defTabSz="6858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91547" algn="l"/>
              </a:tabLst>
              <a:defRPr/>
            </a:pPr>
            <a:r>
              <a:rPr kumimoji="0" sz="900" b="0" i="0" u="none" strike="noStrike" kern="0" cap="none" spc="-5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/>
              </a:rPr>
              <a:t>Цифровизация</a:t>
            </a:r>
            <a:r>
              <a:rPr kumimoji="0" sz="900" b="0" i="0" u="none" strike="noStrike" kern="0" cap="none" spc="-5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/>
              </a:rPr>
              <a:t> </a:t>
            </a:r>
            <a:r>
              <a:rPr kumimoji="0" sz="900" b="0" i="0" u="none" strike="noStrike" kern="0" cap="none" spc="-5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/>
              </a:rPr>
              <a:t>нарядов</a:t>
            </a:r>
            <a:r>
              <a:rPr kumimoji="0" sz="900" b="0" i="0" u="none" strike="noStrike" kern="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/>
              </a:rPr>
              <a:t>- </a:t>
            </a:r>
            <a:r>
              <a:rPr kumimoji="0" sz="900" b="0" i="0" u="none" strike="noStrike" kern="0" cap="none" spc="-5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/>
              </a:rPr>
              <a:t>допусков</a:t>
            </a:r>
            <a:endParaRPr kumimoji="0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Arial"/>
            </a:endParaRPr>
          </a:p>
          <a:p>
            <a:pPr marL="5776" marR="36099" defTabSz="685800">
              <a:spcBef>
                <a:spcPts val="598"/>
              </a:spcBef>
              <a:tabLst>
                <a:tab pos="91547" algn="l"/>
              </a:tabLst>
              <a:defRPr/>
            </a:pPr>
            <a:r>
              <a:rPr kumimoji="0" lang="ru-RU" sz="900" b="0" i="0" u="none" strike="noStrike" kern="0" cap="none" spc="-2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/>
              </a:rPr>
              <a:t>Цировизация</a:t>
            </a:r>
            <a:r>
              <a:rPr kumimoji="0" lang="ru-RU" sz="900" b="0" i="0" u="none" strike="noStrike" kern="0" cap="none" spc="-2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/>
              </a:rPr>
              <a:t> </a:t>
            </a:r>
            <a:r>
              <a:rPr kumimoji="0" lang="ru-RU" sz="900" b="0" i="0" u="none" strike="noStrike" kern="0" cap="none" spc="-2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/>
              </a:rPr>
              <a:t>решения для бизнеса: </a:t>
            </a:r>
            <a:r>
              <a:rPr lang="ru-RU" sz="900" dirty="0" err="1">
                <a:solidFill>
                  <a:srgbClr val="000000"/>
                </a:solidFill>
              </a:rPr>
              <a:t>Лидогенерация</a:t>
            </a:r>
            <a:r>
              <a:rPr lang="ru-RU" sz="900" dirty="0">
                <a:solidFill>
                  <a:srgbClr val="000000"/>
                </a:solidFill>
              </a:rPr>
              <a:t> и экосистема ценообразования </a:t>
            </a:r>
            <a:endParaRPr lang="en-US" sz="900" dirty="0">
              <a:solidFill>
                <a:srgbClr val="000000"/>
              </a:solidFill>
            </a:endParaRPr>
          </a:p>
          <a:p>
            <a:pPr marL="5776" marR="36099" lvl="0" indent="0" defTabSz="685800" eaLnBrk="1" fontAlgn="auto" latinLnBrk="0" hangingPunct="1">
              <a:lnSpc>
                <a:spcPct val="100000"/>
              </a:lnSpc>
              <a:spcBef>
                <a:spcPts val="598"/>
              </a:spcBef>
              <a:spcAft>
                <a:spcPts val="0"/>
              </a:spcAft>
              <a:buClrTx/>
              <a:buSzTx/>
              <a:buFontTx/>
              <a:buNone/>
              <a:tabLst>
                <a:tab pos="91547" algn="l"/>
              </a:tabLst>
              <a:defRPr/>
            </a:pPr>
            <a:endParaRPr kumimoji="0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Arial"/>
            </a:endParaRPr>
          </a:p>
        </p:txBody>
      </p:sp>
      <p:sp>
        <p:nvSpPr>
          <p:cNvPr id="52" name="object 31"/>
          <p:cNvSpPr txBox="1"/>
          <p:nvPr/>
        </p:nvSpPr>
        <p:spPr>
          <a:xfrm>
            <a:off x="4810219" y="3566426"/>
            <a:ext cx="1656000" cy="928870"/>
          </a:xfrm>
          <a:prstGeom prst="rect">
            <a:avLst/>
          </a:prstGeom>
          <a:solidFill>
            <a:schemeClr val="bg2">
              <a:alpha val="50000"/>
            </a:schemeClr>
          </a:solidFill>
        </p:spPr>
        <p:txBody>
          <a:bodyPr vert="horz" wrap="square" lIns="0" tIns="5487" rIns="0" bIns="0" rtlCol="0">
            <a:noAutofit/>
          </a:bodyPr>
          <a:lstStyle/>
          <a:p>
            <a:pPr marL="5776" marR="0" lvl="0" indent="0" defTabSz="685800" eaLnBrk="1" fontAlgn="auto" latinLnBrk="0" hangingPunct="1">
              <a:lnSpc>
                <a:spcPct val="100000"/>
              </a:lnSpc>
              <a:spcBef>
                <a:spcPts val="43"/>
              </a:spcBef>
              <a:spcAft>
                <a:spcPts val="0"/>
              </a:spcAft>
              <a:buClrTx/>
              <a:buSzTx/>
              <a:buFontTx/>
              <a:buNone/>
              <a:tabLst>
                <a:tab pos="91547" algn="l"/>
              </a:tabLst>
              <a:defRPr/>
            </a:pPr>
            <a:r>
              <a:rPr kumimoji="0" sz="900" b="0" i="0" u="none" strike="noStrike" kern="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/>
              </a:rPr>
              <a:t>IIoT-датчики </a:t>
            </a:r>
            <a:r>
              <a:rPr kumimoji="0" sz="900" b="0" i="0" u="none" strike="noStrike" kern="0" cap="none" spc="-2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/>
              </a:rPr>
              <a:t>на</a:t>
            </a:r>
            <a:r>
              <a:rPr kumimoji="0" sz="900" b="0" i="0" u="none" strike="noStrike" kern="0" cap="none" spc="-2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/>
              </a:rPr>
              <a:t> </a:t>
            </a:r>
            <a:r>
              <a:rPr kumimoji="0" sz="900" b="0" i="0" u="none" strike="noStrike" kern="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/>
              </a:rPr>
              <a:t>производстве</a:t>
            </a:r>
            <a:endParaRPr kumimoji="0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Arial"/>
            </a:endParaRPr>
          </a:p>
          <a:p>
            <a:pPr marL="5776" marR="318825" lvl="0" indent="0" defTabSz="6858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91547" algn="l"/>
              </a:tabLst>
              <a:defRPr/>
            </a:pPr>
            <a:r>
              <a:rPr kumimoji="0" sz="900" b="0" i="0" u="none" strike="noStrike" kern="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/>
              </a:rPr>
              <a:t>Системы </a:t>
            </a:r>
            <a:r>
              <a:rPr kumimoji="0" sz="900" b="0" i="0" u="none" strike="noStrike" kern="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/>
              </a:rPr>
              <a:t>тех</a:t>
            </a:r>
            <a:r>
              <a:rPr kumimoji="0" lang="en-US" sz="900" b="0" i="0" u="none" strike="noStrike" kern="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/>
              </a:rPr>
              <a:t>.</a:t>
            </a:r>
            <a:r>
              <a:rPr kumimoji="0" sz="900" b="0" i="0" u="none" strike="noStrike" kern="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/>
              </a:rPr>
              <a:t>  </a:t>
            </a:r>
            <a:r>
              <a:rPr kumimoji="0" sz="900" b="0" i="0" u="none" strike="noStrike" kern="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/>
              </a:rPr>
              <a:t>зрения</a:t>
            </a:r>
            <a:endParaRPr kumimoji="0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Arial"/>
            </a:endParaRPr>
          </a:p>
          <a:p>
            <a:pPr marL="5776" marR="243162" lvl="0" indent="0" defTabSz="685800" eaLnBrk="1" fontAlgn="auto" latinLnBrk="0" hangingPunct="1">
              <a:lnSpc>
                <a:spcPct val="100000"/>
              </a:lnSpc>
              <a:spcBef>
                <a:spcPts val="598"/>
              </a:spcBef>
              <a:spcAft>
                <a:spcPts val="0"/>
              </a:spcAft>
              <a:buClrTx/>
              <a:buSzTx/>
              <a:buFontTx/>
              <a:buNone/>
              <a:tabLst>
                <a:tab pos="91547" algn="l"/>
              </a:tabLst>
              <a:defRPr/>
            </a:pPr>
            <a:r>
              <a:rPr kumimoji="0" sz="900" b="0" i="0" u="none" strike="noStrike" kern="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/>
              </a:rPr>
              <a:t>Платформа </a:t>
            </a:r>
            <a:r>
              <a:rPr kumimoji="0" sz="900" b="0" i="0" u="none" strike="noStrike" kern="0" cap="none" spc="-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/>
              </a:rPr>
              <a:t>«Удаленный  </a:t>
            </a:r>
            <a:r>
              <a:rPr kumimoji="0" sz="900" b="0" i="0" u="none" strike="noStrike" kern="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/>
              </a:rPr>
              <a:t>Эксперт</a:t>
            </a:r>
            <a:r>
              <a:rPr kumimoji="0" lang="ru-RU" sz="900" b="0" i="0" u="none" strike="noStrike" kern="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/>
              </a:rPr>
              <a:t> </a:t>
            </a:r>
            <a:r>
              <a:rPr kumimoji="0" lang="en-US" sz="900" b="0" i="0" u="none" strike="noStrike" kern="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/>
              </a:rPr>
              <a:t>AR</a:t>
            </a:r>
            <a:r>
              <a:rPr kumimoji="0" sz="900" b="0" i="0" u="none" strike="noStrike" kern="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/>
              </a:rPr>
              <a:t>» </a:t>
            </a:r>
            <a:endParaRPr kumimoji="0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Arial"/>
            </a:endParaRPr>
          </a:p>
          <a:p>
            <a:pPr marL="5776" marR="160856" lvl="0" indent="0" defTabSz="6858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91547" algn="l"/>
              </a:tabLst>
              <a:defRPr/>
            </a:pPr>
            <a:r>
              <a:rPr kumimoji="0" lang="ru-RU" sz="900" b="0" i="0" u="none" strike="noStrike" kern="0" cap="none" spc="-2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/>
              </a:rPr>
              <a:t>БПЛА</a:t>
            </a:r>
            <a:endParaRPr kumimoji="0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Arial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6858564" y="2978274"/>
            <a:ext cx="1668215" cy="144040"/>
          </a:xfrm>
          <a:prstGeom prst="rect">
            <a:avLst/>
          </a:prstGeom>
        </p:spPr>
        <p:txBody>
          <a:bodyPr vert="horz" wrap="square" lIns="0" tIns="5487" rIns="0" bIns="0" rtlCol="0">
            <a:spAutoFit/>
          </a:bodyPr>
          <a:lstStyle/>
          <a:p>
            <a:pPr lvl="0" defTabSz="779163">
              <a:defRPr/>
            </a:pPr>
            <a:r>
              <a:rPr lang="en-US" sz="900" dirty="0">
                <a:solidFill>
                  <a:srgbClr val="000000"/>
                </a:solidFill>
              </a:rPr>
              <a:t>Real Time Optimization </a:t>
            </a:r>
            <a:r>
              <a:rPr lang="ru-RU" sz="900" dirty="0">
                <a:solidFill>
                  <a:srgbClr val="000000"/>
                </a:solidFill>
              </a:rPr>
              <a:t>(</a:t>
            </a:r>
            <a:r>
              <a:rPr lang="en-US" sz="900" dirty="0">
                <a:solidFill>
                  <a:srgbClr val="000000"/>
                </a:solidFill>
              </a:rPr>
              <a:t>RTO</a:t>
            </a:r>
            <a:r>
              <a:rPr lang="ru-RU" sz="900" dirty="0">
                <a:solidFill>
                  <a:srgbClr val="000000"/>
                </a:solidFill>
              </a:rPr>
              <a:t>)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55" name="object 28"/>
          <p:cNvSpPr txBox="1"/>
          <p:nvPr/>
        </p:nvSpPr>
        <p:spPr>
          <a:xfrm>
            <a:off x="6858565" y="2758550"/>
            <a:ext cx="1834303" cy="144040"/>
          </a:xfrm>
          <a:prstGeom prst="rect">
            <a:avLst/>
          </a:prstGeom>
        </p:spPr>
        <p:txBody>
          <a:bodyPr vert="horz" wrap="square" lIns="0" tIns="5487" rIns="0" bIns="0" rtlCol="0">
            <a:spAutoFit/>
          </a:bodyPr>
          <a:lstStyle/>
          <a:p>
            <a:pPr lvl="0" defTabSz="779163">
              <a:defRPr/>
            </a:pPr>
            <a:r>
              <a:rPr lang="ru-RU" sz="900" dirty="0">
                <a:solidFill>
                  <a:srgbClr val="000000"/>
                </a:solidFill>
              </a:rPr>
              <a:t>Системы АСУТП и СУУТП</a:t>
            </a:r>
          </a:p>
        </p:txBody>
      </p:sp>
      <p:sp>
        <p:nvSpPr>
          <p:cNvPr id="60" name="Прямоугольник 210">
            <a:extLst>
              <a:ext uri="{FF2B5EF4-FFF2-40B4-BE49-F238E27FC236}">
                <a16:creationId xmlns:a16="http://schemas.microsoft.com/office/drawing/2014/main" id="{73184FA5-D825-47F2-801E-D7D8E724EFDC}"/>
              </a:ext>
            </a:extLst>
          </p:cNvPr>
          <p:cNvSpPr/>
          <p:nvPr/>
        </p:nvSpPr>
        <p:spPr bwMode="auto">
          <a:xfrm>
            <a:off x="4724400" y="2623462"/>
            <a:ext cx="1910080" cy="1927902"/>
          </a:xfrm>
          <a:prstGeom prst="rect">
            <a:avLst/>
          </a:prstGeom>
          <a:noFill/>
          <a:ln w="12700" cap="flat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36000" bIns="0" numCol="1" spcCol="0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8781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7" name="object 6"/>
          <p:cNvSpPr txBox="1"/>
          <p:nvPr/>
        </p:nvSpPr>
        <p:spPr>
          <a:xfrm>
            <a:off x="4810219" y="2497389"/>
            <a:ext cx="1285781" cy="21600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6065" rIns="0" bIns="0" rtlCol="0" anchor="ctr">
            <a:noAutofit/>
          </a:bodyPr>
          <a:lstStyle/>
          <a:p>
            <a:pPr marL="5776" marR="0" lvl="0" indent="0" defTabSz="68580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rPr>
              <a:t>Индустрия</a:t>
            </a:r>
            <a:r>
              <a:rPr kumimoji="0" lang="ru-RU" sz="1400" b="1" i="0" u="none" strike="noStrike" kern="0" cap="none" spc="-2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rPr>
              <a:t> 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rPr>
              <a:t>4.0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61" name="Прямоугольник 210">
            <a:extLst>
              <a:ext uri="{FF2B5EF4-FFF2-40B4-BE49-F238E27FC236}">
                <a16:creationId xmlns:a16="http://schemas.microsoft.com/office/drawing/2014/main" id="{73184FA5-D825-47F2-801E-D7D8E724EFDC}"/>
              </a:ext>
            </a:extLst>
          </p:cNvPr>
          <p:cNvSpPr/>
          <p:nvPr/>
        </p:nvSpPr>
        <p:spPr bwMode="auto">
          <a:xfrm>
            <a:off x="4724400" y="461560"/>
            <a:ext cx="1910080" cy="1927902"/>
          </a:xfrm>
          <a:prstGeom prst="rect">
            <a:avLst/>
          </a:prstGeom>
          <a:noFill/>
          <a:ln w="12700" cap="flat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36000" bIns="0" numCol="1" spcCol="0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8781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62" name="Прямоугольник 210">
            <a:extLst>
              <a:ext uri="{FF2B5EF4-FFF2-40B4-BE49-F238E27FC236}">
                <a16:creationId xmlns:a16="http://schemas.microsoft.com/office/drawing/2014/main" id="{73184FA5-D825-47F2-801E-D7D8E724EFDC}"/>
              </a:ext>
            </a:extLst>
          </p:cNvPr>
          <p:cNvSpPr/>
          <p:nvPr/>
        </p:nvSpPr>
        <p:spPr bwMode="auto">
          <a:xfrm>
            <a:off x="6767336" y="461560"/>
            <a:ext cx="2017890" cy="1927902"/>
          </a:xfrm>
          <a:prstGeom prst="rect">
            <a:avLst/>
          </a:prstGeom>
          <a:noFill/>
          <a:ln w="12700" cap="flat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36000" bIns="0" numCol="1" spcCol="0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8781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63" name="Прямоугольник 210">
            <a:extLst>
              <a:ext uri="{FF2B5EF4-FFF2-40B4-BE49-F238E27FC236}">
                <a16:creationId xmlns:a16="http://schemas.microsoft.com/office/drawing/2014/main" id="{73184FA5-D825-47F2-801E-D7D8E724EFDC}"/>
              </a:ext>
            </a:extLst>
          </p:cNvPr>
          <p:cNvSpPr/>
          <p:nvPr/>
        </p:nvSpPr>
        <p:spPr bwMode="auto">
          <a:xfrm>
            <a:off x="6767336" y="2623461"/>
            <a:ext cx="2017890" cy="1927902"/>
          </a:xfrm>
          <a:prstGeom prst="rect">
            <a:avLst/>
          </a:prstGeom>
          <a:noFill/>
          <a:ln w="12700" cap="flat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36000" bIns="0" numCol="1" spcCol="0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8781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6" name="object 4"/>
          <p:cNvSpPr txBox="1"/>
          <p:nvPr/>
        </p:nvSpPr>
        <p:spPr>
          <a:xfrm>
            <a:off x="4810219" y="331330"/>
            <a:ext cx="970394" cy="21600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6065" rIns="0" bIns="0" rtlCol="0" anchor="ctr">
            <a:noAutofit/>
          </a:bodyPr>
          <a:lstStyle/>
          <a:p>
            <a:pPr marL="118693" marR="2310" lvl="0" indent="-113207" defTabSz="68580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rPr>
              <a:t>Аналитика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58" name="object 6"/>
          <p:cNvSpPr txBox="1"/>
          <p:nvPr/>
        </p:nvSpPr>
        <p:spPr>
          <a:xfrm>
            <a:off x="6805225" y="2497389"/>
            <a:ext cx="1944000" cy="21600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6065" rIns="0" bIns="0" rtlCol="0" anchor="ctr">
            <a:noAutofit/>
          </a:bodyPr>
          <a:lstStyle/>
          <a:p>
            <a:pPr marL="5776" marR="0" lvl="0" indent="0" defTabSz="68580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rPr>
              <a:t>Производство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59" name="object 6"/>
          <p:cNvSpPr txBox="1"/>
          <p:nvPr/>
        </p:nvSpPr>
        <p:spPr>
          <a:xfrm>
            <a:off x="6805225" y="331330"/>
            <a:ext cx="1944000" cy="21600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6065" rIns="0" bIns="0" rtlCol="0" anchor="ctr">
            <a:noAutofit/>
          </a:bodyPr>
          <a:lstStyle/>
          <a:p>
            <a:pPr marL="5776" marR="0" lvl="0" indent="0" defTabSz="68580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rPr>
              <a:t>Цифровые процессы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73" name="Parallelogram 198">
            <a:extLst>
              <a:ext uri="{FF2B5EF4-FFF2-40B4-BE49-F238E27FC236}">
                <a16:creationId xmlns:a16="http://schemas.microsoft.com/office/drawing/2014/main" id="{0BC54104-ACBD-4B64-A7D1-29E964E1E706}"/>
              </a:ext>
            </a:extLst>
          </p:cNvPr>
          <p:cNvSpPr/>
          <p:nvPr/>
        </p:nvSpPr>
        <p:spPr>
          <a:xfrm>
            <a:off x="3156561" y="2706620"/>
            <a:ext cx="1415439" cy="1661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0" bIns="0" rtlCol="0" anchor="ctr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ru-RU" sz="1200" b="1" spc="15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Роботизация</a:t>
            </a:r>
          </a:p>
        </p:txBody>
      </p:sp>
      <p:sp>
        <p:nvSpPr>
          <p:cNvPr id="74" name="Parallelogram 198">
            <a:extLst>
              <a:ext uri="{FF2B5EF4-FFF2-40B4-BE49-F238E27FC236}">
                <a16:creationId xmlns:a16="http://schemas.microsoft.com/office/drawing/2014/main" id="{0BC54104-ACBD-4B64-A7D1-29E964E1E706}"/>
              </a:ext>
            </a:extLst>
          </p:cNvPr>
          <p:cNvSpPr/>
          <p:nvPr/>
        </p:nvSpPr>
        <p:spPr>
          <a:xfrm>
            <a:off x="62946" y="4225852"/>
            <a:ext cx="1415439" cy="166199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/>
        </p:spPr>
        <p:txBody>
          <a:bodyPr wrap="square" lIns="72000" tIns="0" rIns="0" bIns="0" rtlCol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15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AR-</a:t>
            </a:r>
            <a:r>
              <a:rPr kumimoji="0" lang="ru-RU" sz="1200" b="1" i="0" u="none" strike="noStrike" kern="0" cap="none" spc="15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платформа</a:t>
            </a:r>
          </a:p>
        </p:txBody>
      </p:sp>
      <p:sp>
        <p:nvSpPr>
          <p:cNvPr id="75" name="Parallelogram 198">
            <a:extLst>
              <a:ext uri="{FF2B5EF4-FFF2-40B4-BE49-F238E27FC236}">
                <a16:creationId xmlns:a16="http://schemas.microsoft.com/office/drawing/2014/main" id="{0BC54104-ACBD-4B64-A7D1-29E964E1E706}"/>
              </a:ext>
            </a:extLst>
          </p:cNvPr>
          <p:cNvSpPr/>
          <p:nvPr/>
        </p:nvSpPr>
        <p:spPr>
          <a:xfrm>
            <a:off x="1554845" y="4142752"/>
            <a:ext cx="1415439" cy="332399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/>
        </p:spPr>
        <p:txBody>
          <a:bodyPr wrap="square" lIns="72000" tIns="0" rIns="0" bIns="0" rtlCol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15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Мобильный ТОиР</a:t>
            </a:r>
          </a:p>
        </p:txBody>
      </p:sp>
      <p:sp>
        <p:nvSpPr>
          <p:cNvPr id="87" name="Прямоугольник 86"/>
          <p:cNvSpPr/>
          <p:nvPr/>
        </p:nvSpPr>
        <p:spPr bwMode="auto">
          <a:xfrm>
            <a:off x="3055267" y="0"/>
            <a:ext cx="1522800" cy="15228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2" name="Полилиния 81"/>
          <p:cNvSpPr>
            <a:spLocks noChangeAspect="1"/>
          </p:cNvSpPr>
          <p:nvPr/>
        </p:nvSpPr>
        <p:spPr bwMode="auto">
          <a:xfrm>
            <a:off x="3055267" y="0"/>
            <a:ext cx="1522800" cy="15228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grpSp>
        <p:nvGrpSpPr>
          <p:cNvPr id="88" name="Группа 87"/>
          <p:cNvGrpSpPr>
            <a:grpSpLocks noChangeAspect="1"/>
          </p:cNvGrpSpPr>
          <p:nvPr/>
        </p:nvGrpSpPr>
        <p:grpSpPr>
          <a:xfrm>
            <a:off x="3055265" y="3028563"/>
            <a:ext cx="1522802" cy="1522800"/>
            <a:chOff x="1951174" y="4132044"/>
            <a:chExt cx="1332000" cy="1332000"/>
          </a:xfrm>
        </p:grpSpPr>
        <p:sp>
          <p:nvSpPr>
            <p:cNvPr id="89" name="Прямоугольник 88"/>
            <p:cNvSpPr/>
            <p:nvPr/>
          </p:nvSpPr>
          <p:spPr bwMode="auto">
            <a:xfrm>
              <a:off x="1951174" y="4132044"/>
              <a:ext cx="1332000" cy="1332000"/>
            </a:xfrm>
            <a:prstGeom prst="rect">
              <a:avLst/>
            </a:pr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Кольцо 89"/>
            <p:cNvSpPr>
              <a:spLocks noChangeAspect="1"/>
            </p:cNvSpPr>
            <p:nvPr/>
          </p:nvSpPr>
          <p:spPr bwMode="auto">
            <a:xfrm>
              <a:off x="2058593" y="4239463"/>
              <a:ext cx="1117161" cy="1117161"/>
            </a:xfrm>
            <a:prstGeom prst="donut">
              <a:avLst>
                <a:gd name="adj" fmla="val 29966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Овал 90"/>
            <p:cNvSpPr>
              <a:spLocks noChangeAspect="1"/>
            </p:cNvSpPr>
            <p:nvPr/>
          </p:nvSpPr>
          <p:spPr bwMode="auto">
            <a:xfrm>
              <a:off x="2380851" y="4561721"/>
              <a:ext cx="472645" cy="472645"/>
            </a:xfrm>
            <a:prstGeom prst="ellipse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5" name="Прямоугольник 34"/>
          <p:cNvSpPr/>
          <p:nvPr/>
        </p:nvSpPr>
        <p:spPr>
          <a:xfrm>
            <a:off x="6858564" y="3176366"/>
            <a:ext cx="1668215" cy="144040"/>
          </a:xfrm>
          <a:prstGeom prst="rect">
            <a:avLst/>
          </a:prstGeom>
        </p:spPr>
        <p:txBody>
          <a:bodyPr vert="horz" wrap="square" lIns="0" tIns="5487" rIns="0" bIns="0" rtlCol="0">
            <a:spAutoFit/>
          </a:bodyPr>
          <a:lstStyle/>
          <a:p>
            <a:pPr lvl="0" defTabSz="779163">
              <a:defRPr/>
            </a:pPr>
            <a:r>
              <a:rPr lang="ru-RU" sz="900" dirty="0">
                <a:solidFill>
                  <a:srgbClr val="000000"/>
                </a:solidFill>
              </a:rPr>
              <a:t>Система ЭКОНС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6864420" y="3366783"/>
            <a:ext cx="1668215" cy="282539"/>
          </a:xfrm>
          <a:prstGeom prst="rect">
            <a:avLst/>
          </a:prstGeom>
        </p:spPr>
        <p:txBody>
          <a:bodyPr vert="horz" wrap="square" lIns="0" tIns="5487" rIns="0" bIns="0" rtlCol="0">
            <a:spAutoFit/>
          </a:bodyPr>
          <a:lstStyle/>
          <a:p>
            <a:pPr lvl="0" defTabSz="779163">
              <a:defRPr/>
            </a:pPr>
            <a:r>
              <a:rPr lang="ru-RU" sz="900" dirty="0">
                <a:solidFill>
                  <a:srgbClr val="000000"/>
                </a:solidFill>
              </a:rPr>
              <a:t>Цифровые решения для безопасности на производстве</a:t>
            </a:r>
            <a:endParaRPr lang="en-US" sz="9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477815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2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/>
          <p:cNvSpPr>
            <a:spLocks noChangeAspect="1"/>
          </p:cNvSpPr>
          <p:nvPr/>
        </p:nvSpPr>
        <p:spPr bwMode="auto">
          <a:xfrm>
            <a:off x="1470" y="1131888"/>
            <a:ext cx="1522802" cy="3430975"/>
          </a:xfrm>
          <a:prstGeom prst="rect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sz="1350" b="1">
              <a:latin typeface="Arial" charset="0"/>
            </a:endParaRPr>
          </a:p>
        </p:txBody>
      </p:sp>
      <p:sp>
        <p:nvSpPr>
          <p:cNvPr id="41" name="Прямоугольник 40"/>
          <p:cNvSpPr>
            <a:spLocks noChangeAspect="1"/>
          </p:cNvSpPr>
          <p:nvPr/>
        </p:nvSpPr>
        <p:spPr bwMode="auto">
          <a:xfrm>
            <a:off x="1525334" y="1131888"/>
            <a:ext cx="1522802" cy="34309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sz="1350" b="1">
              <a:latin typeface="Arial" charset="0"/>
            </a:endParaRPr>
          </a:p>
        </p:txBody>
      </p:sp>
      <p:sp>
        <p:nvSpPr>
          <p:cNvPr id="42" name="Прямоугольник 41"/>
          <p:cNvSpPr>
            <a:spLocks noChangeAspect="1"/>
          </p:cNvSpPr>
          <p:nvPr/>
        </p:nvSpPr>
        <p:spPr bwMode="auto">
          <a:xfrm>
            <a:off x="3049198" y="1131888"/>
            <a:ext cx="1522802" cy="3430975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sz="1350" b="1">
              <a:latin typeface="Arial" charset="0"/>
            </a:endParaRPr>
          </a:p>
        </p:txBody>
      </p:sp>
      <p:sp>
        <p:nvSpPr>
          <p:cNvPr id="39" name="Прямоугольник 38"/>
          <p:cNvSpPr>
            <a:spLocks noChangeAspect="1"/>
          </p:cNvSpPr>
          <p:nvPr/>
        </p:nvSpPr>
        <p:spPr bwMode="auto">
          <a:xfrm>
            <a:off x="4572000" y="3040063"/>
            <a:ext cx="1522802" cy="15228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sz="1350" b="1">
              <a:latin typeface="Arial" charset="0"/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358775" y="339725"/>
            <a:ext cx="4333883" cy="400897"/>
          </a:xfrm>
        </p:spPr>
        <p:txBody>
          <a:bodyPr vert="horz"/>
          <a:lstStyle/>
          <a:p>
            <a:r>
              <a:rPr lang="ru-RU" dirty="0"/>
              <a:t>Бренд работодателя – привлекаем </a:t>
            </a:r>
            <a:r>
              <a:rPr lang="ru-RU" dirty="0" smtClean="0"/>
              <a:t>лучших</a:t>
            </a:r>
            <a:endParaRPr lang="ru-RU" dirty="0"/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О </a:t>
            </a:r>
            <a:r>
              <a:rPr lang="ru-RU" dirty="0" err="1" smtClean="0"/>
              <a:t>СИБУРе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1</a:t>
            </a:fld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3298684" y="1696655"/>
            <a:ext cx="1153263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0525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sz="1000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м</a:t>
            </a:r>
            <a:r>
              <a:rPr lang="ru-RU" sz="1000" kern="0" dirty="0" smtClean="0">
                <a:solidFill>
                  <a:schemeClr val="tx2"/>
                </a:solidFill>
                <a:latin typeface="Arial"/>
                <a:cs typeface="Arial"/>
                <a:sym typeface="Arial"/>
              </a:rPr>
              <a:t>олодых специалистов </a:t>
            </a:r>
            <a:r>
              <a:rPr lang="ru-RU" sz="1000" b="0" kern="0" dirty="0" smtClean="0">
                <a:solidFill>
                  <a:schemeClr val="tx2"/>
                </a:solidFill>
                <a:latin typeface="Arial"/>
                <a:cs typeface="Arial"/>
                <a:sym typeface="Arial"/>
              </a:rPr>
              <a:t>ежегодно </a:t>
            </a:r>
            <a:r>
              <a:rPr lang="ru-RU" sz="1000" b="0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приходят </a:t>
            </a:r>
            <a:r>
              <a:rPr lang="ru-RU" sz="1000" b="0" kern="0" dirty="0" smtClean="0">
                <a:solidFill>
                  <a:schemeClr val="tx2"/>
                </a:solidFill>
                <a:latin typeface="Arial"/>
                <a:cs typeface="Arial"/>
                <a:sym typeface="Arial"/>
              </a:rPr>
              <a:t>в компанию</a:t>
            </a:r>
            <a:endParaRPr lang="ru-RU" sz="1000" b="0" kern="0" dirty="0">
              <a:solidFill>
                <a:schemeClr val="tx2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262380" y="2809736"/>
            <a:ext cx="1020387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450525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sz="1000" b="0" kern="0" dirty="0" smtClean="0">
                <a:solidFill>
                  <a:schemeClr val="tx2"/>
                </a:solidFill>
                <a:latin typeface="Arial"/>
                <a:cs typeface="Arial"/>
                <a:sym typeface="Arial"/>
              </a:rPr>
              <a:t>успешно проходят адаптацию</a:t>
            </a:r>
            <a:endParaRPr lang="ru-RU" sz="1000" b="0" kern="0" dirty="0">
              <a:solidFill>
                <a:schemeClr val="tx2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258299" y="1272912"/>
            <a:ext cx="983994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defTabSz="450525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sz="2800" b="1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500+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3262380" y="2390917"/>
            <a:ext cx="1091665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defTabSz="450525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sz="2800" b="1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85%+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3258299" y="3374539"/>
            <a:ext cx="1083760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defTabSz="450525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sz="2800" b="1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35%+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3258299" y="3805426"/>
            <a:ext cx="1146911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450525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sz="1000" b="0" kern="0" dirty="0" smtClean="0">
                <a:solidFill>
                  <a:schemeClr val="tx2"/>
                </a:solidFill>
                <a:latin typeface="Arial"/>
                <a:cs typeface="Arial"/>
                <a:sym typeface="Arial"/>
              </a:rPr>
              <a:t>переходят </a:t>
            </a:r>
            <a:r>
              <a:rPr lang="ru-RU" sz="1000" b="0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на следующую </a:t>
            </a:r>
            <a:r>
              <a:rPr lang="ru-RU" sz="1000" b="0" kern="0" dirty="0" smtClean="0">
                <a:solidFill>
                  <a:schemeClr val="tx2"/>
                </a:solidFill>
                <a:latin typeface="Arial"/>
                <a:cs typeface="Arial"/>
                <a:sym typeface="Arial"/>
              </a:rPr>
              <a:t>карьерную ступень через 2-3 </a:t>
            </a:r>
            <a:r>
              <a:rPr lang="ru-RU" sz="1000" b="0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года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1662612" y="3159094"/>
            <a:ext cx="1314854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</a:rPr>
              <a:t>Первый элемент</a:t>
            </a:r>
          </a:p>
          <a:p>
            <a:r>
              <a:rPr lang="ru-RU" sz="1000" dirty="0" smtClean="0">
                <a:solidFill>
                  <a:schemeClr val="bg1"/>
                </a:solidFill>
              </a:rPr>
              <a:t>программа найма для </a:t>
            </a:r>
            <a:r>
              <a:rPr lang="ru-RU" sz="1000" dirty="0">
                <a:solidFill>
                  <a:schemeClr val="bg1"/>
                </a:solidFill>
              </a:rPr>
              <a:t>выпускников 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1662612" y="2435677"/>
            <a:ext cx="1384585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</a:rPr>
              <a:t>Траектория</a:t>
            </a:r>
          </a:p>
          <a:p>
            <a:r>
              <a:rPr lang="ru-RU" sz="1000" dirty="0" smtClean="0">
                <a:solidFill>
                  <a:schemeClr val="bg1"/>
                </a:solidFill>
              </a:rPr>
              <a:t>программа обучения для студентов</a:t>
            </a:r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4692658" y="3681854"/>
            <a:ext cx="131971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000" dirty="0" smtClean="0">
                <a:solidFill>
                  <a:schemeClr val="tx2"/>
                </a:solidFill>
              </a:rPr>
              <a:t>о </a:t>
            </a:r>
            <a:r>
              <a:rPr lang="ru-RU" sz="1000" dirty="0">
                <a:solidFill>
                  <a:schemeClr val="tx2"/>
                </a:solidFill>
              </a:rPr>
              <a:t>вакансиях компании, а также </a:t>
            </a:r>
            <a:r>
              <a:rPr lang="ru-RU" sz="1000" dirty="0" smtClean="0">
                <a:solidFill>
                  <a:schemeClr val="tx2"/>
                </a:solidFill>
              </a:rPr>
              <a:t>правилах отбора на: </a:t>
            </a:r>
            <a:r>
              <a:rPr lang="ru-RU" sz="1000" b="1" dirty="0">
                <a:solidFill>
                  <a:schemeClr val="tx2"/>
                </a:solidFill>
              </a:rPr>
              <a:t>https://career.sibur.ru</a:t>
            </a: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473" t="996" r="19073" b="24573"/>
          <a:stretch/>
        </p:blipFill>
        <p:spPr>
          <a:xfrm>
            <a:off x="4572000" y="0"/>
            <a:ext cx="4572002" cy="3040063"/>
          </a:xfrm>
          <a:prstGeom prst="rect">
            <a:avLst/>
          </a:prstGeom>
        </p:spPr>
      </p:pic>
      <p:sp>
        <p:nvSpPr>
          <p:cNvPr id="27" name="Прямоугольник 26"/>
          <p:cNvSpPr>
            <a:spLocks noChangeAspect="1"/>
          </p:cNvSpPr>
          <p:nvPr/>
        </p:nvSpPr>
        <p:spPr bwMode="auto">
          <a:xfrm>
            <a:off x="6096599" y="3040063"/>
            <a:ext cx="1522802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sz="1350" b="1">
              <a:latin typeface="Arial" charset="0"/>
            </a:endParaRPr>
          </a:p>
        </p:txBody>
      </p:sp>
      <p:grpSp>
        <p:nvGrpSpPr>
          <p:cNvPr id="31" name="Группа 30"/>
          <p:cNvGrpSpPr>
            <a:grpSpLocks noChangeAspect="1"/>
          </p:cNvGrpSpPr>
          <p:nvPr/>
        </p:nvGrpSpPr>
        <p:grpSpPr>
          <a:xfrm>
            <a:off x="7621198" y="3040063"/>
            <a:ext cx="1522802" cy="1522800"/>
            <a:chOff x="3163438" y="891651"/>
            <a:chExt cx="837001" cy="837000"/>
          </a:xfrm>
        </p:grpSpPr>
        <p:sp>
          <p:nvSpPr>
            <p:cNvPr id="32" name="Прямоугольник 49"/>
            <p:cNvSpPr>
              <a:spLocks noChangeAspect="1"/>
            </p:cNvSpPr>
            <p:nvPr/>
          </p:nvSpPr>
          <p:spPr bwMode="auto">
            <a:xfrm>
              <a:off x="3163438" y="891651"/>
              <a:ext cx="837001" cy="837000"/>
            </a:xfrm>
            <a:custGeom>
              <a:avLst/>
              <a:gdLst>
                <a:gd name="connsiteX0" fmla="*/ 0 w 837001"/>
                <a:gd name="connsiteY0" fmla="*/ 0 h 837000"/>
                <a:gd name="connsiteX1" fmla="*/ 837001 w 837001"/>
                <a:gd name="connsiteY1" fmla="*/ 0 h 837000"/>
                <a:gd name="connsiteX2" fmla="*/ 837001 w 837001"/>
                <a:gd name="connsiteY2" fmla="*/ 837000 h 837000"/>
                <a:gd name="connsiteX3" fmla="*/ 0 w 837001"/>
                <a:gd name="connsiteY3" fmla="*/ 837000 h 837000"/>
                <a:gd name="connsiteX4" fmla="*/ 0 w 837001"/>
                <a:gd name="connsiteY4" fmla="*/ 0 h 837000"/>
                <a:gd name="connsiteX0" fmla="*/ 0 w 837001"/>
                <a:gd name="connsiteY0" fmla="*/ 0 h 837000"/>
                <a:gd name="connsiteX1" fmla="*/ 837001 w 837001"/>
                <a:gd name="connsiteY1" fmla="*/ 0 h 837000"/>
                <a:gd name="connsiteX2" fmla="*/ 0 w 837001"/>
                <a:gd name="connsiteY2" fmla="*/ 837000 h 837000"/>
                <a:gd name="connsiteX3" fmla="*/ 0 w 837001"/>
                <a:gd name="connsiteY3" fmla="*/ 0 h 83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7001" h="837000">
                  <a:moveTo>
                    <a:pt x="0" y="0"/>
                  </a:moveTo>
                  <a:lnTo>
                    <a:pt x="837001" y="0"/>
                  </a:lnTo>
                  <a:lnTo>
                    <a:pt x="0" y="837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  <p:sp>
          <p:nvSpPr>
            <p:cNvPr id="33" name="Прямоугольник 50"/>
            <p:cNvSpPr>
              <a:spLocks noChangeAspect="1"/>
            </p:cNvSpPr>
            <p:nvPr/>
          </p:nvSpPr>
          <p:spPr bwMode="auto">
            <a:xfrm>
              <a:off x="3163438" y="891651"/>
              <a:ext cx="837001" cy="837000"/>
            </a:xfrm>
            <a:custGeom>
              <a:avLst/>
              <a:gdLst>
                <a:gd name="connsiteX0" fmla="*/ 0 w 837001"/>
                <a:gd name="connsiteY0" fmla="*/ 0 h 837000"/>
                <a:gd name="connsiteX1" fmla="*/ 837001 w 837001"/>
                <a:gd name="connsiteY1" fmla="*/ 0 h 837000"/>
                <a:gd name="connsiteX2" fmla="*/ 837001 w 837001"/>
                <a:gd name="connsiteY2" fmla="*/ 837000 h 837000"/>
                <a:gd name="connsiteX3" fmla="*/ 0 w 837001"/>
                <a:gd name="connsiteY3" fmla="*/ 837000 h 837000"/>
                <a:gd name="connsiteX4" fmla="*/ 0 w 837001"/>
                <a:gd name="connsiteY4" fmla="*/ 0 h 837000"/>
                <a:gd name="connsiteX0" fmla="*/ 0 w 837001"/>
                <a:gd name="connsiteY0" fmla="*/ 837000 h 837000"/>
                <a:gd name="connsiteX1" fmla="*/ 837001 w 837001"/>
                <a:gd name="connsiteY1" fmla="*/ 0 h 837000"/>
                <a:gd name="connsiteX2" fmla="*/ 837001 w 837001"/>
                <a:gd name="connsiteY2" fmla="*/ 837000 h 837000"/>
                <a:gd name="connsiteX3" fmla="*/ 0 w 837001"/>
                <a:gd name="connsiteY3" fmla="*/ 837000 h 83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7001" h="837000">
                  <a:moveTo>
                    <a:pt x="0" y="837000"/>
                  </a:moveTo>
                  <a:lnTo>
                    <a:pt x="837001" y="0"/>
                  </a:lnTo>
                  <a:lnTo>
                    <a:pt x="837001" y="837000"/>
                  </a:lnTo>
                  <a:lnTo>
                    <a:pt x="0" y="8370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</p:grpSp>
      <p:sp>
        <p:nvSpPr>
          <p:cNvPr id="34" name="Прямоугольник 33"/>
          <p:cNvSpPr/>
          <p:nvPr/>
        </p:nvSpPr>
        <p:spPr>
          <a:xfrm>
            <a:off x="362400" y="1272912"/>
            <a:ext cx="1118398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defTabSz="450525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sz="2800" b="1" kern="0" dirty="0" smtClean="0">
                <a:solidFill>
                  <a:schemeClr val="tx2"/>
                </a:solidFill>
                <a:latin typeface="Arial"/>
                <a:cs typeface="Arial"/>
                <a:sym typeface="Arial"/>
              </a:rPr>
              <a:t>2500</a:t>
            </a:r>
            <a:r>
              <a:rPr lang="ru-RU" sz="2800" b="1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+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373884" y="1696655"/>
            <a:ext cx="1088906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0525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sz="1000" kern="0" dirty="0" smtClean="0">
                <a:solidFill>
                  <a:schemeClr val="tx2"/>
                </a:solidFill>
                <a:latin typeface="Arial"/>
                <a:cs typeface="Arial"/>
                <a:sym typeface="Arial"/>
              </a:rPr>
              <a:t>новых сотрудников ежегодно</a:t>
            </a:r>
            <a:endParaRPr lang="ru-RU" sz="1000" b="0" kern="0" dirty="0">
              <a:solidFill>
                <a:schemeClr val="tx2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45316" y="2353888"/>
            <a:ext cx="1222800" cy="3139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450525">
              <a:lnSpc>
                <a:spcPct val="85000"/>
              </a:lnSpc>
              <a:buClr>
                <a:srgbClr val="000000"/>
              </a:buClr>
            </a:pPr>
            <a:r>
              <a:rPr lang="ru-RU" sz="1200" b="1" kern="0" dirty="0">
                <a:solidFill>
                  <a:schemeClr val="tx2"/>
                </a:solidFill>
                <a:latin typeface="Arial"/>
                <a:cs typeface="Arial"/>
              </a:rPr>
              <a:t>Единый стандарт 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1663415" y="1339009"/>
            <a:ext cx="1089660" cy="3139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450525">
              <a:lnSpc>
                <a:spcPct val="85000"/>
              </a:lnSpc>
              <a:buClr>
                <a:srgbClr val="000000"/>
              </a:buClr>
            </a:pPr>
            <a:r>
              <a:rPr lang="ru-RU" sz="1200" b="1" kern="0" dirty="0">
                <a:solidFill>
                  <a:schemeClr val="bg1"/>
                </a:solidFill>
                <a:latin typeface="Arial"/>
                <a:cs typeface="Arial"/>
              </a:rPr>
              <a:t>Три </a:t>
            </a:r>
            <a:br>
              <a:rPr lang="ru-RU" sz="1200" b="1" kern="0" dirty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ru-RU" sz="1200" b="1" kern="0" dirty="0">
                <a:solidFill>
                  <a:schemeClr val="bg1"/>
                </a:solidFill>
                <a:latin typeface="Arial"/>
                <a:cs typeface="Arial"/>
              </a:rPr>
              <a:t>программы </a:t>
            </a:r>
          </a:p>
        </p:txBody>
      </p:sp>
      <p:pic>
        <p:nvPicPr>
          <p:cNvPr id="826372" name="Picture 4" descr="http://qrcoder.ru/code/?https%3A%2F%2Fcareer.sibur.ru&amp;4&amp;0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4564" y="3298625"/>
            <a:ext cx="1005675" cy="10056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345317" y="2711534"/>
            <a:ext cx="1117474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0525">
              <a:buClr>
                <a:srgbClr val="000000"/>
              </a:buClr>
            </a:pPr>
            <a:r>
              <a:rPr lang="ru-RU" sz="1000" kern="0" dirty="0">
                <a:solidFill>
                  <a:schemeClr val="tx2"/>
                </a:solidFill>
                <a:latin typeface="Arial"/>
                <a:cs typeface="Arial"/>
              </a:rPr>
              <a:t>подбора </a:t>
            </a:r>
            <a:r>
              <a:rPr lang="ru-RU" sz="1000" kern="0" dirty="0" smtClean="0">
                <a:solidFill>
                  <a:schemeClr val="tx2"/>
                </a:solidFill>
                <a:latin typeface="Arial"/>
                <a:cs typeface="Arial"/>
              </a:rPr>
              <a:t>персонала </a:t>
            </a:r>
            <a:r>
              <a:rPr lang="ru-RU" sz="1000" kern="0" dirty="0">
                <a:solidFill>
                  <a:schemeClr val="tx2"/>
                </a:solidFill>
                <a:latin typeface="Arial"/>
                <a:cs typeface="Arial"/>
              </a:rPr>
              <a:t>независимо </a:t>
            </a:r>
            <a:r>
              <a:rPr lang="ru-RU" sz="1000" kern="0" dirty="0" smtClean="0">
                <a:solidFill>
                  <a:schemeClr val="tx2"/>
                </a:solidFill>
                <a:latin typeface="Arial"/>
                <a:cs typeface="Arial"/>
              </a:rPr>
              <a:t/>
            </a:r>
            <a:br>
              <a:rPr lang="ru-RU" sz="1000" kern="0" dirty="0" smtClean="0">
                <a:solidFill>
                  <a:schemeClr val="tx2"/>
                </a:solidFill>
                <a:latin typeface="Arial"/>
                <a:cs typeface="Arial"/>
              </a:rPr>
            </a:br>
            <a:r>
              <a:rPr lang="ru-RU" sz="1000" kern="0" dirty="0" smtClean="0">
                <a:solidFill>
                  <a:schemeClr val="tx2"/>
                </a:solidFill>
                <a:latin typeface="Arial"/>
                <a:cs typeface="Arial"/>
              </a:rPr>
              <a:t>от </a:t>
            </a:r>
            <a:r>
              <a:rPr lang="ru-RU" sz="1000" kern="0" dirty="0">
                <a:solidFill>
                  <a:schemeClr val="tx2"/>
                </a:solidFill>
                <a:latin typeface="Arial"/>
                <a:cs typeface="Arial"/>
              </a:rPr>
              <a:t>должности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1662612" y="1699212"/>
            <a:ext cx="973817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0525">
              <a:buClr>
                <a:srgbClr val="000000"/>
              </a:buClr>
            </a:pPr>
            <a:r>
              <a:rPr lang="ru-RU" sz="1000" kern="0" dirty="0">
                <a:solidFill>
                  <a:schemeClr val="bg1"/>
                </a:solidFill>
                <a:latin typeface="Arial"/>
                <a:cs typeface="Arial"/>
              </a:rPr>
              <a:t>для привлечения молодежи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4710510" y="3318375"/>
            <a:ext cx="1089660" cy="3139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450525">
              <a:lnSpc>
                <a:spcPct val="85000"/>
              </a:lnSpc>
              <a:buClr>
                <a:srgbClr val="000000"/>
              </a:buClr>
            </a:pPr>
            <a:r>
              <a:rPr lang="ru-RU" sz="1200" b="1" kern="0" dirty="0">
                <a:solidFill>
                  <a:schemeClr val="tx2"/>
                </a:solidFill>
                <a:cs typeface="Arial"/>
              </a:rPr>
              <a:t>Вся информация </a:t>
            </a:r>
            <a:endParaRPr lang="ru-RU" sz="1200" b="1" kern="0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1662612" y="3882511"/>
            <a:ext cx="1375813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</a:rPr>
              <a:t>Стажировки</a:t>
            </a:r>
          </a:p>
          <a:p>
            <a:r>
              <a:rPr lang="ru-RU" sz="1000" dirty="0" smtClean="0">
                <a:solidFill>
                  <a:schemeClr val="bg1"/>
                </a:solidFill>
              </a:rPr>
              <a:t>в </a:t>
            </a:r>
            <a:r>
              <a:rPr lang="ru-RU" sz="1000" dirty="0">
                <a:solidFill>
                  <a:schemeClr val="bg1"/>
                </a:solidFill>
              </a:rPr>
              <a:t>Корпоративном центре 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 bwMode="auto">
          <a:xfrm>
            <a:off x="1662612" y="2312208"/>
            <a:ext cx="12960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3" name="Прямая соединительная линия 42"/>
          <p:cNvCxnSpPr/>
          <p:nvPr/>
        </p:nvCxnSpPr>
        <p:spPr bwMode="auto">
          <a:xfrm>
            <a:off x="1662612" y="3040063"/>
            <a:ext cx="12960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4" name="Прямая соединительная линия 43"/>
          <p:cNvCxnSpPr/>
          <p:nvPr/>
        </p:nvCxnSpPr>
        <p:spPr bwMode="auto">
          <a:xfrm>
            <a:off x="1662612" y="3790873"/>
            <a:ext cx="12960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5" name="Равнобедренный треугольник 44"/>
          <p:cNvSpPr/>
          <p:nvPr/>
        </p:nvSpPr>
        <p:spPr bwMode="auto">
          <a:xfrm rot="5400000">
            <a:off x="2980249" y="1200837"/>
            <a:ext cx="281898" cy="144000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841687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Объект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55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9" name="Объект 1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Овал 31"/>
          <p:cNvSpPr/>
          <p:nvPr/>
        </p:nvSpPr>
        <p:spPr bwMode="auto">
          <a:xfrm>
            <a:off x="306429" y="3319453"/>
            <a:ext cx="216000" cy="216000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Овал 32"/>
          <p:cNvSpPr/>
          <p:nvPr/>
        </p:nvSpPr>
        <p:spPr bwMode="auto">
          <a:xfrm>
            <a:off x="2521907" y="3319453"/>
            <a:ext cx="216000" cy="216000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5" name="Овал 34"/>
          <p:cNvSpPr/>
          <p:nvPr/>
        </p:nvSpPr>
        <p:spPr bwMode="auto">
          <a:xfrm>
            <a:off x="4737385" y="3319453"/>
            <a:ext cx="216000" cy="216000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6" name="Овал 35"/>
          <p:cNvSpPr/>
          <p:nvPr/>
        </p:nvSpPr>
        <p:spPr bwMode="auto">
          <a:xfrm>
            <a:off x="6830174" y="3319453"/>
            <a:ext cx="216000" cy="216000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7" name="Овал 26"/>
          <p:cNvSpPr/>
          <p:nvPr/>
        </p:nvSpPr>
        <p:spPr bwMode="auto">
          <a:xfrm>
            <a:off x="306429" y="1789323"/>
            <a:ext cx="216000" cy="216000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8" name="Овал 27"/>
          <p:cNvSpPr/>
          <p:nvPr/>
        </p:nvSpPr>
        <p:spPr bwMode="auto">
          <a:xfrm>
            <a:off x="2521907" y="1789323"/>
            <a:ext cx="216000" cy="216000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9" name="Овал 28"/>
          <p:cNvSpPr/>
          <p:nvPr/>
        </p:nvSpPr>
        <p:spPr bwMode="auto">
          <a:xfrm>
            <a:off x="4737385" y="1789323"/>
            <a:ext cx="216000" cy="216000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0" name="Овал 29"/>
          <p:cNvSpPr/>
          <p:nvPr/>
        </p:nvSpPr>
        <p:spPr bwMode="auto">
          <a:xfrm>
            <a:off x="6830174" y="1789323"/>
            <a:ext cx="216000" cy="216000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684"/>
          <a:stretch/>
        </p:blipFill>
        <p:spPr>
          <a:xfrm>
            <a:off x="1109027" y="0"/>
            <a:ext cx="7369985" cy="1522800"/>
          </a:xfrm>
          <a:prstGeom prst="rect">
            <a:avLst/>
          </a:prstGeom>
        </p:spPr>
      </p:pic>
      <p:sp>
        <p:nvSpPr>
          <p:cNvPr id="17" name="Прямоугольник 16"/>
          <p:cNvSpPr/>
          <p:nvPr/>
        </p:nvSpPr>
        <p:spPr bwMode="auto">
          <a:xfrm>
            <a:off x="0" y="0"/>
            <a:ext cx="4988560" cy="1522800"/>
          </a:xfrm>
          <a:prstGeom prst="rect">
            <a:avLst/>
          </a:prstGeom>
          <a:gradFill>
            <a:gsLst>
              <a:gs pos="1299">
                <a:schemeClr val="accent1">
                  <a:alpha val="0"/>
                </a:schemeClr>
              </a:gs>
              <a:gs pos="30000">
                <a:schemeClr val="accent1">
                  <a:alpha val="51000"/>
                </a:schemeClr>
              </a:gs>
              <a:gs pos="72000">
                <a:schemeClr val="accent1"/>
              </a:gs>
              <a:gs pos="100000">
                <a:schemeClr val="accent1"/>
              </a:gs>
            </a:gsLst>
            <a:lin ang="108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3095626" cy="672627"/>
          </a:xfrm>
        </p:spPr>
        <p:txBody>
          <a:bodyPr vert="horz"/>
          <a:lstStyle/>
          <a:p>
            <a:r>
              <a:rPr lang="ru-RU" dirty="0">
                <a:solidFill>
                  <a:schemeClr val="bg1"/>
                </a:solidFill>
              </a:rPr>
              <a:t>…и стремимся быть лидерами отрасли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2</a:t>
            </a:fld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358774" y="1794683"/>
            <a:ext cx="1566481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200" b="1" dirty="0"/>
              <a:t>1 место </a:t>
            </a:r>
            <a:endParaRPr lang="ru-RU" sz="1200" b="1" dirty="0" smtClean="0"/>
          </a:p>
          <a:p>
            <a:r>
              <a:rPr lang="ru-RU" sz="1000" dirty="0" smtClean="0"/>
              <a:t>в </a:t>
            </a:r>
            <a:r>
              <a:rPr lang="ru-RU" sz="1000" dirty="0"/>
              <a:t>категории Химическая промышленность «Самые привлекательные работодатели среди студентов России 2021» </a:t>
            </a:r>
            <a:r>
              <a:rPr lang="ru-RU" sz="1000" dirty="0" err="1"/>
              <a:t>Universum</a:t>
            </a:r>
            <a:endParaRPr lang="ru-RU" sz="10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570939" y="1794683"/>
            <a:ext cx="1793846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200" b="1" dirty="0"/>
              <a:t>1 место </a:t>
            </a:r>
            <a:endParaRPr lang="ru-RU" sz="1200" b="1" dirty="0" smtClean="0"/>
          </a:p>
          <a:p>
            <a:r>
              <a:rPr lang="ru-RU" sz="1000" dirty="0" smtClean="0"/>
              <a:t>в </a:t>
            </a:r>
            <a:r>
              <a:rPr lang="ru-RU" sz="1000" dirty="0"/>
              <a:t>категории Химическая промышленность «Самые привлекательные работодатели среди профессионалов России 2021» </a:t>
            </a:r>
            <a:r>
              <a:rPr lang="ru-RU" sz="1000" dirty="0" err="1"/>
              <a:t>Universum</a:t>
            </a:r>
            <a:endParaRPr lang="ru-RU" sz="10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6868928" y="1794683"/>
            <a:ext cx="1904367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200" b="1" dirty="0"/>
              <a:t>Лучший работодатель </a:t>
            </a:r>
            <a:endParaRPr lang="ru-RU" sz="1200" b="1" dirty="0" smtClean="0"/>
          </a:p>
          <a:p>
            <a:r>
              <a:rPr lang="ru-RU" sz="1000" dirty="0" smtClean="0"/>
              <a:t>в </a:t>
            </a:r>
            <a:r>
              <a:rPr lang="ru-RU" sz="1000" dirty="0"/>
              <a:t>направлении «Химическая промышленность» по мнению студентов </a:t>
            </a:r>
            <a:r>
              <a:rPr lang="ru-RU" sz="1000" dirty="0" err="1"/>
              <a:t>Randstad</a:t>
            </a:r>
            <a:endParaRPr lang="ru-RU" sz="1000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4776139" y="1794683"/>
            <a:ext cx="1642681" cy="95410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200" b="1" dirty="0"/>
              <a:t>1 место </a:t>
            </a:r>
            <a:endParaRPr lang="ru-RU" sz="1200" b="1" dirty="0" smtClean="0"/>
          </a:p>
          <a:p>
            <a:r>
              <a:rPr lang="ru-RU" sz="1000" dirty="0" smtClean="0"/>
              <a:t>в </a:t>
            </a:r>
            <a:r>
              <a:rPr lang="ru-RU" sz="1000" dirty="0"/>
              <a:t>номинации «Лучшая программа по работе </a:t>
            </a:r>
            <a:r>
              <a:rPr lang="ru-RU" sz="1000" dirty="0" smtClean="0"/>
              <a:t/>
            </a:r>
            <a:br>
              <a:rPr lang="ru-RU" sz="1000" dirty="0" smtClean="0"/>
            </a:br>
            <a:r>
              <a:rPr lang="ru-RU" sz="1000" dirty="0" smtClean="0"/>
              <a:t>с </a:t>
            </a:r>
            <a:r>
              <a:rPr lang="ru-RU" sz="1000" dirty="0"/>
              <a:t>молодыми специалистами» премии </a:t>
            </a:r>
            <a:r>
              <a:rPr lang="ru-RU" sz="1000" dirty="0" err="1"/>
              <a:t>Graduate</a:t>
            </a:r>
            <a:r>
              <a:rPr lang="ru-RU" sz="1000" dirty="0"/>
              <a:t> </a:t>
            </a:r>
            <a:r>
              <a:rPr lang="ru-RU" sz="1000" dirty="0" err="1"/>
              <a:t>Awards</a:t>
            </a:r>
            <a:endParaRPr lang="ru-RU" sz="100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6868929" y="3328717"/>
            <a:ext cx="1905248" cy="8002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200" b="1" dirty="0" smtClean="0"/>
              <a:t>Золото и платина </a:t>
            </a:r>
            <a:r>
              <a:rPr lang="ru-RU" sz="1200" b="1" dirty="0" err="1" smtClean="0"/>
              <a:t>Forbes</a:t>
            </a:r>
            <a:endParaRPr lang="ru-RU" sz="1200" b="1" dirty="0" smtClean="0"/>
          </a:p>
          <a:p>
            <a:r>
              <a:rPr lang="ru-RU" sz="1000" dirty="0" smtClean="0"/>
              <a:t>золото </a:t>
            </a:r>
            <a:r>
              <a:rPr lang="ru-RU" sz="1000" dirty="0"/>
              <a:t>в общем рейтинге и платина в категориях </a:t>
            </a:r>
            <a:r>
              <a:rPr lang="ru-RU" sz="1000" dirty="0" smtClean="0"/>
              <a:t>«экология» </a:t>
            </a:r>
            <a:r>
              <a:rPr lang="ru-RU" sz="1000" dirty="0"/>
              <a:t>и </a:t>
            </a:r>
            <a:r>
              <a:rPr lang="ru-RU" sz="1000" dirty="0" smtClean="0"/>
              <a:t>«корпоративное управление»</a:t>
            </a:r>
            <a:endParaRPr lang="ru-RU" sz="1000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358774" y="3328984"/>
            <a:ext cx="1500506" cy="95410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200" b="1" dirty="0"/>
              <a:t>3 место </a:t>
            </a:r>
            <a:endParaRPr lang="ru-RU" sz="1200" b="1" dirty="0" smtClean="0"/>
          </a:p>
          <a:p>
            <a:r>
              <a:rPr lang="ru-RU" sz="1000" dirty="0" smtClean="0"/>
              <a:t>в </a:t>
            </a:r>
            <a:r>
              <a:rPr lang="ru-RU" sz="1000" dirty="0"/>
              <a:t>своей целевой аудитории по результатам ежегодного исследования </a:t>
            </a:r>
            <a:r>
              <a:rPr lang="ru-RU" sz="1000" dirty="0" err="1"/>
              <a:t>Future</a:t>
            </a:r>
            <a:r>
              <a:rPr lang="ru-RU" sz="1000" dirty="0"/>
              <a:t> </a:t>
            </a:r>
            <a:r>
              <a:rPr lang="ru-RU" sz="1000" dirty="0" err="1"/>
              <a:t>Today</a:t>
            </a:r>
            <a:endParaRPr lang="ru-RU" sz="1000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2570939" y="3328717"/>
            <a:ext cx="1520762" cy="95410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200" b="1" dirty="0"/>
              <a:t>2 место </a:t>
            </a:r>
            <a:endParaRPr lang="ru-RU" sz="1200" b="1" dirty="0" smtClean="0"/>
          </a:p>
          <a:p>
            <a:r>
              <a:rPr lang="ru-RU" sz="1000" dirty="0" smtClean="0"/>
              <a:t>в </a:t>
            </a:r>
            <a:r>
              <a:rPr lang="ru-RU" sz="1000" dirty="0"/>
              <a:t>рейтинге Лучших ИТ работодателей по версии </a:t>
            </a:r>
            <a:r>
              <a:rPr lang="ru-RU" sz="1000" dirty="0" err="1"/>
              <a:t>Экопси+Хабр</a:t>
            </a:r>
            <a:r>
              <a:rPr lang="ru-RU" sz="1000" dirty="0"/>
              <a:t> в категории «Промышленность» 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4776139" y="3328717"/>
            <a:ext cx="1469339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200" b="1" dirty="0"/>
              <a:t>5 место </a:t>
            </a:r>
            <a:endParaRPr lang="ru-RU" sz="1200" b="1" dirty="0" smtClean="0"/>
          </a:p>
          <a:p>
            <a:r>
              <a:rPr lang="ru-RU" sz="1000" dirty="0" smtClean="0"/>
              <a:t>среди </a:t>
            </a:r>
            <a:r>
              <a:rPr lang="ru-RU" sz="1000" dirty="0"/>
              <a:t>ТОП 50 компаний в номинации «Технические специальности» рейтинга </a:t>
            </a:r>
            <a:r>
              <a:rPr lang="ru-RU" sz="1000" dirty="0" err="1"/>
              <a:t>Changellenge</a:t>
            </a:r>
            <a:r>
              <a:rPr lang="ru-RU" sz="1000" dirty="0"/>
              <a:t> </a:t>
            </a:r>
            <a:r>
              <a:rPr lang="ru-RU" sz="1000" dirty="0" err="1"/>
              <a:t>Best</a:t>
            </a:r>
            <a:r>
              <a:rPr lang="ru-RU" sz="1000" dirty="0"/>
              <a:t> </a:t>
            </a:r>
            <a:r>
              <a:rPr lang="ru-RU" sz="1000" dirty="0" err="1"/>
              <a:t>Award</a:t>
            </a:r>
            <a:endParaRPr lang="ru-RU" sz="1000" dirty="0"/>
          </a:p>
        </p:txBody>
      </p:sp>
      <p:grpSp>
        <p:nvGrpSpPr>
          <p:cNvPr id="37" name="Группа 36"/>
          <p:cNvGrpSpPr>
            <a:grpSpLocks noChangeAspect="1"/>
          </p:cNvGrpSpPr>
          <p:nvPr/>
        </p:nvGrpSpPr>
        <p:grpSpPr>
          <a:xfrm>
            <a:off x="7621198" y="0"/>
            <a:ext cx="1522802" cy="1522800"/>
            <a:chOff x="7944427" y="3893474"/>
            <a:chExt cx="837003" cy="837000"/>
          </a:xfrm>
        </p:grpSpPr>
        <p:sp>
          <p:nvSpPr>
            <p:cNvPr id="38" name="Прямоугольник 141"/>
            <p:cNvSpPr>
              <a:spLocks noChangeAspect="1"/>
            </p:cNvSpPr>
            <p:nvPr/>
          </p:nvSpPr>
          <p:spPr bwMode="auto">
            <a:xfrm>
              <a:off x="7944429" y="3893474"/>
              <a:ext cx="837001" cy="837000"/>
            </a:xfrm>
            <a:custGeom>
              <a:avLst/>
              <a:gdLst>
                <a:gd name="connsiteX0" fmla="*/ 0 w 837001"/>
                <a:gd name="connsiteY0" fmla="*/ 0 h 837000"/>
                <a:gd name="connsiteX1" fmla="*/ 837001 w 837001"/>
                <a:gd name="connsiteY1" fmla="*/ 0 h 837000"/>
                <a:gd name="connsiteX2" fmla="*/ 837001 w 837001"/>
                <a:gd name="connsiteY2" fmla="*/ 837000 h 837000"/>
                <a:gd name="connsiteX3" fmla="*/ 0 w 837001"/>
                <a:gd name="connsiteY3" fmla="*/ 837000 h 837000"/>
                <a:gd name="connsiteX4" fmla="*/ 0 w 837001"/>
                <a:gd name="connsiteY4" fmla="*/ 0 h 837000"/>
                <a:gd name="connsiteX0" fmla="*/ 0 w 837001"/>
                <a:gd name="connsiteY0" fmla="*/ 0 h 837000"/>
                <a:gd name="connsiteX1" fmla="*/ 837001 w 837001"/>
                <a:gd name="connsiteY1" fmla="*/ 0 h 837000"/>
                <a:gd name="connsiteX2" fmla="*/ 0 w 837001"/>
                <a:gd name="connsiteY2" fmla="*/ 837000 h 837000"/>
                <a:gd name="connsiteX3" fmla="*/ 0 w 837001"/>
                <a:gd name="connsiteY3" fmla="*/ 0 h 83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7001" h="837000">
                  <a:moveTo>
                    <a:pt x="0" y="0"/>
                  </a:moveTo>
                  <a:lnTo>
                    <a:pt x="837001" y="0"/>
                  </a:lnTo>
                  <a:lnTo>
                    <a:pt x="0" y="837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  <p:sp>
          <p:nvSpPr>
            <p:cNvPr id="39" name="Прямоугольник 154"/>
            <p:cNvSpPr>
              <a:spLocks noChangeAspect="1"/>
            </p:cNvSpPr>
            <p:nvPr/>
          </p:nvSpPr>
          <p:spPr bwMode="auto">
            <a:xfrm>
              <a:off x="7944427" y="3893474"/>
              <a:ext cx="837001" cy="837000"/>
            </a:xfrm>
            <a:custGeom>
              <a:avLst/>
              <a:gdLst>
                <a:gd name="connsiteX0" fmla="*/ 0 w 837001"/>
                <a:gd name="connsiteY0" fmla="*/ 0 h 837000"/>
                <a:gd name="connsiteX1" fmla="*/ 837001 w 837001"/>
                <a:gd name="connsiteY1" fmla="*/ 0 h 837000"/>
                <a:gd name="connsiteX2" fmla="*/ 837001 w 837001"/>
                <a:gd name="connsiteY2" fmla="*/ 837000 h 837000"/>
                <a:gd name="connsiteX3" fmla="*/ 0 w 837001"/>
                <a:gd name="connsiteY3" fmla="*/ 837000 h 837000"/>
                <a:gd name="connsiteX4" fmla="*/ 0 w 837001"/>
                <a:gd name="connsiteY4" fmla="*/ 0 h 837000"/>
                <a:gd name="connsiteX0" fmla="*/ 0 w 837001"/>
                <a:gd name="connsiteY0" fmla="*/ 837000 h 837000"/>
                <a:gd name="connsiteX1" fmla="*/ 837001 w 837001"/>
                <a:gd name="connsiteY1" fmla="*/ 0 h 837000"/>
                <a:gd name="connsiteX2" fmla="*/ 837001 w 837001"/>
                <a:gd name="connsiteY2" fmla="*/ 837000 h 837000"/>
                <a:gd name="connsiteX3" fmla="*/ 0 w 837001"/>
                <a:gd name="connsiteY3" fmla="*/ 837000 h 83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7001" h="837000">
                  <a:moveTo>
                    <a:pt x="0" y="837000"/>
                  </a:moveTo>
                  <a:lnTo>
                    <a:pt x="837001" y="0"/>
                  </a:lnTo>
                  <a:lnTo>
                    <a:pt x="837001" y="837000"/>
                  </a:lnTo>
                  <a:lnTo>
                    <a:pt x="0" y="837000"/>
                  </a:lnTo>
                  <a:close/>
                </a:path>
              </a:pathLst>
            </a:cu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  <p:sp>
          <p:nvSpPr>
            <p:cNvPr id="40" name="Овал 39"/>
            <p:cNvSpPr/>
            <p:nvPr/>
          </p:nvSpPr>
          <p:spPr bwMode="auto">
            <a:xfrm>
              <a:off x="8152536" y="4106222"/>
              <a:ext cx="425138" cy="425138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5107101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1852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57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Овал 39"/>
          <p:cNvSpPr/>
          <p:nvPr/>
        </p:nvSpPr>
        <p:spPr bwMode="auto">
          <a:xfrm>
            <a:off x="1958240" y="1448508"/>
            <a:ext cx="216000" cy="216000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7" name="Овал 36"/>
          <p:cNvSpPr/>
          <p:nvPr/>
        </p:nvSpPr>
        <p:spPr bwMode="auto">
          <a:xfrm>
            <a:off x="3866918" y="1448508"/>
            <a:ext cx="216000" cy="216000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8" name="Овал 37"/>
          <p:cNvSpPr/>
          <p:nvPr/>
        </p:nvSpPr>
        <p:spPr bwMode="auto">
          <a:xfrm>
            <a:off x="3866918" y="2313915"/>
            <a:ext cx="216000" cy="216000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9" name="Овал 38"/>
          <p:cNvSpPr/>
          <p:nvPr/>
        </p:nvSpPr>
        <p:spPr bwMode="auto">
          <a:xfrm>
            <a:off x="3866918" y="3047571"/>
            <a:ext cx="216000" cy="216000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6" name="Прямоугольник 35"/>
          <p:cNvSpPr>
            <a:spLocks noChangeAspect="1"/>
          </p:cNvSpPr>
          <p:nvPr/>
        </p:nvSpPr>
        <p:spPr bwMode="auto">
          <a:xfrm>
            <a:off x="1469" y="1400537"/>
            <a:ext cx="1792607" cy="3162326"/>
          </a:xfrm>
          <a:prstGeom prst="rect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sz="1350" b="1"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5"/>
            <a:ext cx="5502025" cy="672627"/>
          </a:xfrm>
        </p:spPr>
        <p:txBody>
          <a:bodyPr vert="horz"/>
          <a:lstStyle/>
          <a:p>
            <a:r>
              <a:rPr lang="ru-RU" dirty="0"/>
              <a:t>HR бренд внутри </a:t>
            </a:r>
            <a:r>
              <a:rPr lang="ru-RU" dirty="0" smtClean="0"/>
              <a:t>компании: создаем </a:t>
            </a:r>
            <a:r>
              <a:rPr lang="ru-RU" dirty="0"/>
              <a:t>вовлекающую рабочую среду, находимся в постоянном диалоге с сотрудниками 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3</a:t>
            </a:fld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358773" y="3272361"/>
            <a:ext cx="134308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0525">
              <a:buClr>
                <a:srgbClr val="000000"/>
              </a:buClr>
            </a:pPr>
            <a:r>
              <a:rPr lang="ru-RU" sz="1000" kern="0" dirty="0" smtClean="0">
                <a:solidFill>
                  <a:schemeClr val="tx2"/>
                </a:solidFill>
                <a:latin typeface="Arial"/>
                <a:cs typeface="Arial"/>
              </a:rPr>
              <a:t>индекс вовлеченности  в 2021 г.</a:t>
            </a:r>
            <a:endParaRPr lang="ru-RU" sz="1000" kern="0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58773" y="2893472"/>
            <a:ext cx="904415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450525">
              <a:buClr>
                <a:srgbClr val="000000"/>
              </a:buClr>
            </a:pPr>
            <a:r>
              <a:rPr lang="en-US" sz="2800" b="1" kern="0" dirty="0">
                <a:solidFill>
                  <a:schemeClr val="tx2"/>
                </a:solidFill>
                <a:latin typeface="Arial"/>
                <a:cs typeface="Arial"/>
              </a:rPr>
              <a:t>7</a:t>
            </a:r>
            <a:r>
              <a:rPr lang="ru-RU" sz="2800" b="1" kern="0" dirty="0">
                <a:solidFill>
                  <a:schemeClr val="tx2"/>
                </a:solidFill>
                <a:latin typeface="Arial"/>
                <a:cs typeface="Arial"/>
              </a:rPr>
              <a:t>6%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58773" y="2112670"/>
            <a:ext cx="100380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450525">
              <a:buClr>
                <a:srgbClr val="000000"/>
              </a:buClr>
            </a:pPr>
            <a:r>
              <a:rPr lang="ru-RU" sz="2800" b="1" kern="0" dirty="0">
                <a:solidFill>
                  <a:schemeClr val="tx2"/>
                </a:solidFill>
                <a:latin typeface="Arial"/>
                <a:cs typeface="Arial"/>
              </a:rPr>
              <a:t>94% 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358773" y="2507279"/>
            <a:ext cx="100157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0525">
              <a:buClr>
                <a:srgbClr val="000000"/>
              </a:buClr>
            </a:pPr>
            <a:r>
              <a:rPr lang="ru-RU" sz="1000" kern="0" dirty="0">
                <a:solidFill>
                  <a:schemeClr val="tx2"/>
                </a:solidFill>
                <a:latin typeface="Arial"/>
                <a:cs typeface="Arial"/>
              </a:rPr>
              <a:t>поучаствовали </a:t>
            </a:r>
            <a:r>
              <a:rPr lang="ru-RU" sz="1000" kern="0" dirty="0" smtClean="0">
                <a:solidFill>
                  <a:schemeClr val="tx2"/>
                </a:solidFill>
                <a:latin typeface="Arial"/>
                <a:cs typeface="Arial"/>
              </a:rPr>
              <a:t/>
            </a:r>
            <a:br>
              <a:rPr lang="ru-RU" sz="1000" kern="0" dirty="0" smtClean="0">
                <a:solidFill>
                  <a:schemeClr val="tx2"/>
                </a:solidFill>
                <a:latin typeface="Arial"/>
                <a:cs typeface="Arial"/>
              </a:rPr>
            </a:br>
            <a:r>
              <a:rPr lang="ru-RU" sz="1000" kern="0" dirty="0" smtClean="0">
                <a:solidFill>
                  <a:schemeClr val="tx2"/>
                </a:solidFill>
                <a:latin typeface="Arial"/>
                <a:cs typeface="Arial"/>
              </a:rPr>
              <a:t>в </a:t>
            </a:r>
            <a:r>
              <a:rPr lang="ru-RU" sz="1000" kern="0" dirty="0">
                <a:solidFill>
                  <a:schemeClr val="tx2"/>
                </a:solidFill>
                <a:latin typeface="Arial"/>
                <a:cs typeface="Arial"/>
              </a:rPr>
              <a:t>опросе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358773" y="3670408"/>
            <a:ext cx="904415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450525">
              <a:buClr>
                <a:srgbClr val="000000"/>
              </a:buClr>
            </a:pPr>
            <a:r>
              <a:rPr lang="ru-RU" sz="2800" b="1" kern="0" dirty="0" smtClean="0">
                <a:solidFill>
                  <a:schemeClr val="tx2"/>
                </a:solidFill>
                <a:latin typeface="Arial"/>
                <a:cs typeface="Arial"/>
              </a:rPr>
              <a:t>+6</a:t>
            </a:r>
            <a:r>
              <a:rPr lang="ru-RU" sz="2800" b="1" kern="0" dirty="0">
                <a:solidFill>
                  <a:schemeClr val="tx2"/>
                </a:solidFill>
                <a:latin typeface="Arial"/>
                <a:cs typeface="Arial"/>
              </a:rPr>
              <a:t>%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358773" y="4054982"/>
            <a:ext cx="1001572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0525">
              <a:buClr>
                <a:srgbClr val="000000"/>
              </a:buClr>
            </a:pPr>
            <a:r>
              <a:rPr lang="ru-RU" sz="1000" kern="0" dirty="0">
                <a:solidFill>
                  <a:schemeClr val="tx2"/>
                </a:solidFill>
                <a:latin typeface="Arial"/>
                <a:cs typeface="Arial"/>
              </a:rPr>
              <a:t>р</a:t>
            </a:r>
            <a:r>
              <a:rPr lang="ru-RU" sz="1000" kern="0" dirty="0" smtClean="0">
                <a:solidFill>
                  <a:schemeClr val="tx2"/>
                </a:solidFill>
                <a:latin typeface="Arial"/>
                <a:cs typeface="Arial"/>
              </a:rPr>
              <a:t>ост индекса относительно  2020 г.</a:t>
            </a:r>
            <a:endParaRPr lang="ru-RU" sz="1000" kern="0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011165" y="1455189"/>
            <a:ext cx="1623038" cy="30777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spcCol="0" rtlCol="0" anchor="t" anchorCtr="0" compatLnSpc="1">
            <a:prstTxWarp prst="textNoShape">
              <a:avLst/>
            </a:prstTxWarp>
          </a:bodyPr>
          <a:lstStyle/>
          <a:p>
            <a:pPr defTabSz="1181253"/>
            <a:r>
              <a:rPr lang="ru-RU" sz="1200" b="1" dirty="0">
                <a:solidFill>
                  <a:schemeClr val="tx2"/>
                </a:solidFill>
                <a:latin typeface="Arial"/>
              </a:rPr>
              <a:t>Дни сотрудника – ежегодный марафон полезного контента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3913151" y="2379885"/>
            <a:ext cx="1412147" cy="44489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spcCol="0" rtlCol="0" anchor="ctr" anchorCtr="0" compatLnSpc="1">
            <a:prstTxWarp prst="textNoShape">
              <a:avLst/>
            </a:prstTxWarp>
          </a:bodyPr>
          <a:lstStyle/>
          <a:p>
            <a:pPr defTabSz="1181253"/>
            <a:r>
              <a:rPr lang="ru-RU" sz="1200" b="1" dirty="0">
                <a:solidFill>
                  <a:schemeClr val="tx2"/>
                </a:solidFill>
                <a:latin typeface="Arial"/>
              </a:rPr>
              <a:t>Тематические пульс-опросы, измерение NPS 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3913151" y="3028623"/>
            <a:ext cx="1872346" cy="42375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spcCol="0" rtlCol="0" anchor="ctr" anchorCtr="0" compatLnSpc="1">
            <a:prstTxWarp prst="textNoShape">
              <a:avLst/>
            </a:prstTxWarp>
          </a:bodyPr>
          <a:lstStyle/>
          <a:p>
            <a:pPr defTabSz="1181253"/>
            <a:r>
              <a:rPr lang="ru-RU" sz="1200" b="1" dirty="0">
                <a:solidFill>
                  <a:schemeClr val="tx2"/>
                </a:solidFill>
                <a:latin typeface="Arial"/>
              </a:rPr>
              <a:t>Признание достижений </a:t>
            </a:r>
            <a:r>
              <a:rPr lang="ru-RU" sz="1200" b="1" dirty="0" smtClean="0">
                <a:solidFill>
                  <a:schemeClr val="tx2"/>
                </a:solidFill>
                <a:latin typeface="Arial"/>
              </a:rPr>
              <a:t>сотрудников за:</a:t>
            </a:r>
            <a:endParaRPr lang="ru-RU" sz="1200" b="1" dirty="0">
              <a:solidFill>
                <a:schemeClr val="tx2"/>
              </a:solidFill>
              <a:latin typeface="Arial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913151" y="3557841"/>
            <a:ext cx="2116852" cy="89225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spcCol="0" rtlCol="0" anchor="t" anchorCtr="0" compatLnSpc="1">
            <a:prstTxWarp prst="textNoShape">
              <a:avLst/>
            </a:prstTxWarp>
          </a:bodyPr>
          <a:lstStyle/>
          <a:p>
            <a:pPr marL="171450" indent="-171450" defTabSz="1181253"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tx2"/>
                </a:solidFill>
                <a:latin typeface="Arial"/>
              </a:rPr>
              <a:t>вклад </a:t>
            </a:r>
            <a:r>
              <a:rPr lang="ru-RU" sz="1000" dirty="0">
                <a:solidFill>
                  <a:schemeClr val="tx2"/>
                </a:solidFill>
                <a:latin typeface="Arial"/>
              </a:rPr>
              <a:t>в развитие бизнеса</a:t>
            </a:r>
          </a:p>
          <a:p>
            <a:pPr marL="171450" indent="-171450" defTabSz="1181253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/>
                </a:solidFill>
                <a:latin typeface="Arial"/>
              </a:rPr>
              <a:t>вклад в устойчивое развитие, передачу знаний и</a:t>
            </a:r>
          </a:p>
          <a:p>
            <a:pPr marL="171450" indent="-171450" defTabSz="1181253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/>
                </a:solidFill>
                <a:latin typeface="Arial"/>
              </a:rPr>
              <a:t>создание вовлекающей среды</a:t>
            </a:r>
          </a:p>
          <a:p>
            <a:pPr marL="171450" indent="-171450" defTabSz="1181253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/>
                </a:solidFill>
                <a:latin typeface="Arial"/>
              </a:rPr>
              <a:t>вклад в развитие культуры безопасности</a:t>
            </a:r>
            <a:endParaRPr lang="ru-RU" sz="1400" dirty="0">
              <a:solidFill>
                <a:schemeClr val="tx2"/>
              </a:solidFill>
              <a:latin typeface="Arial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913151" y="1455188"/>
            <a:ext cx="1708161" cy="72085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spcCol="0" rtlCol="0" anchor="t" anchorCtr="0" compatLnSpc="1">
            <a:prstTxWarp prst="textNoShape">
              <a:avLst/>
            </a:prstTxWarp>
          </a:bodyPr>
          <a:lstStyle/>
          <a:p>
            <a:pPr defTabSz="1181253"/>
            <a:r>
              <a:rPr lang="ru-RU" sz="1200" b="1" dirty="0">
                <a:solidFill>
                  <a:schemeClr val="tx2"/>
                </a:solidFill>
                <a:latin typeface="Arial"/>
              </a:rPr>
              <a:t>Опросы для новых сотрудников и их руководителей по процессу адаптации</a:t>
            </a:r>
          </a:p>
        </p:txBody>
      </p:sp>
      <p:grpSp>
        <p:nvGrpSpPr>
          <p:cNvPr id="28" name="Группа 27"/>
          <p:cNvGrpSpPr>
            <a:grpSpLocks noChangeAspect="1"/>
          </p:cNvGrpSpPr>
          <p:nvPr/>
        </p:nvGrpSpPr>
        <p:grpSpPr>
          <a:xfrm>
            <a:off x="7621200" y="3049200"/>
            <a:ext cx="1522800" cy="1522800"/>
            <a:chOff x="7623176" y="3056664"/>
            <a:chExt cx="1522800" cy="1522800"/>
          </a:xfrm>
        </p:grpSpPr>
        <p:sp>
          <p:nvSpPr>
            <p:cNvPr id="22" name="Прямоугольник 21"/>
            <p:cNvSpPr>
              <a:spLocks/>
            </p:cNvSpPr>
            <p:nvPr/>
          </p:nvSpPr>
          <p:spPr bwMode="auto">
            <a:xfrm>
              <a:off x="7623176" y="3056664"/>
              <a:ext cx="1522800" cy="152280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  <p:sp>
          <p:nvSpPr>
            <p:cNvPr id="23" name="Ромб 22"/>
            <p:cNvSpPr/>
            <p:nvPr/>
          </p:nvSpPr>
          <p:spPr bwMode="auto">
            <a:xfrm>
              <a:off x="7623176" y="3056664"/>
              <a:ext cx="1522800" cy="1522800"/>
            </a:xfrm>
            <a:prstGeom prst="diamond">
              <a:avLst/>
            </a:prstGeom>
            <a:solidFill>
              <a:srgbClr val="00464A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24" name="Ромб 23"/>
            <p:cNvSpPr/>
            <p:nvPr/>
          </p:nvSpPr>
          <p:spPr bwMode="auto">
            <a:xfrm>
              <a:off x="8046176" y="3480453"/>
              <a:ext cx="676800" cy="675223"/>
            </a:xfrm>
            <a:prstGeom prst="diamond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25" name="Группа 24"/>
          <p:cNvGrpSpPr>
            <a:grpSpLocks noChangeAspect="1"/>
          </p:cNvGrpSpPr>
          <p:nvPr/>
        </p:nvGrpSpPr>
        <p:grpSpPr>
          <a:xfrm>
            <a:off x="6094800" y="3049200"/>
            <a:ext cx="1525200" cy="1522800"/>
            <a:chOff x="6573600" y="0"/>
            <a:chExt cx="2575806" cy="2571750"/>
          </a:xfrm>
        </p:grpSpPr>
        <p:sp>
          <p:nvSpPr>
            <p:cNvPr id="26" name="Прямоугольник 25"/>
            <p:cNvSpPr/>
            <p:nvPr userDrawn="1"/>
          </p:nvSpPr>
          <p:spPr bwMode="auto">
            <a:xfrm>
              <a:off x="6579006" y="0"/>
              <a:ext cx="2570400" cy="257175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27" name="Полилиния 26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9" name="Прямоугольник 28"/>
          <p:cNvSpPr/>
          <p:nvPr/>
        </p:nvSpPr>
        <p:spPr>
          <a:xfrm>
            <a:off x="358773" y="1455189"/>
            <a:ext cx="1475437" cy="51123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spcCol="0" rtlCol="0" anchor="t" anchorCtr="0" compatLnSpc="1">
            <a:prstTxWarp prst="textNoShape">
              <a:avLst/>
            </a:prstTxWarp>
          </a:bodyPr>
          <a:lstStyle/>
          <a:p>
            <a:pPr defTabSz="1181253"/>
            <a:r>
              <a:rPr lang="ru-RU" sz="1200" b="1" dirty="0" smtClean="0">
                <a:solidFill>
                  <a:schemeClr val="tx2"/>
                </a:solidFill>
                <a:latin typeface="Arial"/>
              </a:rPr>
              <a:t>Оценка вовлеченности персонала</a:t>
            </a:r>
            <a:endParaRPr lang="ru-RU" sz="1200" b="1" dirty="0">
              <a:solidFill>
                <a:schemeClr val="tx2"/>
              </a:solidFill>
              <a:latin typeface="Arial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2011165" y="2112670"/>
            <a:ext cx="51242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450525">
              <a:buClr>
                <a:srgbClr val="000000"/>
              </a:buClr>
            </a:pPr>
            <a:r>
              <a:rPr lang="ru-RU" sz="2800" b="1" kern="0" dirty="0" smtClean="0">
                <a:solidFill>
                  <a:schemeClr val="tx2"/>
                </a:solidFill>
                <a:latin typeface="Arial"/>
                <a:cs typeface="Arial"/>
              </a:rPr>
              <a:t>25</a:t>
            </a:r>
            <a:endParaRPr lang="ru-RU" sz="2800" b="1" kern="0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2011165" y="2507279"/>
            <a:ext cx="100157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0525">
              <a:buClr>
                <a:srgbClr val="000000"/>
              </a:buClr>
            </a:pPr>
            <a:r>
              <a:rPr lang="ru-RU" sz="1000" kern="0" dirty="0">
                <a:solidFill>
                  <a:schemeClr val="tx2"/>
                </a:solidFill>
                <a:latin typeface="Arial"/>
                <a:cs typeface="Arial"/>
              </a:rPr>
              <a:t>т</a:t>
            </a:r>
            <a:r>
              <a:rPr lang="ru-RU" sz="1000" kern="0" dirty="0" smtClean="0">
                <a:solidFill>
                  <a:schemeClr val="tx2"/>
                </a:solidFill>
                <a:latin typeface="Arial"/>
                <a:cs typeface="Arial"/>
              </a:rPr>
              <a:t>ематических сессий</a:t>
            </a:r>
            <a:endParaRPr lang="ru-RU" sz="1000" kern="0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2011165" y="2893472"/>
            <a:ext cx="51242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450525">
              <a:buClr>
                <a:srgbClr val="000000"/>
              </a:buClr>
            </a:pPr>
            <a:r>
              <a:rPr lang="ru-RU" sz="2800" b="1" kern="0" dirty="0" smtClean="0">
                <a:solidFill>
                  <a:schemeClr val="tx2"/>
                </a:solidFill>
                <a:latin typeface="Arial"/>
                <a:cs typeface="Arial"/>
              </a:rPr>
              <a:t>63</a:t>
            </a:r>
            <a:endParaRPr lang="ru-RU" sz="2800" b="1" kern="0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2011165" y="3272361"/>
            <a:ext cx="1423123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0525">
              <a:buClr>
                <a:srgbClr val="000000"/>
              </a:buClr>
            </a:pPr>
            <a:r>
              <a:rPr lang="ru-RU" sz="1000" kern="0" dirty="0">
                <a:solidFill>
                  <a:schemeClr val="tx2"/>
                </a:solidFill>
                <a:latin typeface="Arial"/>
                <a:cs typeface="Arial"/>
              </a:rPr>
              <a:t>с</a:t>
            </a:r>
            <a:r>
              <a:rPr lang="ru-RU" sz="1000" kern="0" dirty="0" smtClean="0">
                <a:solidFill>
                  <a:schemeClr val="tx2"/>
                </a:solidFill>
                <a:latin typeface="Arial"/>
                <a:cs typeface="Arial"/>
              </a:rPr>
              <a:t>пикера, в том числе внешние гости</a:t>
            </a:r>
            <a:endParaRPr lang="ru-RU" sz="1000" kern="0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2011165" y="3670408"/>
            <a:ext cx="107234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450525">
              <a:buClr>
                <a:srgbClr val="000000"/>
              </a:buClr>
            </a:pPr>
            <a:r>
              <a:rPr lang="ru-RU" sz="2800" b="1" kern="0" dirty="0" smtClean="0">
                <a:solidFill>
                  <a:schemeClr val="tx2"/>
                </a:solidFill>
                <a:latin typeface="Arial"/>
                <a:cs typeface="Arial"/>
              </a:rPr>
              <a:t>3800+</a:t>
            </a:r>
            <a:endParaRPr lang="ru-RU" sz="2800" b="1" kern="0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2011165" y="4034648"/>
            <a:ext cx="1186209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0525">
              <a:buClr>
                <a:srgbClr val="000000"/>
              </a:buClr>
            </a:pPr>
            <a:r>
              <a:rPr lang="ru-RU" sz="1000" kern="0" dirty="0">
                <a:solidFill>
                  <a:schemeClr val="tx2"/>
                </a:solidFill>
                <a:latin typeface="Arial"/>
                <a:cs typeface="Arial"/>
              </a:rPr>
              <a:t>а</a:t>
            </a:r>
            <a:r>
              <a:rPr lang="ru-RU" sz="1000" kern="0" dirty="0" smtClean="0">
                <a:solidFill>
                  <a:schemeClr val="tx2"/>
                </a:solidFill>
                <a:latin typeface="Arial"/>
                <a:cs typeface="Arial"/>
              </a:rPr>
              <a:t>ктивных участников в среднем на сессии</a:t>
            </a:r>
            <a:endParaRPr lang="ru-RU" sz="1000" kern="0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048" t="7929" r="31962" b="18557"/>
          <a:stretch/>
        </p:blipFill>
        <p:spPr>
          <a:xfrm>
            <a:off x="6094800" y="0"/>
            <a:ext cx="3049200" cy="304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92737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Объект 3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1808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8982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35" name="Объект 3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Формула хороших дел</a:t>
            </a:r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4</a:t>
            </a:fld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359929" y="2422379"/>
            <a:ext cx="116407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900" b="1" dirty="0">
                <a:solidFill>
                  <a:srgbClr val="003D4C"/>
                </a:solidFill>
              </a:rPr>
              <a:t>т</a:t>
            </a:r>
            <a:r>
              <a:rPr lang="ru-RU" sz="900" b="1" dirty="0" smtClean="0">
                <a:solidFill>
                  <a:srgbClr val="003D4C"/>
                </a:solidFill>
              </a:rPr>
              <a:t>ысяч сотрудников-волонтеров</a:t>
            </a:r>
            <a:endParaRPr lang="ru-RU" sz="1400" b="1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352149" y="2006881"/>
            <a:ext cx="349455" cy="43088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2000" b="1" dirty="0" smtClean="0">
                <a:solidFill>
                  <a:srgbClr val="003D4C"/>
                </a:solidFill>
              </a:rPr>
              <a:t>&gt;</a:t>
            </a:r>
            <a:r>
              <a:rPr lang="ru-RU" sz="2800" b="1" dirty="0" smtClean="0">
                <a:solidFill>
                  <a:srgbClr val="003D4C"/>
                </a:solidFill>
              </a:rPr>
              <a:t>5</a:t>
            </a:r>
            <a:endParaRPr lang="ru-RU" sz="28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359929" y="3462240"/>
            <a:ext cx="105803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/>
            <a:r>
              <a:rPr lang="ru-RU" sz="900" b="1" dirty="0" smtClean="0">
                <a:solidFill>
                  <a:srgbClr val="003D4C"/>
                </a:solidFill>
              </a:rPr>
              <a:t>тысяч участников </a:t>
            </a:r>
            <a:r>
              <a:rPr lang="ru-RU" sz="900" b="1" dirty="0">
                <a:solidFill>
                  <a:srgbClr val="003D4C"/>
                </a:solidFill>
              </a:rPr>
              <a:t>мероприятий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52149" y="3059605"/>
            <a:ext cx="750205" cy="43088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2000" b="1" dirty="0" smtClean="0">
                <a:solidFill>
                  <a:srgbClr val="003D4C"/>
                </a:solidFill>
              </a:rPr>
              <a:t>&gt;</a:t>
            </a:r>
            <a:r>
              <a:rPr lang="ru-RU" sz="2800" b="1" dirty="0" smtClean="0">
                <a:solidFill>
                  <a:srgbClr val="003D4C"/>
                </a:solidFill>
              </a:rPr>
              <a:t>290</a:t>
            </a:r>
            <a:endParaRPr lang="ru-RU" sz="100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1735790" y="1334268"/>
            <a:ext cx="80268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/>
            <a:r>
              <a:rPr lang="ru-RU" sz="900" b="1" dirty="0">
                <a:solidFill>
                  <a:srgbClr val="003D4C"/>
                </a:solidFill>
              </a:rPr>
              <a:t>региона России 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1735790" y="949850"/>
            <a:ext cx="400751" cy="43088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ru-RU" sz="2800" b="1" dirty="0">
                <a:solidFill>
                  <a:srgbClr val="003D4C"/>
                </a:solidFill>
              </a:rPr>
              <a:t>23</a:t>
            </a:r>
            <a:endParaRPr lang="ru-RU" sz="2800" dirty="0"/>
          </a:p>
        </p:txBody>
      </p:sp>
      <p:sp>
        <p:nvSpPr>
          <p:cNvPr id="29" name="Прямоугольник 28"/>
          <p:cNvSpPr/>
          <p:nvPr/>
        </p:nvSpPr>
        <p:spPr>
          <a:xfrm>
            <a:off x="359929" y="1334268"/>
            <a:ext cx="116407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/>
            <a:r>
              <a:rPr lang="ru-RU" sz="900" b="1" dirty="0">
                <a:solidFill>
                  <a:srgbClr val="003D4C"/>
                </a:solidFill>
              </a:rPr>
              <a:t>грантов </a:t>
            </a:r>
            <a:r>
              <a:rPr lang="ru-RU" sz="900" b="1" dirty="0" smtClean="0">
                <a:solidFill>
                  <a:srgbClr val="003D4C"/>
                </a:solidFill>
              </a:rPr>
              <a:t/>
            </a:r>
            <a:br>
              <a:rPr lang="ru-RU" sz="900" b="1" dirty="0" smtClean="0">
                <a:solidFill>
                  <a:srgbClr val="003D4C"/>
                </a:solidFill>
              </a:rPr>
            </a:br>
            <a:r>
              <a:rPr lang="ru-RU" sz="900" b="1" dirty="0" smtClean="0">
                <a:solidFill>
                  <a:srgbClr val="003D4C"/>
                </a:solidFill>
              </a:rPr>
              <a:t>местным </a:t>
            </a:r>
            <a:r>
              <a:rPr lang="ru-RU" sz="900" b="1" dirty="0">
                <a:solidFill>
                  <a:srgbClr val="003D4C"/>
                </a:solidFill>
              </a:rPr>
              <a:t>НКО 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352149" y="949850"/>
            <a:ext cx="750205" cy="43088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2000" b="1" dirty="0" smtClean="0">
                <a:solidFill>
                  <a:srgbClr val="003D4C"/>
                </a:solidFill>
              </a:rPr>
              <a:t>&gt;</a:t>
            </a:r>
            <a:r>
              <a:rPr lang="ru-RU" sz="2800" b="1" dirty="0" smtClean="0">
                <a:solidFill>
                  <a:srgbClr val="003D4C"/>
                </a:solidFill>
              </a:rPr>
              <a:t>900</a:t>
            </a:r>
            <a:endParaRPr lang="ru-RU" sz="2800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1735790" y="2422379"/>
            <a:ext cx="9138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/>
            <a:r>
              <a:rPr lang="ru-RU" sz="900" b="1" dirty="0">
                <a:solidFill>
                  <a:srgbClr val="003D4C"/>
                </a:solidFill>
              </a:rPr>
              <a:t>послов программы 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1735790" y="2006881"/>
            <a:ext cx="400751" cy="43088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ru-RU" sz="2800" b="1" dirty="0">
                <a:solidFill>
                  <a:srgbClr val="003D4C"/>
                </a:solidFill>
              </a:rPr>
              <a:t>13</a:t>
            </a:r>
            <a:endParaRPr lang="ru-RU" sz="2800" dirty="0"/>
          </a:p>
        </p:txBody>
      </p:sp>
      <p:sp>
        <p:nvSpPr>
          <p:cNvPr id="33" name="Прямоугольник 32"/>
          <p:cNvSpPr/>
          <p:nvPr/>
        </p:nvSpPr>
        <p:spPr>
          <a:xfrm>
            <a:off x="1735790" y="3462240"/>
            <a:ext cx="1390950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/>
            <a:r>
              <a:rPr lang="ru-RU" sz="900" b="1" dirty="0" smtClean="0">
                <a:solidFill>
                  <a:srgbClr val="003D4C"/>
                </a:solidFill>
              </a:rPr>
              <a:t>миллиона рублей общий </a:t>
            </a:r>
            <a:r>
              <a:rPr lang="ru-RU" sz="900" b="1" dirty="0">
                <a:solidFill>
                  <a:srgbClr val="003D4C"/>
                </a:solidFill>
              </a:rPr>
              <a:t>объем дополнительного финансирования, </a:t>
            </a:r>
            <a:r>
              <a:rPr lang="ru-RU" sz="900" dirty="0">
                <a:solidFill>
                  <a:srgbClr val="003D4C"/>
                </a:solidFill>
              </a:rPr>
              <a:t>привлеченного победителями ФХД из всех источников (2020-2021 </a:t>
            </a:r>
            <a:r>
              <a:rPr lang="ru-RU" sz="900" dirty="0" smtClean="0">
                <a:solidFill>
                  <a:srgbClr val="003D4C"/>
                </a:solidFill>
              </a:rPr>
              <a:t>годы</a:t>
            </a:r>
            <a:r>
              <a:rPr lang="ru-RU" sz="900" dirty="0">
                <a:solidFill>
                  <a:srgbClr val="003D4C"/>
                </a:solidFill>
              </a:rPr>
              <a:t>) 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1735790" y="3059605"/>
            <a:ext cx="601127" cy="43088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ru-RU" sz="2800" b="1" dirty="0" smtClean="0">
                <a:solidFill>
                  <a:srgbClr val="003D4C"/>
                </a:solidFill>
              </a:rPr>
              <a:t>252</a:t>
            </a:r>
            <a:endParaRPr lang="ru-RU" sz="1000" dirty="0"/>
          </a:p>
        </p:txBody>
      </p:sp>
      <p:sp>
        <p:nvSpPr>
          <p:cNvPr id="36" name="Прямоугольник 35"/>
          <p:cNvSpPr/>
          <p:nvPr/>
        </p:nvSpPr>
        <p:spPr>
          <a:xfrm>
            <a:off x="3184029" y="1334268"/>
            <a:ext cx="92265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/>
            <a:r>
              <a:rPr lang="ru-RU" sz="900" b="1" dirty="0">
                <a:solidFill>
                  <a:srgbClr val="003D4C"/>
                </a:solidFill>
              </a:rPr>
              <a:t>направлений программы 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3184029" y="949850"/>
            <a:ext cx="200376" cy="43088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ru-RU" sz="2800" b="1" dirty="0">
                <a:solidFill>
                  <a:srgbClr val="003D4C"/>
                </a:solidFill>
              </a:rPr>
              <a:t>6</a:t>
            </a:r>
            <a:endParaRPr lang="ru-RU" sz="2800" dirty="0"/>
          </a:p>
        </p:txBody>
      </p:sp>
      <p:sp>
        <p:nvSpPr>
          <p:cNvPr id="38" name="Прямоугольник 37"/>
          <p:cNvSpPr/>
          <p:nvPr/>
        </p:nvSpPr>
        <p:spPr>
          <a:xfrm>
            <a:off x="3184029" y="2422379"/>
            <a:ext cx="125057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/>
            <a:r>
              <a:rPr lang="ru-RU" sz="900" b="1" dirty="0" smtClean="0">
                <a:solidFill>
                  <a:srgbClr val="003D4C"/>
                </a:solidFill>
              </a:rPr>
              <a:t>тысяч мероприятий </a:t>
            </a:r>
            <a:r>
              <a:rPr lang="ru-RU" sz="900" b="1" dirty="0">
                <a:solidFill>
                  <a:srgbClr val="003D4C"/>
                </a:solidFill>
              </a:rPr>
              <a:t>различных форматов 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3184029" y="2006881"/>
            <a:ext cx="349455" cy="43088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2000" b="1" dirty="0">
                <a:solidFill>
                  <a:srgbClr val="003D4C"/>
                </a:solidFill>
              </a:rPr>
              <a:t>&gt;</a:t>
            </a:r>
            <a:r>
              <a:rPr lang="ru-RU" sz="2800" b="1" dirty="0" smtClean="0">
                <a:solidFill>
                  <a:srgbClr val="003D4C"/>
                </a:solidFill>
              </a:rPr>
              <a:t>6</a:t>
            </a:r>
            <a:endParaRPr lang="ru-RU" sz="2800" dirty="0"/>
          </a:p>
        </p:txBody>
      </p:sp>
      <p:sp>
        <p:nvSpPr>
          <p:cNvPr id="40" name="Прямоугольник 39"/>
          <p:cNvSpPr/>
          <p:nvPr/>
        </p:nvSpPr>
        <p:spPr>
          <a:xfrm>
            <a:off x="3184029" y="3462240"/>
            <a:ext cx="1364990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/>
            <a:r>
              <a:rPr lang="ru-RU" sz="900" b="1" dirty="0">
                <a:solidFill>
                  <a:srgbClr val="003D4C"/>
                </a:solidFill>
              </a:rPr>
              <a:t>доля </a:t>
            </a:r>
            <a:r>
              <a:rPr lang="ru-RU" sz="900" b="1" dirty="0" smtClean="0">
                <a:solidFill>
                  <a:srgbClr val="003D4C"/>
                </a:solidFill>
              </a:rPr>
              <a:t>НКО </a:t>
            </a:r>
            <a:r>
              <a:rPr lang="ru-RU" sz="900" b="1" dirty="0" smtClean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‒ </a:t>
            </a:r>
            <a:r>
              <a:rPr lang="ru-RU" sz="900" b="1" dirty="0" smtClean="0">
                <a:solidFill>
                  <a:srgbClr val="003D4C"/>
                </a:solidFill>
              </a:rPr>
              <a:t>победителей </a:t>
            </a:r>
            <a:r>
              <a:rPr lang="ru-RU" sz="900" b="1" dirty="0">
                <a:solidFill>
                  <a:srgbClr val="003D4C"/>
                </a:solidFill>
              </a:rPr>
              <a:t>конкурсов, </a:t>
            </a:r>
            <a:endParaRPr lang="ru-RU" sz="900" b="1" dirty="0" smtClean="0">
              <a:solidFill>
                <a:srgbClr val="003D4C"/>
              </a:solidFill>
            </a:endParaRPr>
          </a:p>
          <a:p>
            <a:pPr lvl="0"/>
            <a:r>
              <a:rPr lang="ru-RU" sz="900" dirty="0" smtClean="0">
                <a:solidFill>
                  <a:srgbClr val="003D4C"/>
                </a:solidFill>
              </a:rPr>
              <a:t>которые </a:t>
            </a:r>
            <a:r>
              <a:rPr lang="ru-RU" sz="900" dirty="0">
                <a:solidFill>
                  <a:srgbClr val="003D4C"/>
                </a:solidFill>
              </a:rPr>
              <a:t>имеют </a:t>
            </a:r>
            <a:r>
              <a:rPr lang="ru-RU" sz="900" dirty="0" smtClean="0">
                <a:solidFill>
                  <a:srgbClr val="003D4C"/>
                </a:solidFill>
              </a:rPr>
              <a:t>потенциал </a:t>
            </a:r>
            <a:r>
              <a:rPr lang="ru-RU" sz="900" dirty="0">
                <a:solidFill>
                  <a:srgbClr val="003D4C"/>
                </a:solidFill>
              </a:rPr>
              <a:t>к переводу </a:t>
            </a:r>
            <a:r>
              <a:rPr lang="ru-RU" sz="900" dirty="0" smtClean="0">
                <a:solidFill>
                  <a:srgbClr val="003D4C"/>
                </a:solidFill>
              </a:rPr>
              <a:t>проектов </a:t>
            </a:r>
            <a:r>
              <a:rPr lang="ru-RU" sz="900" dirty="0">
                <a:solidFill>
                  <a:srgbClr val="003D4C"/>
                </a:solidFill>
              </a:rPr>
              <a:t>на модель </a:t>
            </a:r>
            <a:r>
              <a:rPr lang="ru-RU" sz="900" dirty="0" smtClean="0">
                <a:solidFill>
                  <a:srgbClr val="003D4C"/>
                </a:solidFill>
              </a:rPr>
              <a:t>социального </a:t>
            </a:r>
            <a:r>
              <a:rPr lang="ru-RU" sz="900" dirty="0">
                <a:solidFill>
                  <a:srgbClr val="003D4C"/>
                </a:solidFill>
              </a:rPr>
              <a:t>предпринимательства 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3184029" y="3059605"/>
            <a:ext cx="968214" cy="43088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ru-RU" sz="2000" b="1" dirty="0">
                <a:solidFill>
                  <a:srgbClr val="003D4C"/>
                </a:solidFill>
              </a:rPr>
              <a:t>~</a:t>
            </a:r>
            <a:r>
              <a:rPr lang="ru-RU" sz="2800" b="1" dirty="0">
                <a:solidFill>
                  <a:srgbClr val="003D4C"/>
                </a:solidFill>
              </a:rPr>
              <a:t>50% </a:t>
            </a:r>
            <a:endParaRPr lang="ru-RU" sz="2800" dirty="0"/>
          </a:p>
        </p:txBody>
      </p:sp>
      <p:pic>
        <p:nvPicPr>
          <p:cNvPr id="848936" name="Picture 40" descr="undefined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08285" y="1510025"/>
            <a:ext cx="1522800" cy="1522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8914" name="Picture 18" descr="https://social.sibur.ru/upload/iblock/f03/f03d0f33770f67333b33f76cba22ee75.jp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063" r="7271"/>
          <a:stretch/>
        </p:blipFill>
        <p:spPr bwMode="auto">
          <a:xfrm>
            <a:off x="4589659" y="1510025"/>
            <a:ext cx="1522800" cy="1522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8932" name="Picture 36" descr="undefined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19" r="32663"/>
          <a:stretch/>
        </p:blipFill>
        <p:spPr bwMode="auto">
          <a:xfrm>
            <a:off x="7621200" y="0"/>
            <a:ext cx="1522800" cy="1522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8904" name="Picture 8" descr="https://social.sibur.ru/upload/iblock/0ce/0ced80c81e49f1f0f16735e40445b71f.jpg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864" t="22434" r="10345" b="-224"/>
          <a:stretch/>
        </p:blipFill>
        <p:spPr bwMode="auto">
          <a:xfrm>
            <a:off x="6105430" y="3034498"/>
            <a:ext cx="1522800" cy="1522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8930" name="Picture 34" descr="https://social.sibur.ru/upload/iblock/87e/87e04dc278ce36e13fe1ffcb6e8bb4d7.jpg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038" r="11242"/>
          <a:stretch/>
        </p:blipFill>
        <p:spPr bwMode="auto">
          <a:xfrm>
            <a:off x="4589659" y="3034498"/>
            <a:ext cx="1522800" cy="1522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415" t="11611" r="27912" b="7828"/>
          <a:stretch/>
        </p:blipFill>
        <p:spPr>
          <a:xfrm>
            <a:off x="6104770" y="-6387"/>
            <a:ext cx="1522800" cy="152280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680" r="16680"/>
          <a:stretch/>
        </p:blipFill>
        <p:spPr>
          <a:xfrm>
            <a:off x="7621200" y="3034498"/>
            <a:ext cx="1522800" cy="1522800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678" r="19656"/>
          <a:stretch/>
        </p:blipFill>
        <p:spPr>
          <a:xfrm>
            <a:off x="4589659" y="0"/>
            <a:ext cx="1522800" cy="1522800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775" t="8969" r="14124" b="35455"/>
          <a:stretch/>
        </p:blipFill>
        <p:spPr>
          <a:xfrm>
            <a:off x="7621200" y="1510025"/>
            <a:ext cx="1522800" cy="152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74746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5371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77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Рисунок 14"/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5425" t="4136" r="17767" b="52667"/>
          <a:stretch/>
        </p:blipFill>
        <p:spPr/>
      </p:pic>
      <p:sp>
        <p:nvSpPr>
          <p:cNvPr id="12" name="Прямоугольник 11"/>
          <p:cNvSpPr/>
          <p:nvPr/>
        </p:nvSpPr>
        <p:spPr bwMode="auto">
          <a:xfrm>
            <a:off x="11602" y="-1350"/>
            <a:ext cx="6573598" cy="5143500"/>
          </a:xfrm>
          <a:prstGeom prst="rect">
            <a:avLst/>
          </a:prstGeom>
          <a:gradFill>
            <a:gsLst>
              <a:gs pos="37000">
                <a:schemeClr val="accent1">
                  <a:lumMod val="5000"/>
                  <a:lumOff val="95000"/>
                  <a:alpha val="0"/>
                </a:schemeClr>
              </a:gs>
              <a:gs pos="86000">
                <a:schemeClr val="accent5">
                  <a:alpha val="71000"/>
                </a:schemeClr>
              </a:gs>
              <a:gs pos="96000">
                <a:schemeClr val="tx2">
                  <a:alpha val="86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>
          <a:xfrm>
            <a:off x="335573" y="3584432"/>
            <a:ext cx="5902452" cy="818710"/>
          </a:xfrm>
        </p:spPr>
        <p:txBody>
          <a:bodyPr vert="horz"/>
          <a:lstStyle/>
          <a:p>
            <a:r>
              <a:rPr lang="ru-RU" b="1" dirty="0" smtClean="0"/>
              <a:t>О СИБУРЕ</a:t>
            </a:r>
            <a:endParaRPr lang="ru-RU" b="1" dirty="0"/>
          </a:p>
        </p:txBody>
      </p:sp>
      <p:pic>
        <p:nvPicPr>
          <p:cNvPr id="19" name="Рисунок 18"/>
          <p:cNvPicPr>
            <a:picLocks noGrp="1" noChangeAspect="1"/>
          </p:cNvPicPr>
          <p:nvPr>
            <p:ph type="pic" sz="quarter" idx="13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5" name="Текст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0" y="4760913"/>
            <a:ext cx="319088" cy="187325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6685610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5049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486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/>
          <p:cNvPicPr>
            <a:picLocks noGrp="1" noChangeAspect="1"/>
          </p:cNvPicPr>
          <p:nvPr>
            <p:ph type="pic" sz="quarter" idx="12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397" r="7397"/>
          <a:stretch>
            <a:fillRect/>
          </a:stretch>
        </p:blipFill>
        <p:spPr/>
      </p:pic>
      <p:sp>
        <p:nvSpPr>
          <p:cNvPr id="12" name="Прямоугольник 11"/>
          <p:cNvSpPr/>
          <p:nvPr/>
        </p:nvSpPr>
        <p:spPr bwMode="auto">
          <a:xfrm>
            <a:off x="11602" y="-1350"/>
            <a:ext cx="6573598" cy="5143500"/>
          </a:xfrm>
          <a:prstGeom prst="rect">
            <a:avLst/>
          </a:prstGeom>
          <a:gradFill>
            <a:gsLst>
              <a:gs pos="37000">
                <a:schemeClr val="accent1">
                  <a:lumMod val="5000"/>
                  <a:lumOff val="95000"/>
                  <a:alpha val="0"/>
                </a:schemeClr>
              </a:gs>
              <a:gs pos="86000">
                <a:schemeClr val="accent5">
                  <a:alpha val="71000"/>
                </a:schemeClr>
              </a:gs>
              <a:gs pos="96000">
                <a:schemeClr val="tx2">
                  <a:alpha val="86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>
          <a:xfrm>
            <a:off x="335573" y="3584432"/>
            <a:ext cx="5902452" cy="818710"/>
          </a:xfrm>
        </p:spPr>
        <p:txBody>
          <a:bodyPr vert="horz"/>
          <a:lstStyle/>
          <a:p>
            <a:r>
              <a:rPr lang="ru-RU" b="1" dirty="0" smtClean="0"/>
              <a:t>О СИБУРЕ</a:t>
            </a:r>
            <a:endParaRPr lang="ru-RU" b="1" dirty="0"/>
          </a:p>
        </p:txBody>
      </p:sp>
      <p:pic>
        <p:nvPicPr>
          <p:cNvPr id="19" name="Рисунок 18"/>
          <p:cNvPicPr>
            <a:picLocks noGrp="1" noChangeAspect="1"/>
          </p:cNvPicPr>
          <p:nvPr>
            <p:ph type="pic" sz="quarter" idx="13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5" name="Текст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0" y="4760913"/>
            <a:ext cx="319088" cy="187325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9522337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6367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588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Рисунок 10"/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608" t="25428" r="5866" b="4717"/>
          <a:stretch/>
        </p:blipFill>
        <p:spPr/>
      </p:pic>
      <p:sp>
        <p:nvSpPr>
          <p:cNvPr id="12" name="Прямоугольник 11"/>
          <p:cNvSpPr/>
          <p:nvPr/>
        </p:nvSpPr>
        <p:spPr bwMode="auto">
          <a:xfrm>
            <a:off x="11602" y="-1350"/>
            <a:ext cx="6573598" cy="5143500"/>
          </a:xfrm>
          <a:prstGeom prst="rect">
            <a:avLst/>
          </a:prstGeom>
          <a:gradFill>
            <a:gsLst>
              <a:gs pos="37000">
                <a:schemeClr val="accent1">
                  <a:lumMod val="5000"/>
                  <a:lumOff val="95000"/>
                  <a:alpha val="0"/>
                </a:schemeClr>
              </a:gs>
              <a:gs pos="86000">
                <a:schemeClr val="accent5">
                  <a:alpha val="71000"/>
                </a:schemeClr>
              </a:gs>
              <a:gs pos="96000">
                <a:schemeClr val="tx2">
                  <a:alpha val="86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>
          <a:xfrm>
            <a:off x="335573" y="3584432"/>
            <a:ext cx="5902452" cy="818710"/>
          </a:xfrm>
        </p:spPr>
        <p:txBody>
          <a:bodyPr vert="horz"/>
          <a:lstStyle/>
          <a:p>
            <a:r>
              <a:rPr lang="ru-RU" b="1" dirty="0" smtClean="0"/>
              <a:t>О СИБУРЕ</a:t>
            </a:r>
            <a:endParaRPr lang="ru-RU" b="1" dirty="0"/>
          </a:p>
        </p:txBody>
      </p:sp>
      <p:pic>
        <p:nvPicPr>
          <p:cNvPr id="19" name="Рисунок 18"/>
          <p:cNvPicPr>
            <a:picLocks noGrp="1" noChangeAspect="1"/>
          </p:cNvPicPr>
          <p:nvPr>
            <p:ph type="pic" sz="quarter" idx="13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5" name="Текст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0" y="4760913"/>
            <a:ext cx="319088" cy="187325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9970063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5214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79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/>
        </p:nvSpPr>
        <p:spPr bwMode="auto">
          <a:xfrm>
            <a:off x="0" y="0"/>
            <a:ext cx="6573598" cy="5143500"/>
          </a:xfrm>
          <a:prstGeom prst="rect">
            <a:avLst/>
          </a:prstGeom>
          <a:gradFill>
            <a:gsLst>
              <a:gs pos="37000">
                <a:schemeClr val="accent1">
                  <a:lumMod val="5000"/>
                  <a:lumOff val="95000"/>
                  <a:alpha val="0"/>
                </a:schemeClr>
              </a:gs>
              <a:gs pos="86000">
                <a:schemeClr val="accent5">
                  <a:alpha val="71000"/>
                </a:schemeClr>
              </a:gs>
              <a:gs pos="96000">
                <a:schemeClr val="tx2">
                  <a:alpha val="86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8" name="Рисунок 7"/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11" t="11769" r="38237" b="2350"/>
          <a:stretch/>
        </p:blipFill>
        <p:spPr/>
      </p:pic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>
          <a:xfrm>
            <a:off x="335573" y="3584432"/>
            <a:ext cx="5902452" cy="818710"/>
          </a:xfrm>
        </p:spPr>
        <p:txBody>
          <a:bodyPr vert="horz"/>
          <a:lstStyle/>
          <a:p>
            <a:r>
              <a:rPr lang="ru-RU" b="1" dirty="0" smtClean="0"/>
              <a:t>О СИБУРЕ</a:t>
            </a:r>
            <a:endParaRPr lang="ru-RU" b="1" dirty="0"/>
          </a:p>
        </p:txBody>
      </p:sp>
      <p:pic>
        <p:nvPicPr>
          <p:cNvPr id="19" name="Рисунок 18"/>
          <p:cNvPicPr>
            <a:picLocks noGrp="1" noChangeAspect="1"/>
          </p:cNvPicPr>
          <p:nvPr>
            <p:ph type="pic" sz="quarter" idx="13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5" name="Текст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0" y="4760913"/>
            <a:ext cx="319088" cy="187325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9003306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1360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200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Рисунок 10"/>
          <p:cNvPicPr>
            <a:picLocks noGrp="1" noChangeAspect="1"/>
          </p:cNvPicPr>
          <p:nvPr>
            <p:ph type="pic" sz="quarter" idx="12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397" r="7397"/>
          <a:stretch>
            <a:fillRect/>
          </a:stretch>
        </p:blipFill>
        <p:spPr/>
      </p:pic>
      <p:sp>
        <p:nvSpPr>
          <p:cNvPr id="12" name="Прямоугольник 11"/>
          <p:cNvSpPr/>
          <p:nvPr/>
        </p:nvSpPr>
        <p:spPr bwMode="auto">
          <a:xfrm>
            <a:off x="0" y="0"/>
            <a:ext cx="6573598" cy="5143500"/>
          </a:xfrm>
          <a:prstGeom prst="rect">
            <a:avLst/>
          </a:prstGeom>
          <a:gradFill>
            <a:gsLst>
              <a:gs pos="12000">
                <a:schemeClr val="accent1">
                  <a:lumMod val="5000"/>
                  <a:lumOff val="95000"/>
                  <a:alpha val="0"/>
                </a:schemeClr>
              </a:gs>
              <a:gs pos="82000">
                <a:schemeClr val="accent5">
                  <a:alpha val="71000"/>
                </a:schemeClr>
              </a:gs>
              <a:gs pos="94000">
                <a:schemeClr val="tx2">
                  <a:alpha val="86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>
          <a:xfrm>
            <a:off x="335573" y="3584432"/>
            <a:ext cx="5902452" cy="818710"/>
          </a:xfrm>
        </p:spPr>
        <p:txBody>
          <a:bodyPr vert="horz"/>
          <a:lstStyle/>
          <a:p>
            <a:r>
              <a:rPr lang="ru-RU" b="1" dirty="0" smtClean="0"/>
              <a:t>О СИБУРЕ</a:t>
            </a:r>
            <a:endParaRPr lang="ru-RU" b="1" dirty="0"/>
          </a:p>
        </p:txBody>
      </p:sp>
      <p:pic>
        <p:nvPicPr>
          <p:cNvPr id="19" name="Рисунок 18"/>
          <p:cNvPicPr>
            <a:picLocks noGrp="1" noChangeAspect="1"/>
          </p:cNvPicPr>
          <p:nvPr>
            <p:ph type="pic" sz="quarter" idx="13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5" name="Текст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0" y="4760913"/>
            <a:ext cx="319088" cy="187325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474709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0970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690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Рисунок 10"/>
          <p:cNvPicPr>
            <a:picLocks noGrp="1" noChangeAspect="1"/>
          </p:cNvPicPr>
          <p:nvPr>
            <p:ph type="pic" sz="quarter" idx="12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397" r="7397"/>
          <a:stretch>
            <a:fillRect/>
          </a:stretch>
        </p:blipFill>
        <p:spPr/>
      </p:pic>
      <p:sp>
        <p:nvSpPr>
          <p:cNvPr id="12" name="Прямоугольник 11"/>
          <p:cNvSpPr/>
          <p:nvPr/>
        </p:nvSpPr>
        <p:spPr bwMode="auto">
          <a:xfrm>
            <a:off x="0" y="0"/>
            <a:ext cx="6573598" cy="5143500"/>
          </a:xfrm>
          <a:prstGeom prst="rect">
            <a:avLst/>
          </a:prstGeom>
          <a:gradFill>
            <a:gsLst>
              <a:gs pos="37000">
                <a:schemeClr val="accent1">
                  <a:lumMod val="5000"/>
                  <a:lumOff val="95000"/>
                  <a:alpha val="0"/>
                </a:schemeClr>
              </a:gs>
              <a:gs pos="86000">
                <a:schemeClr val="accent5">
                  <a:alpha val="71000"/>
                </a:schemeClr>
              </a:gs>
              <a:gs pos="96000">
                <a:schemeClr val="tx2">
                  <a:alpha val="86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>
          <a:xfrm>
            <a:off x="335573" y="3584432"/>
            <a:ext cx="5902452" cy="818710"/>
          </a:xfrm>
        </p:spPr>
        <p:txBody>
          <a:bodyPr vert="horz"/>
          <a:lstStyle/>
          <a:p>
            <a:r>
              <a:rPr lang="ru-RU" b="1" dirty="0" smtClean="0"/>
              <a:t>О СИБУРЕ</a:t>
            </a:r>
            <a:endParaRPr lang="ru-RU" b="1" dirty="0"/>
          </a:p>
        </p:txBody>
      </p:sp>
      <p:pic>
        <p:nvPicPr>
          <p:cNvPr id="19" name="Рисунок 18"/>
          <p:cNvPicPr>
            <a:picLocks noGrp="1" noChangeAspect="1"/>
          </p:cNvPicPr>
          <p:nvPr>
            <p:ph type="pic" sz="quarter" idx="13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5" name="Текст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0" y="4760913"/>
            <a:ext cx="319088" cy="187325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5128557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84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34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66"/>
          <a:stretch/>
        </p:blipFill>
        <p:spPr>
          <a:xfrm>
            <a:off x="0" y="-1"/>
            <a:ext cx="9144000" cy="4551363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 bwMode="auto">
          <a:xfrm>
            <a:off x="0" y="0"/>
            <a:ext cx="9144000" cy="4551363"/>
          </a:xfrm>
          <a:prstGeom prst="rect">
            <a:avLst/>
          </a:prstGeom>
          <a:gradFill>
            <a:gsLst>
              <a:gs pos="48000">
                <a:schemeClr val="accent1">
                  <a:lumMod val="50000"/>
                  <a:alpha val="45000"/>
                </a:schemeClr>
              </a:gs>
              <a:gs pos="77000">
                <a:schemeClr val="accent1">
                  <a:alpha val="54000"/>
                </a:schemeClr>
              </a:gs>
              <a:gs pos="13000">
                <a:schemeClr val="accent1">
                  <a:lumMod val="50000"/>
                  <a:alpha val="1000"/>
                </a:schemeClr>
              </a:gs>
              <a:gs pos="96000">
                <a:schemeClr val="accent1">
                  <a:alpha val="81000"/>
                </a:schemeClr>
              </a:gs>
            </a:gsLst>
            <a:lin ang="168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>
                <a:solidFill>
                  <a:schemeClr val="bg1"/>
                </a:solidFill>
              </a:rPr>
              <a:t>Наша </a:t>
            </a:r>
            <a:r>
              <a:rPr lang="ru-RU" dirty="0" smtClean="0">
                <a:solidFill>
                  <a:schemeClr val="bg1"/>
                </a:solidFill>
              </a:rPr>
              <a:t>миссия</a:t>
            </a:r>
            <a:r>
              <a:rPr lang="ru-RU" dirty="0">
                <a:solidFill>
                  <a:schemeClr val="bg1"/>
                </a:solidFill>
              </a:rPr>
              <a:t/>
            </a:r>
            <a:br>
              <a:rPr lang="ru-RU" dirty="0">
                <a:solidFill>
                  <a:schemeClr val="bg1"/>
                </a:solidFill>
              </a:rPr>
            </a:b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 СИБУРе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332398" y="2214424"/>
            <a:ext cx="8382000" cy="18835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ru-RU" sz="4800" b="1" dirty="0">
                <a:solidFill>
                  <a:schemeClr val="bg1"/>
                </a:solidFill>
              </a:rPr>
              <a:t>Вместе создаем лучшее будущее для людей </a:t>
            </a:r>
            <a:r>
              <a:rPr lang="en-US" sz="4800" b="1" dirty="0" smtClean="0">
                <a:solidFill>
                  <a:schemeClr val="bg1"/>
                </a:solidFill>
              </a:rPr>
              <a:t/>
            </a:r>
            <a:br>
              <a:rPr lang="en-US" sz="4800" b="1" dirty="0" smtClean="0">
                <a:solidFill>
                  <a:schemeClr val="bg1"/>
                </a:solidFill>
              </a:rPr>
            </a:br>
            <a:r>
              <a:rPr lang="ru-RU" sz="4800" b="1" dirty="0" smtClean="0">
                <a:solidFill>
                  <a:schemeClr val="bg1"/>
                </a:solidFill>
              </a:rPr>
              <a:t>и </a:t>
            </a:r>
            <a:r>
              <a:rPr lang="ru-RU" sz="4800" b="1" dirty="0">
                <a:solidFill>
                  <a:schemeClr val="bg1"/>
                </a:solidFill>
              </a:rPr>
              <a:t>планеты</a:t>
            </a:r>
          </a:p>
        </p:txBody>
      </p:sp>
    </p:spTree>
    <p:extLst>
      <p:ext uri="{BB962C8B-B14F-4D97-AF65-F5344CB8AC3E}">
        <p14:creationId xmlns:p14="http://schemas.microsoft.com/office/powerpoint/2010/main" val="146199455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atb4lieE.hdJHYlnTiO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atb4lieE.hdJHYlnTiO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atb4lieE.hdJHYlnTiO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atb4lieE.hdJHYlnTiO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atb4lieE.hdJHYlnTiO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atb4lieE.hdJHYlnTiO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atb4lieE.hdJHYlnTiO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NgrEiYhk.jxbOStjn0Y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NgrEiYhk.jxbOStjn0Y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NgrEiYhk.jxbOStjn0Y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NgrEiYhk.jxbOStjn0Y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NgrEiYhk.jxbOStjn0Y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NgrEiYhk.jxbOStjn0Y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NgrEiYhk.jxbOStjn0Y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NgrEiYhk.jxbOStjn0Y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atb4lieE.hdJHYlnTiO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atb4lieE.hdJHYlnTiO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NgrEiYhk.jxbOStjn0Y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итульные слайд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Другая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2.xml><?xml version="1.0" encoding="utf-8"?>
<a:theme xmlns:a="http://schemas.openxmlformats.org/drawingml/2006/main" name="Коллажи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3.xml><?xml version="1.0" encoding="utf-8"?>
<a:theme xmlns:a="http://schemas.openxmlformats.org/drawingml/2006/main" name="Базовые слайд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4.xml><?xml version="1.0" encoding="utf-8"?>
<a:theme xmlns:a="http://schemas.openxmlformats.org/drawingml/2006/main" name="Финальные слайд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5.xml><?xml version="1.0" encoding="utf-8"?>
<a:theme xmlns:a="http://schemas.openxmlformats.org/drawingml/2006/main" name="Буллит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Другая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6.xml><?xml version="1.0" encoding="utf-8"?>
<a:theme xmlns:a="http://schemas.openxmlformats.org/drawingml/2006/main" name="Таблиц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7.xml><?xml version="1.0" encoding="utf-8"?>
<a:theme xmlns:a="http://schemas.openxmlformats.org/drawingml/2006/main" name="1_Буллит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Другая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16FAC3A0D30DAA42AF4EBACF79D57079" ma:contentTypeVersion="1" ma:contentTypeDescription="Создание документа." ma:contentTypeScope="" ma:versionID="5b038f186db50e1ddcdbacd989e9fd93">
  <xsd:schema xmlns:xsd="http://www.w3.org/2001/XMLSchema" xmlns:xs="http://www.w3.org/2001/XMLSchema" xmlns:p="http://schemas.microsoft.com/office/2006/metadata/properties" xmlns:ns2="7bda88f5-81ee-4ce0-acd0-0fc58edecc95" xmlns:ns3="9b0c9865-9e5f-4a19-8def-db8deaed8a57" targetNamespace="http://schemas.microsoft.com/office/2006/metadata/properties" ma:root="true" ma:fieldsID="6f43ea1788a8d090c714bc610b22df34" ns2:_="" ns3:_="">
    <xsd:import namespace="7bda88f5-81ee-4ce0-acd0-0fc58edecc95"/>
    <xsd:import namespace="9b0c9865-9e5f-4a19-8def-db8deaed8a57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_x041e__x043f__x0438__x0441__x0430__x043d__x0438__x0435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da88f5-81ee-4ce0-acd0-0fc58edecc95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0c9865-9e5f-4a19-8def-db8deaed8a57" elementFormDefault="qualified">
    <xsd:import namespace="http://schemas.microsoft.com/office/2006/documentManagement/types"/>
    <xsd:import namespace="http://schemas.microsoft.com/office/infopath/2007/PartnerControls"/>
    <xsd:element name="_x041e__x043f__x0438__x0441__x0430__x043d__x0438__x0435_" ma:index="11" nillable="true" ma:displayName="Описание" ma:internalName="_x041e__x043f__x0438__x0441__x0430__x043d__x0438__x0435_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bda88f5-81ee-4ce0-acd0-0fc58edecc95">E76AX7DTSNFM-10-759</_dlc_DocId>
    <_dlc_DocIdUrl xmlns="7bda88f5-81ee-4ce0-acd0-0fc58edecc95">
      <Url>https://sharepoint/portals/template/_layouts/15/DocIdRedir.aspx?ID=E76AX7DTSNFM-10-759</Url>
      <Description>E76AX7DTSNFM-10-759</Description>
    </_dlc_DocIdUrl>
    <_x041e__x043f__x0438__x0441__x0430__x043d__x0438__x0435_ xmlns="9b0c9865-9e5f-4a19-8def-db8deaed8a57" xsi:nil="true"/>
  </documentManagement>
</p:properties>
</file>

<file path=customXml/itemProps1.xml><?xml version="1.0" encoding="utf-8"?>
<ds:datastoreItem xmlns:ds="http://schemas.openxmlformats.org/officeDocument/2006/customXml" ds:itemID="{72FFB9B5-4495-4C13-BA14-466E85A0B7E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bda88f5-81ee-4ce0-acd0-0fc58edecc95"/>
    <ds:schemaRef ds:uri="9b0c9865-9e5f-4a19-8def-db8deaed8a5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FC1EEFD-48C5-4F7B-8517-DBB3AEC775EE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92F92E0E-ED67-41DF-96C8-B1A6E4369BDA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20A7FD75-1E90-43D2-ABF1-A6C12E8540AE}">
  <ds:schemaRefs>
    <ds:schemaRef ds:uri="http://schemas.openxmlformats.org/package/2006/metadata/core-properties"/>
    <ds:schemaRef ds:uri="http://purl.org/dc/terms/"/>
    <ds:schemaRef ds:uri="http://schemas.microsoft.com/office/infopath/2007/PartnerControls"/>
    <ds:schemaRef ds:uri="9b0c9865-9e5f-4a19-8def-db8deaed8a57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7bda88f5-81ee-4ce0-acd0-0fc58edecc95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bur-A4-horisontal</Template>
  <TotalTime>72230</TotalTime>
  <Words>1599</Words>
  <Application>Microsoft Office PowerPoint</Application>
  <PresentationFormat>Экран (16:9)</PresentationFormat>
  <Paragraphs>461</Paragraphs>
  <Slides>24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4</vt:i4>
      </vt:variant>
    </vt:vector>
  </HeadingPairs>
  <TitlesOfParts>
    <vt:vector size="37" baseType="lpstr">
      <vt:lpstr>Arial</vt:lpstr>
      <vt:lpstr>Arial Unicode MS</vt:lpstr>
      <vt:lpstr>Calibri</vt:lpstr>
      <vt:lpstr>Times New Roman</vt:lpstr>
      <vt:lpstr>Wingdings</vt:lpstr>
      <vt:lpstr>Титульные слайды</vt:lpstr>
      <vt:lpstr>Коллажи</vt:lpstr>
      <vt:lpstr>Базовые слайды</vt:lpstr>
      <vt:lpstr>Финальные слайды</vt:lpstr>
      <vt:lpstr>Буллиты</vt:lpstr>
      <vt:lpstr>Таблицы</vt:lpstr>
      <vt:lpstr>1_Буллиты</vt:lpstr>
      <vt:lpstr>Слайд think-cell</vt:lpstr>
      <vt:lpstr>О СИБУРЕ</vt:lpstr>
      <vt:lpstr>О СИБУРЕ</vt:lpstr>
      <vt:lpstr>О СИБУРЕ</vt:lpstr>
      <vt:lpstr>О СИБУРЕ</vt:lpstr>
      <vt:lpstr>О СИБУРЕ</vt:lpstr>
      <vt:lpstr>О СИБУРЕ</vt:lpstr>
      <vt:lpstr>О СИБУРЕ</vt:lpstr>
      <vt:lpstr>О СИБУРЕ</vt:lpstr>
      <vt:lpstr>Наша миссия </vt:lpstr>
      <vt:lpstr>Наше видение </vt:lpstr>
      <vt:lpstr>Презентация PowerPoint</vt:lpstr>
      <vt:lpstr>Наши ценности</vt:lpstr>
      <vt:lpstr>Бизнес-модель компании</vt:lpstr>
      <vt:lpstr>География компании</vt:lpstr>
      <vt:lpstr>Наши ценности лежат в основе обновленной  стратегии  в области  устойчивого развития </vt:lpstr>
      <vt:lpstr>Победы в конкурсах в 2021 году</vt:lpstr>
      <vt:lpstr>СИБУР активно инвестирует как в запуск собственных «зеленых» продуктов, так и в создание экосистемы партнеров по экономике замкнутого цикла </vt:lpstr>
      <vt:lpstr>Полимеры обладают преимуществами  с точки зрения снижения воздействия  на климат на всех этапах жизненного цикла</vt:lpstr>
      <vt:lpstr>Образ результата цифровой трансформации СИБУРа</vt:lpstr>
      <vt:lpstr>Презентация PowerPoint</vt:lpstr>
      <vt:lpstr>Бренд работодателя – привлекаем лучших</vt:lpstr>
      <vt:lpstr>…и стремимся быть лидерами отрасли</vt:lpstr>
      <vt:lpstr>HR бренд внутри компании: создаем вовлекающую рабочую среду, находимся в постоянном диалоге с сотрудниками </vt:lpstr>
      <vt:lpstr>Формула хороших дел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teplukhinef@sibur.ru</dc:creator>
  <cp:lastModifiedBy>Русанова Анна Юрьевна</cp:lastModifiedBy>
  <cp:revision>1877</cp:revision>
  <dcterms:created xsi:type="dcterms:W3CDTF">2017-07-26T15:34:06Z</dcterms:created>
  <dcterms:modified xsi:type="dcterms:W3CDTF">2022-04-07T17:28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FAC3A0D30DAA42AF4EBACF79D57079</vt:lpwstr>
  </property>
  <property fmtid="{D5CDD505-2E9C-101B-9397-08002B2CF9AE}" pid="3" name="_dlc_DocIdItemGuid">
    <vt:lpwstr>08128e61-b529-4dc6-902a-2bae7e28187e</vt:lpwstr>
  </property>
</Properties>
</file>